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814" r:id="rId1"/>
    <p:sldMasterId id="2147483962" r:id="rId2"/>
    <p:sldMasterId id="2147483998" r:id="rId3"/>
  </p:sldMasterIdLst>
  <p:notesMasterIdLst>
    <p:notesMasterId r:id="rId12"/>
  </p:notesMasterIdLst>
  <p:handoutMasterIdLst>
    <p:handoutMasterId r:id="rId13"/>
  </p:handoutMasterIdLst>
  <p:sldIdLst>
    <p:sldId id="278" r:id="rId4"/>
    <p:sldId id="265" r:id="rId5"/>
    <p:sldId id="284" r:id="rId6"/>
    <p:sldId id="283" r:id="rId7"/>
    <p:sldId id="282" r:id="rId8"/>
    <p:sldId id="277" r:id="rId9"/>
    <p:sldId id="285" r:id="rId10"/>
    <p:sldId id="274" r:id="rId11"/>
  </p:sldIdLst>
  <p:sldSz cx="13442950" cy="7561263"/>
  <p:notesSz cx="9940925" cy="6808788"/>
  <p:custDataLst>
    <p:tags r:id="rId14"/>
  </p:custDataLst>
  <p:defaultTextStyle>
    <a:defPPr>
      <a:defRPr lang="en-GB"/>
    </a:defPPr>
    <a:lvl1pPr algn="ctr" rtl="0" fontAlgn="base">
      <a:lnSpc>
        <a:spcPts val="1400"/>
      </a:lnSpc>
      <a:spcBef>
        <a:spcPct val="0"/>
      </a:spcBef>
      <a:spcAft>
        <a:spcPct val="0"/>
      </a:spcAft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1pPr>
    <a:lvl2pPr marL="457200" algn="ctr" rtl="0" fontAlgn="base">
      <a:lnSpc>
        <a:spcPts val="1400"/>
      </a:lnSpc>
      <a:spcBef>
        <a:spcPct val="0"/>
      </a:spcBef>
      <a:spcAft>
        <a:spcPct val="0"/>
      </a:spcAft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2pPr>
    <a:lvl3pPr marL="914400" algn="ctr" rtl="0" fontAlgn="base">
      <a:lnSpc>
        <a:spcPts val="1400"/>
      </a:lnSpc>
      <a:spcBef>
        <a:spcPct val="0"/>
      </a:spcBef>
      <a:spcAft>
        <a:spcPct val="0"/>
      </a:spcAft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3pPr>
    <a:lvl4pPr marL="1371600" algn="ctr" rtl="0" fontAlgn="base">
      <a:lnSpc>
        <a:spcPts val="1400"/>
      </a:lnSpc>
      <a:spcBef>
        <a:spcPct val="0"/>
      </a:spcBef>
      <a:spcAft>
        <a:spcPct val="0"/>
      </a:spcAft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4pPr>
    <a:lvl5pPr marL="1828800" algn="ctr" rtl="0" fontAlgn="base">
      <a:lnSpc>
        <a:spcPts val="1400"/>
      </a:lnSpc>
      <a:spcBef>
        <a:spcPct val="0"/>
      </a:spcBef>
      <a:spcAft>
        <a:spcPct val="0"/>
      </a:spcAft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5pPr>
    <a:lvl6pPr marL="2286000" algn="l" defTabSz="914400" rtl="0" eaLnBrk="1" latinLnBrk="0" hangingPunct="1"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6pPr>
    <a:lvl7pPr marL="2743200" algn="l" defTabSz="914400" rtl="0" eaLnBrk="1" latinLnBrk="0" hangingPunct="1"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7pPr>
    <a:lvl8pPr marL="3200400" algn="l" defTabSz="914400" rtl="0" eaLnBrk="1" latinLnBrk="0" hangingPunct="1"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8pPr>
    <a:lvl9pPr marL="3657600" algn="l" defTabSz="914400" rtl="0" eaLnBrk="1" latinLnBrk="0" hangingPunct="1">
      <a:defRPr sz="1100" kern="1200">
        <a:solidFill>
          <a:srgbClr val="010024"/>
        </a:solidFill>
        <a:latin typeface="EYInterstate Regular" pitchFamily="1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08" userDrawn="1">
          <p15:clr>
            <a:srgbClr val="A4A3A4"/>
          </p15:clr>
        </p15:guide>
        <p15:guide id="3" orient="horz" pos="4377" userDrawn="1">
          <p15:clr>
            <a:srgbClr val="A4A3A4"/>
          </p15:clr>
        </p15:guide>
        <p15:guide id="4" pos="8083" userDrawn="1">
          <p15:clr>
            <a:srgbClr val="A4A3A4"/>
          </p15:clr>
        </p15:guide>
        <p15:guide id="5" pos="401" userDrawn="1">
          <p15:clr>
            <a:srgbClr val="A4A3A4"/>
          </p15:clr>
        </p15:guide>
        <p15:guide id="6" pos="499" userDrawn="1">
          <p15:clr>
            <a:srgbClr val="A4A3A4"/>
          </p15:clr>
        </p15:guide>
        <p15:guide id="7" pos="1725" userDrawn="1">
          <p15:clr>
            <a:srgbClr val="A4A3A4"/>
          </p15:clr>
        </p15:guide>
        <p15:guide id="8" pos="1554" userDrawn="1">
          <p15:clr>
            <a:srgbClr val="A4A3A4"/>
          </p15:clr>
        </p15:guide>
        <p15:guide id="9" orient="horz" pos="794" userDrawn="1">
          <p15:clr>
            <a:srgbClr val="A4A3A4"/>
          </p15:clr>
        </p15:guide>
        <p15:guide id="10" orient="horz" pos="13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an Ozsarac" initials="BO" lastIdx="11" clrIdx="0">
    <p:extLst>
      <p:ext uri="{19B8F6BF-5375-455C-9EA6-DF929625EA0E}">
        <p15:presenceInfo xmlns:p15="http://schemas.microsoft.com/office/powerpoint/2012/main" userId="S-1-5-21-1644491937-1343024091-1801674531-78434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808080"/>
    <a:srgbClr val="646464"/>
    <a:srgbClr val="C0C0C0"/>
    <a:srgbClr val="48BED8"/>
    <a:srgbClr val="00325C"/>
    <a:srgbClr val="D1D1D1"/>
    <a:srgbClr val="FCF3EA"/>
    <a:srgbClr val="FEFBF8"/>
    <a:srgbClr val="FDF2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92" autoAdjust="0"/>
    <p:restoredTop sz="95405" autoAdjust="0"/>
  </p:normalViewPr>
  <p:slideViewPr>
    <p:cSldViewPr snapToGrid="0" showGuides="1">
      <p:cViewPr>
        <p:scale>
          <a:sx n="70" d="100"/>
          <a:sy n="70" d="100"/>
        </p:scale>
        <p:origin x="1224" y="259"/>
      </p:cViewPr>
      <p:guideLst>
        <p:guide orient="horz" pos="408"/>
        <p:guide orient="horz" pos="4377"/>
        <p:guide pos="8083"/>
        <p:guide pos="401"/>
        <p:guide pos="499"/>
        <p:guide pos="1725"/>
        <p:guide pos="1554"/>
        <p:guide orient="horz" pos="794"/>
        <p:guide orient="horz" pos="13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-1080"/>
            <a:ext cx="4310181" cy="34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t" anchorCtr="0" compatLnSpc="1">
            <a:prstTxWarp prst="textNoShape">
              <a:avLst/>
            </a:prstTxWarp>
          </a:bodyPr>
          <a:lstStyle>
            <a:lvl1pPr algn="l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0745" y="-1080"/>
            <a:ext cx="4310181" cy="34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t" anchorCtr="0" compatLnSpc="1">
            <a:prstTxWarp prst="textNoShape">
              <a:avLst/>
            </a:prstTxWarp>
          </a:bodyPr>
          <a:lstStyle>
            <a:lvl1pPr algn="r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4EC0F419-E389-4067-AEA4-D756579358F9}" type="datetime4">
              <a:rPr lang="en-GB"/>
              <a:pPr/>
              <a:t>04 October 2018</a:t>
            </a:fld>
            <a:endParaRPr lang="en-GB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0745" y="6468133"/>
            <a:ext cx="4310181" cy="341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b" anchorCtr="0" compatLnSpc="1">
            <a:prstTxWarp prst="textNoShape">
              <a:avLst/>
            </a:prstTxWarp>
          </a:bodyPr>
          <a:lstStyle>
            <a:lvl5pPr marL="1849438" lvl="4" algn="r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5pPr>
          </a:lstStyle>
          <a:p>
            <a:pPr lvl="4"/>
            <a:fld id="{5086A9EE-7BA2-43C5-A9E5-5199CEEC61D1}" type="slidenum">
              <a:rPr lang="en-GB"/>
              <a:pPr lvl="4"/>
              <a:t>‹#›</a:t>
            </a:fld>
            <a:endParaRPr lang="en-GB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0635" y="6480029"/>
            <a:ext cx="4301008" cy="316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54" tIns="0" rIns="14454" bIns="0" numCol="1" anchor="b" anchorCtr="0" compatLnSpc="1">
            <a:prstTxWarp prst="textNoShape">
              <a:avLst/>
            </a:prstTxWarp>
          </a:bodyPr>
          <a:lstStyle>
            <a:lvl1pPr algn="l" defTabSz="500063" eaLnBrk="0" hangingPunct="0">
              <a:lnSpc>
                <a:spcPct val="100000"/>
              </a:lnSpc>
              <a:defRPr sz="700" i="1">
                <a:solidFill>
                  <a:schemeClr val="accent1"/>
                </a:solidFill>
                <a:latin typeface="Arial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1114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-1080"/>
            <a:ext cx="4310181" cy="34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t" anchorCtr="0" compatLnSpc="1">
            <a:prstTxWarp prst="textNoShape">
              <a:avLst/>
            </a:prstTxWarp>
          </a:bodyPr>
          <a:lstStyle>
            <a:lvl1pPr algn="l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tr-TR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30745" y="-1080"/>
            <a:ext cx="4310181" cy="34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t" anchorCtr="0" compatLnSpc="1">
            <a:prstTxWarp prst="textNoShape">
              <a:avLst/>
            </a:prstTxWarp>
          </a:bodyPr>
          <a:lstStyle>
            <a:lvl1pPr algn="r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4631C91D-E5AC-4CD1-A61E-932E45903DA2}" type="datetime4">
              <a:rPr lang="tr-TR" smtClean="0"/>
              <a:pPr/>
              <a:t>4 Ekim 2018</a:t>
            </a:fld>
            <a:endParaRPr lang="tr-TR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711450" y="515938"/>
            <a:ext cx="4519613" cy="25431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5152" y="3234608"/>
            <a:ext cx="7290624" cy="3063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8" tIns="46572" rIns="91538" bIns="465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 err="1" smtClean="0"/>
              <a:t>Click</a:t>
            </a:r>
            <a:r>
              <a:rPr lang="tr-TR" dirty="0" smtClean="0"/>
              <a:t>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edit</a:t>
            </a:r>
            <a:r>
              <a:rPr lang="tr-TR" dirty="0" smtClean="0"/>
              <a:t> Master </a:t>
            </a:r>
            <a:r>
              <a:rPr lang="tr-TR" dirty="0" err="1" smtClean="0"/>
              <a:t>text</a:t>
            </a:r>
            <a:r>
              <a:rPr lang="tr-TR" dirty="0" smtClean="0"/>
              <a:t> </a:t>
            </a:r>
            <a:r>
              <a:rPr lang="tr-TR" dirty="0" err="1" smtClean="0"/>
              <a:t>styles</a:t>
            </a:r>
            <a:endParaRPr lang="tr-TR" dirty="0" smtClean="0"/>
          </a:p>
          <a:p>
            <a:pPr lvl="1"/>
            <a:r>
              <a:rPr lang="tr-TR" dirty="0" smtClean="0"/>
              <a:t>Second </a:t>
            </a:r>
            <a:r>
              <a:rPr lang="tr-TR" dirty="0" err="1" smtClean="0"/>
              <a:t>level</a:t>
            </a:r>
            <a:endParaRPr lang="tr-TR" dirty="0" smtClean="0"/>
          </a:p>
          <a:p>
            <a:pPr lvl="2"/>
            <a:r>
              <a:rPr lang="tr-TR" dirty="0" smtClean="0"/>
              <a:t>Third </a:t>
            </a:r>
            <a:r>
              <a:rPr lang="tr-TR" dirty="0" err="1" smtClean="0"/>
              <a:t>level</a:t>
            </a:r>
            <a:endParaRPr lang="tr-TR" dirty="0" smtClean="0"/>
          </a:p>
          <a:p>
            <a:pPr lvl="3"/>
            <a:r>
              <a:rPr lang="tr-TR" dirty="0" err="1" smtClean="0"/>
              <a:t>Fourth</a:t>
            </a:r>
            <a:r>
              <a:rPr lang="tr-TR" dirty="0" smtClean="0"/>
              <a:t> </a:t>
            </a:r>
            <a:r>
              <a:rPr lang="tr-TR" dirty="0" err="1" smtClean="0"/>
              <a:t>level</a:t>
            </a:r>
            <a:endParaRPr lang="tr-TR" dirty="0" smtClean="0"/>
          </a:p>
          <a:p>
            <a:pPr lvl="4"/>
            <a:r>
              <a:rPr lang="tr-TR" dirty="0" err="1" smtClean="0"/>
              <a:t>Fifth</a:t>
            </a:r>
            <a:r>
              <a:rPr lang="tr-TR" dirty="0" smtClean="0"/>
              <a:t> </a:t>
            </a:r>
            <a:r>
              <a:rPr lang="tr-TR" dirty="0" err="1" smtClean="0"/>
              <a:t>level</a:t>
            </a:r>
            <a:endParaRPr lang="tr-TR" dirty="0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68133"/>
            <a:ext cx="4310181" cy="341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b" anchorCtr="0" compatLnSpc="1">
            <a:prstTxWarp prst="textNoShape">
              <a:avLst/>
            </a:prstTxWarp>
          </a:bodyPr>
          <a:lstStyle>
            <a:lvl1pPr algn="l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tr-TR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30745" y="6468133"/>
            <a:ext cx="4310181" cy="341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271" tIns="0" rIns="19271" bIns="0" numCol="1" anchor="b" anchorCtr="0" compatLnSpc="1">
            <a:prstTxWarp prst="textNoShape">
              <a:avLst/>
            </a:prstTxWarp>
          </a:bodyPr>
          <a:lstStyle>
            <a:lvl1pPr algn="r" defTabSz="922338" eaLnBrk="0" hangingPunct="0">
              <a:lnSpc>
                <a:spcPct val="100000"/>
              </a:lnSpc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E11A5D61-3D7B-484C-BF97-CA0AE726FE1E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4598415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911225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1225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1225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8425" algn="l" defTabSz="911225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1225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31C91D-E5AC-4CD1-A61E-932E45903DA2}" type="datetime4">
              <a:rPr lang="tr-TR" smtClean="0"/>
              <a:pPr/>
              <a:t>4 Ekim 2018</a:t>
            </a:fld>
            <a:endParaRPr lang="tr-T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1A5D61-3D7B-484C-BF97-CA0AE726FE1E}" type="slidenum">
              <a:rPr lang="tr-TR" smtClean="0"/>
              <a:pPr/>
              <a:t>1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141220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tags" Target="../tags/tag15.xml"/><Relationship Id="rId7" Type="http://schemas.openxmlformats.org/officeDocument/2006/relationships/image" Target="../media/image8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tags" Target="../tags/tag17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tags" Target="../tags/tag21.xml"/><Relationship Id="rId7" Type="http://schemas.openxmlformats.org/officeDocument/2006/relationships/image" Target="../media/image1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w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wmf"/><Relationship Id="rId3" Type="http://schemas.openxmlformats.org/officeDocument/2006/relationships/tags" Target="../tags/tag32.xml"/><Relationship Id="rId7" Type="http://schemas.openxmlformats.org/officeDocument/2006/relationships/image" Target="../media/image15.jpg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wmf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wmf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369" y="1237457"/>
            <a:ext cx="10082213" cy="2632440"/>
          </a:xfrm>
        </p:spPr>
        <p:txBody>
          <a:bodyPr anchor="b"/>
          <a:lstStyle>
            <a:lvl1pPr algn="ctr">
              <a:defRPr sz="5263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369" y="3971414"/>
            <a:ext cx="10082213" cy="1825554"/>
          </a:xfrm>
        </p:spPr>
        <p:txBody>
          <a:bodyPr/>
          <a:lstStyle>
            <a:lvl1pPr marL="0" indent="0" algn="ctr">
              <a:buNone/>
              <a:defRPr sz="2105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571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68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0112" y="402568"/>
            <a:ext cx="2898636" cy="640782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202" y="402568"/>
            <a:ext cx="8527872" cy="640782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67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67" y="1667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7" y="1667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52158" y="279401"/>
            <a:ext cx="12381982" cy="792000"/>
          </a:xfrm>
          <a:prstGeom prst="rect">
            <a:avLst/>
          </a:prstGeom>
        </p:spPr>
        <p:txBody>
          <a:bodyPr lIns="90496" tIns="45250" rIns="90496" bIns="4525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noProof="0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04364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1"/>
            <a:ext cx="13442950" cy="7561263"/>
          </a:xfrm>
          <a:prstGeom prst="rect">
            <a:avLst/>
          </a:prstGeom>
        </p:spPr>
      </p:pic>
      <p:sp>
        <p:nvSpPr>
          <p:cNvPr id="4" name="Freeform 6"/>
          <p:cNvSpPr>
            <a:spLocks/>
          </p:cNvSpPr>
          <p:nvPr userDrawn="1"/>
        </p:nvSpPr>
        <p:spPr bwMode="auto">
          <a:xfrm>
            <a:off x="538836" y="430214"/>
            <a:ext cx="6242510" cy="3355975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 dirty="0"/>
          </a:p>
        </p:txBody>
      </p: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76339" y="1471083"/>
            <a:ext cx="5402442" cy="346249"/>
          </a:xfrm>
        </p:spPr>
        <p:txBody>
          <a:bodyPr/>
          <a:lstStyle>
            <a:lvl1pPr>
              <a:lnSpc>
                <a:spcPts val="2700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tr-TR" noProof="0" dirty="0" err="1" smtClean="0"/>
              <a:t>Proposal</a:t>
            </a:r>
            <a:r>
              <a:rPr lang="tr-TR" noProof="0" dirty="0" smtClean="0"/>
              <a:t> </a:t>
            </a:r>
            <a:r>
              <a:rPr lang="tr-TR" noProof="0" dirty="0" err="1" smtClean="0"/>
              <a:t>title</a:t>
            </a:r>
            <a:endParaRPr lang="tr-TR" noProof="0" dirty="0" smtClean="0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76339" y="1965144"/>
            <a:ext cx="5402442" cy="3462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800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95363" rtl="0" eaLnBrk="1" fontAlgn="base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dirty="0" err="1" smtClean="0"/>
              <a:t>Click</a:t>
            </a:r>
            <a:r>
              <a:rPr lang="tr-TR" dirty="0" smtClean="0"/>
              <a:t>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edit</a:t>
            </a:r>
            <a:r>
              <a:rPr lang="tr-TR" dirty="0" smtClean="0"/>
              <a:t> Master </a:t>
            </a:r>
            <a:r>
              <a:rPr lang="tr-TR" dirty="0" err="1" smtClean="0"/>
              <a:t>text</a:t>
            </a:r>
            <a:r>
              <a:rPr lang="tr-TR" dirty="0" smtClean="0"/>
              <a:t> </a:t>
            </a:r>
            <a:r>
              <a:rPr lang="tr-TR" dirty="0" err="1" smtClean="0"/>
              <a:t>styles</a:t>
            </a:r>
            <a:endParaRPr lang="tr-TR" dirty="0" smtClean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693251" y="6013621"/>
            <a:ext cx="1361059" cy="1263650"/>
            <a:chOff x="9040813" y="5535613"/>
            <a:chExt cx="1082675" cy="126365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 dirty="0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 dirty="0"/>
            </a:p>
          </p:txBody>
        </p:sp>
      </p:grpSp>
    </p:spTree>
    <p:extLst>
      <p:ext uri="{BB962C8B-B14F-4D97-AF65-F5344CB8AC3E}">
        <p14:creationId xmlns:p14="http://schemas.microsoft.com/office/powerpoint/2010/main" val="374649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67" y="1667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7" y="1667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52158" y="609602"/>
            <a:ext cx="12381982" cy="368383"/>
          </a:xfrm>
          <a:prstGeom prst="rect">
            <a:avLst/>
          </a:prstGeom>
        </p:spPr>
        <p:txBody>
          <a:bodyPr lIns="90496" tIns="45250" rIns="90496" bIns="45250" anchor="t"/>
          <a:lstStyle>
            <a:lvl1pPr>
              <a:lnSpc>
                <a:spcPct val="100000"/>
              </a:lnSpc>
              <a:defRPr sz="1800"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</a:t>
            </a:r>
            <a:r>
              <a:rPr lang="tr-TR" noProof="0" dirty="0" err="1" smtClean="0"/>
              <a:t>to</a:t>
            </a:r>
            <a:r>
              <a:rPr lang="tr-TR" noProof="0" dirty="0" smtClean="0"/>
              <a:t>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</a:t>
            </a:r>
            <a:r>
              <a:rPr lang="tr-TR" noProof="0" dirty="0" err="1" smtClean="0"/>
              <a:t>text</a:t>
            </a:r>
            <a:endParaRPr lang="tr-T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93756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8" y="6882535"/>
            <a:ext cx="1209865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98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72148" y="222273"/>
            <a:ext cx="12103323" cy="9486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790323" y="7162344"/>
            <a:ext cx="1747584" cy="22179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1 January 2014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805308" y="7162344"/>
            <a:ext cx="5049045" cy="221797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5999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, no line (A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697328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48106" y="7188241"/>
            <a:ext cx="1511545" cy="22179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805309" y="7188241"/>
            <a:ext cx="5049045" cy="22179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918829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25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890406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7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7" name="Picture 2" descr="https://c1.staticflickr.com/7/6194/6143719750_cc848427da_b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644"/>
          <a:stretch/>
        </p:blipFill>
        <p:spPr bwMode="auto">
          <a:xfrm>
            <a:off x="-9165" y="1"/>
            <a:ext cx="13452116" cy="756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  <p:sp>
        <p:nvSpPr>
          <p:cNvPr id="6" name="Rectangle 1"/>
          <p:cNvSpPr>
            <a:spLocks noChangeAspect="1"/>
          </p:cNvSpPr>
          <p:nvPr userDrawn="1"/>
        </p:nvSpPr>
        <p:spPr>
          <a:xfrm>
            <a:off x="4247183" y="679114"/>
            <a:ext cx="8525112" cy="3941938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22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574942" y="2470013"/>
            <a:ext cx="7960802" cy="948631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4942" y="3548753"/>
            <a:ext cx="7960802" cy="711960"/>
          </a:xfrm>
        </p:spPr>
        <p:txBody>
          <a:bodyPr/>
          <a:lstStyle>
            <a:lvl1pPr marL="0" indent="0" algn="l">
              <a:buNone/>
              <a:defRPr sz="2204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rgbClr val="404040"/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969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292245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59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12"/>
          <a:stretch/>
        </p:blipFill>
        <p:spPr>
          <a:xfrm>
            <a:off x="3500" y="3500"/>
            <a:ext cx="13439451" cy="76417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857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765722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9" name="Picture 1645"/>
          <p:cNvPicPr>
            <a:picLocks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00" y="3501"/>
            <a:ext cx="13439451" cy="7557762"/>
          </a:xfrm>
          <a:prstGeom prst="rect">
            <a:avLst/>
          </a:prstGeom>
          <a:noFill/>
          <a:extLst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947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sosceles Triangle 6"/>
          <p:cNvSpPr/>
          <p:nvPr userDrawn="1"/>
        </p:nvSpPr>
        <p:spPr>
          <a:xfrm>
            <a:off x="0" y="7001169"/>
            <a:ext cx="13442950" cy="560094"/>
          </a:xfrm>
          <a:prstGeom prst="triangle">
            <a:avLst>
              <a:gd name="adj" fmla="val 239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965">
              <a:solidFill>
                <a:prstClr val="white"/>
              </a:solidFill>
            </a:endParaRPr>
          </a:p>
        </p:txBody>
      </p:sp>
      <p:sp>
        <p:nvSpPr>
          <p:cNvPr id="8" name="Isosceles Triangle 7"/>
          <p:cNvSpPr/>
          <p:nvPr userDrawn="1"/>
        </p:nvSpPr>
        <p:spPr>
          <a:xfrm>
            <a:off x="0" y="7001169"/>
            <a:ext cx="13442950" cy="560094"/>
          </a:xfrm>
          <a:prstGeom prst="triangle">
            <a:avLst>
              <a:gd name="adj" fmla="val 97917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965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6291" y="7055836"/>
            <a:ext cx="477699" cy="4507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068" y="402569"/>
            <a:ext cx="12210680" cy="14614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8068" y="7079934"/>
            <a:ext cx="3024664" cy="402567"/>
          </a:xfrm>
          <a:prstGeom prst="rect">
            <a:avLst/>
          </a:prstGeom>
        </p:spPr>
        <p:txBody>
          <a:bodyPr/>
          <a:lstStyle>
            <a:lvl1pPr algn="l">
              <a:defRPr sz="1754" b="1">
                <a:solidFill>
                  <a:srgbClr val="80808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2566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848786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4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8" name="Freeform 5"/>
          <p:cNvSpPr>
            <a:spLocks/>
          </p:cNvSpPr>
          <p:nvPr userDrawn="1"/>
        </p:nvSpPr>
        <p:spPr bwMode="gray">
          <a:xfrm>
            <a:off x="1" y="1967"/>
            <a:ext cx="13434245" cy="7557327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100664" tIns="50332" rIns="100664" bIns="50332" numCol="1" anchor="t" anchorCtr="0" compatLnSpc="1">
            <a:prstTxWarp prst="textNoShape">
              <a:avLst/>
            </a:prstTxWarp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981">
              <a:solidFill>
                <a:srgbClr val="646464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8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457246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6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" t="5633" r="10061" b="13993"/>
          <a:stretch/>
        </p:blipFill>
        <p:spPr>
          <a:xfrm>
            <a:off x="0" y="0"/>
            <a:ext cx="13445608" cy="756126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251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220967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69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101"/>
          <p:cNvPicPr>
            <a:picLocks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97" y="3501"/>
            <a:ext cx="18705546" cy="10526798"/>
          </a:xfrm>
          <a:prstGeom prst="rect">
            <a:avLst/>
          </a:prstGeom>
          <a:noFill/>
          <a:extLst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7290907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5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2148" y="1571763"/>
            <a:ext cx="5937303" cy="5182617"/>
          </a:xfrm>
        </p:spPr>
        <p:txBody>
          <a:bodyPr/>
          <a:lstStyle>
            <a:lvl1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  <a:lvl2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2pPr>
            <a:lvl3pPr>
              <a:defRPr sz="2204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  <a:lvl4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4pPr>
            <a:lvl5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33500" y="1571763"/>
            <a:ext cx="5937303" cy="5182617"/>
          </a:xfrm>
        </p:spPr>
        <p:txBody>
          <a:bodyPr/>
          <a:lstStyle>
            <a:lvl1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  <a:lvl2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2pPr>
            <a:lvl3pPr>
              <a:defRPr sz="2204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  <a:lvl4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4pPr>
            <a:lvl5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82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5157" y="2349033"/>
            <a:ext cx="5943478" cy="4404632"/>
          </a:xfrm>
        </p:spPr>
        <p:txBody>
          <a:bodyPr/>
          <a:lstStyle>
            <a:lvl1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  <a:lvl2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2pPr>
            <a:lvl3pPr>
              <a:defRPr sz="2204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  <a:lvl4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4pPr>
            <a:lvl5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32182" y="2349033"/>
            <a:ext cx="5943478" cy="4404632"/>
          </a:xfrm>
        </p:spPr>
        <p:txBody>
          <a:bodyPr/>
          <a:lstStyle>
            <a:lvl1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  <a:lvl2pPr>
              <a:defRPr sz="2645">
                <a:solidFill>
                  <a:schemeClr val="bg1"/>
                </a:solidFill>
                <a:latin typeface="EYInterstate Light" panose="02000506000000020004" pitchFamily="2" charset="0"/>
              </a:defRPr>
            </a:lvl2pPr>
            <a:lvl3pPr>
              <a:defRPr sz="2204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  <a:lvl4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4pPr>
            <a:lvl5pPr>
              <a:defRPr sz="1984">
                <a:solidFill>
                  <a:schemeClr val="bg1"/>
                </a:solidFill>
                <a:latin typeface="EYInterstate Light" panose="02000506000000020004" pitchFamily="2" charset="0"/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75157" y="1571762"/>
            <a:ext cx="5943478" cy="706512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32182" y="1571762"/>
            <a:ext cx="5943478" cy="706512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558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411207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1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9" y="221797"/>
            <a:ext cx="12098655" cy="88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32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7517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30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82" y="0"/>
            <a:ext cx="13442669" cy="7561263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2947715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2535"/>
            <a:ext cx="1209865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72149" y="222273"/>
            <a:ext cx="12103322" cy="9486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790323" y="7162344"/>
            <a:ext cx="1747584" cy="221797"/>
          </a:xfrm>
          <a:prstGeom prst="rect">
            <a:avLst/>
          </a:prstGeom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984" smtClean="0">
                <a:solidFill>
                  <a:srgbClr val="FFFFFF"/>
                </a:solidFill>
                <a:latin typeface="Arial"/>
              </a:rPr>
              <a:t>20 March 2018</a:t>
            </a:r>
            <a:endParaRPr lang="en-US" sz="1984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RPA in Telecommunications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070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02" y="1885067"/>
            <a:ext cx="11594545" cy="3145275"/>
          </a:xfrm>
        </p:spPr>
        <p:txBody>
          <a:bodyPr anchor="b"/>
          <a:lstStyle>
            <a:lvl1pPr>
              <a:defRPr sz="5263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202" y="5060096"/>
            <a:ext cx="11594545" cy="1654026"/>
          </a:xfrm>
        </p:spPr>
        <p:txBody>
          <a:bodyPr/>
          <a:lstStyle>
            <a:lvl1pPr marL="0" indent="0">
              <a:buNone/>
              <a:defRPr sz="2105">
                <a:solidFill>
                  <a:schemeClr val="tx1">
                    <a:tint val="75000"/>
                  </a:schemeClr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826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399848"/>
              </p:ext>
            </p:extLst>
          </p:nvPr>
        </p:nvGraphicFramePr>
        <p:xfrm>
          <a:off x="2067" y="1668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7" y="1668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i="0" baseline="0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52158" y="279401"/>
            <a:ext cx="12381981" cy="792000"/>
          </a:xfrm>
          <a:prstGeom prst="rect">
            <a:avLst/>
          </a:prstGeom>
        </p:spPr>
        <p:txBody>
          <a:bodyPr lIns="90496" tIns="45250" rIns="90496" bIns="45250" anchor="t">
            <a:noAutofit/>
          </a:bodyPr>
          <a:lstStyle>
            <a:lvl1pPr>
              <a:lnSpc>
                <a:spcPct val="100000"/>
              </a:lnSpc>
              <a:defRPr sz="2399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noProof="0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2910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247190"/>
              </p:ext>
            </p:extLst>
          </p:nvPr>
        </p:nvGraphicFramePr>
        <p:xfrm>
          <a:off x="1751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6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149" y="222273"/>
            <a:ext cx="12103322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149" y="1571791"/>
            <a:ext cx="12098655" cy="51808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2535"/>
            <a:ext cx="1209865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90323" y="7162344"/>
            <a:ext cx="1747584" cy="221797"/>
          </a:xfrm>
          <a:prstGeom prst="rect">
            <a:avLst/>
          </a:prstGeom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984" smtClean="0">
                <a:solidFill>
                  <a:srgbClr val="FFFFFF"/>
                </a:solidFill>
                <a:latin typeface="Arial"/>
              </a:rPr>
              <a:t>20 March 2018</a:t>
            </a:r>
            <a:endParaRPr lang="en-US" sz="1984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RPA in Telecommunications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0756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49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" y="1111"/>
            <a:ext cx="13442315" cy="7559396"/>
          </a:xfrm>
          <a:prstGeom prst="rect">
            <a:avLst/>
          </a:prstGeom>
        </p:spPr>
      </p:pic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4247183" y="679114"/>
            <a:ext cx="8525112" cy="3941938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22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574942" y="2470013"/>
            <a:ext cx="7960802" cy="948631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4942" y="3548753"/>
            <a:ext cx="7960802" cy="711960"/>
          </a:xfrm>
        </p:spPr>
        <p:txBody>
          <a:bodyPr/>
          <a:lstStyle>
            <a:lvl1pPr marL="0" indent="0" algn="l">
              <a:buNone/>
              <a:defRPr sz="2204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rgbClr val="404040"/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051"/>
          <a:stretch/>
        </p:blipFill>
        <p:spPr>
          <a:xfrm>
            <a:off x="11661327" y="5886537"/>
            <a:ext cx="1088312" cy="36927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5"/>
          <a:stretch/>
        </p:blipFill>
        <p:spPr>
          <a:xfrm>
            <a:off x="11660818" y="6270026"/>
            <a:ext cx="1088312" cy="887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44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57" y="675473"/>
            <a:ext cx="8520538" cy="394193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1327" y="5886537"/>
            <a:ext cx="1088312" cy="127561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108467" y="2470013"/>
            <a:ext cx="7581376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108467" y="3548753"/>
            <a:ext cx="7581376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03" y="6492604"/>
            <a:ext cx="4165674" cy="68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907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6"/>
            <a:ext cx="5965703" cy="504084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1327" y="5886537"/>
            <a:ext cx="1088312" cy="127561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03" y="6492604"/>
            <a:ext cx="4165674" cy="6822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7984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795800"/>
            <a:ext cx="13442950" cy="4927969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984">
                <a:solidFill>
                  <a:srgbClr val="646464"/>
                </a:solidFill>
                <a:latin typeface="Arial"/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395938" y="857340"/>
            <a:ext cx="9377599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395937" y="1909542"/>
            <a:ext cx="6857882" cy="1067706"/>
          </a:xfrm>
        </p:spPr>
        <p:txBody>
          <a:bodyPr/>
          <a:lstStyle>
            <a:lvl1pPr marL="0" indent="0" algn="l">
              <a:buNone/>
              <a:defRPr sz="2204">
                <a:solidFill>
                  <a:schemeClr val="bg1"/>
                </a:solidFill>
              </a:defRPr>
            </a:lvl1pPr>
            <a:lvl2pPr marL="0" indent="0" algn="l">
              <a:buNone/>
              <a:defRPr sz="1763">
                <a:solidFill>
                  <a:schemeClr val="bg1"/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938" y="6341379"/>
            <a:ext cx="1090076" cy="82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764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149" y="1571790"/>
            <a:ext cx="12098655" cy="51819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251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9011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92991">
              <a:defRPr/>
            </a:lvl2pPr>
            <a:lvl3pPr marL="785982">
              <a:defRPr/>
            </a:lvl3pPr>
            <a:lvl4pPr marL="1178972">
              <a:defRPr/>
            </a:lvl4pPr>
            <a:lvl5pPr marL="157196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5347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859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203" y="2012836"/>
            <a:ext cx="5713254" cy="479755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5494" y="2012836"/>
            <a:ext cx="5713254" cy="479755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506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824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no line (A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918829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694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, no line (ALT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72149" y="702929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848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2148" y="1571763"/>
            <a:ext cx="5937303" cy="5182617"/>
          </a:xfrm>
        </p:spPr>
        <p:txBody>
          <a:bodyPr/>
          <a:lstStyle>
            <a:lvl1pPr>
              <a:defRPr sz="2645">
                <a:solidFill>
                  <a:schemeClr val="bg1"/>
                </a:solidFill>
              </a:defRPr>
            </a:lvl1pPr>
            <a:lvl2pPr>
              <a:defRPr sz="2645">
                <a:solidFill>
                  <a:schemeClr val="bg1"/>
                </a:solidFill>
              </a:defRPr>
            </a:lvl2pPr>
            <a:lvl3pPr>
              <a:defRPr sz="2204">
                <a:solidFill>
                  <a:schemeClr val="bg1"/>
                </a:solidFill>
              </a:defRPr>
            </a:lvl3pPr>
            <a:lvl4pPr>
              <a:defRPr sz="1984">
                <a:solidFill>
                  <a:schemeClr val="bg1"/>
                </a:solidFill>
              </a:defRPr>
            </a:lvl4pPr>
            <a:lvl5pPr>
              <a:defRPr sz="1984">
                <a:solidFill>
                  <a:schemeClr val="bg1"/>
                </a:solidFill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33500" y="1571763"/>
            <a:ext cx="5937303" cy="5182617"/>
          </a:xfrm>
        </p:spPr>
        <p:txBody>
          <a:bodyPr/>
          <a:lstStyle>
            <a:lvl1pPr marL="392991" indent="-392991" algn="l" defTabSz="1007669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64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85982" indent="-392991" algn="l" defTabSz="1007669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64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78972" indent="-392991" algn="l" defTabSz="1007669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204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71963" indent="-392991" algn="l" defTabSz="1007669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984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964954" indent="-392991" algn="l" defTabSz="1007669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984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5681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5157" y="2349031"/>
            <a:ext cx="5943478" cy="4405696"/>
          </a:xfrm>
        </p:spPr>
        <p:txBody>
          <a:bodyPr/>
          <a:lstStyle>
            <a:lvl1pPr>
              <a:defRPr sz="2645"/>
            </a:lvl1pPr>
            <a:lvl2pPr>
              <a:defRPr sz="2645"/>
            </a:lvl2pPr>
            <a:lvl3pPr marL="1191359" indent="-393621">
              <a:defRPr sz="2204"/>
            </a:lvl3pPr>
            <a:lvl4pPr>
              <a:defRPr sz="1984"/>
            </a:lvl4pPr>
            <a:lvl5pPr>
              <a:defRPr sz="1984"/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32182" y="2349031"/>
            <a:ext cx="5943478" cy="4405696"/>
          </a:xfrm>
        </p:spPr>
        <p:txBody>
          <a:bodyPr/>
          <a:lstStyle>
            <a:lvl1pPr>
              <a:defRPr sz="2645"/>
            </a:lvl1pPr>
            <a:lvl2pPr>
              <a:defRPr sz="2645"/>
            </a:lvl2pPr>
            <a:lvl3pPr>
              <a:defRPr sz="2204"/>
            </a:lvl3pPr>
            <a:lvl4pPr>
              <a:defRPr sz="1984"/>
            </a:lvl4pPr>
            <a:lvl5pPr>
              <a:defRPr sz="1984"/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72149" y="1151058"/>
            <a:ext cx="1209865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75157" y="1573492"/>
            <a:ext cx="5943478" cy="706512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32182" y="1573492"/>
            <a:ext cx="5943478" cy="706512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0296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69817" y="1130691"/>
            <a:ext cx="12098655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51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72149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1344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9" y="221797"/>
            <a:ext cx="12098655" cy="88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659553" y="1165695"/>
            <a:ext cx="12115099" cy="572870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770" tIns="50385" rIns="100770" bIns="50385" numCol="1" anchor="t" anchorCtr="0" compatLnSpc="1">
            <a:prstTxWarp prst="textNoShape">
              <a:avLst/>
            </a:prstTxWarp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984">
              <a:solidFill>
                <a:srgbClr val="646464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7252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9" y="221797"/>
            <a:ext cx="12098655" cy="88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659553" y="1165695"/>
            <a:ext cx="12115099" cy="572870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00770" tIns="50385" rIns="100770" bIns="50385" numCol="1" anchor="t" anchorCtr="0" compatLnSpc="1">
            <a:prstTxWarp prst="textNoShape">
              <a:avLst/>
            </a:prstTxWarp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984">
              <a:solidFill>
                <a:srgbClr val="646464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60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9" y="221797"/>
            <a:ext cx="12098655" cy="88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659553" y="1165695"/>
            <a:ext cx="12115099" cy="572870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100770" tIns="50385" rIns="100770" bIns="50385" numCol="1" anchor="t" anchorCtr="0" compatLnSpc="1">
            <a:prstTxWarp prst="textNoShape">
              <a:avLst/>
            </a:prstTxWarp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984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363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69815" y="6885790"/>
            <a:ext cx="1209865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984" dirty="0">
              <a:solidFill>
                <a:srgbClr val="646464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474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954" y="402569"/>
            <a:ext cx="11594545" cy="146149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956" y="1853561"/>
            <a:ext cx="5686997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956" y="2761962"/>
            <a:ext cx="5686997" cy="40624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5494" y="1853561"/>
            <a:ext cx="5715005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5494" y="2761962"/>
            <a:ext cx="5715005" cy="40624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24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69813" y="792884"/>
            <a:ext cx="5154895" cy="5744335"/>
          </a:xfrm>
        </p:spPr>
        <p:txBody>
          <a:bodyPr/>
          <a:lstStyle>
            <a:lvl1pPr marL="0" indent="0" algn="l" defTabSz="1096890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322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109689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92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94187" indent="-194187" algn="l" defTabSz="109689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92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109689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82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182" indent="-208182" algn="l" defTabSz="109689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82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6087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271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7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645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00" y="3501"/>
            <a:ext cx="13439451" cy="7557762"/>
          </a:xfrm>
          <a:prstGeom prst="rect">
            <a:avLst/>
          </a:prstGeom>
          <a:noFill/>
          <a:extLst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55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12"/>
          <a:stretch/>
        </p:blipFill>
        <p:spPr>
          <a:xfrm>
            <a:off x="3500" y="3500"/>
            <a:ext cx="13439451" cy="76417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0" y="424577"/>
            <a:ext cx="5965703" cy="3860139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98389" y="1865111"/>
            <a:ext cx="5066474" cy="948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98389" y="2933770"/>
            <a:ext cx="5066474" cy="7119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4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76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0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374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45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00" y="3501"/>
            <a:ext cx="13439451" cy="7557762"/>
          </a:xfrm>
          <a:prstGeom prst="rect">
            <a:avLst/>
          </a:prstGeom>
          <a:noFill/>
          <a:extLst/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9048" y="5887703"/>
            <a:ext cx="1088312" cy="127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364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86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673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954" y="504085"/>
            <a:ext cx="4335701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5" y="1088682"/>
            <a:ext cx="6805494" cy="5373398"/>
          </a:xfrm>
        </p:spPr>
        <p:txBody>
          <a:bodyPr/>
          <a:lstStyle>
            <a:lvl1pPr>
              <a:defRPr sz="2807"/>
            </a:lvl1pPr>
            <a:lvl2pPr>
              <a:defRPr sz="2456"/>
            </a:lvl2pPr>
            <a:lvl3pPr>
              <a:defRPr sz="2105"/>
            </a:lvl3pPr>
            <a:lvl4pPr>
              <a:defRPr sz="1754"/>
            </a:lvl4pPr>
            <a:lvl5pPr>
              <a:defRPr sz="1754"/>
            </a:lvl5pPr>
            <a:lvl6pPr>
              <a:defRPr sz="1754"/>
            </a:lvl6pPr>
            <a:lvl7pPr>
              <a:defRPr sz="1754"/>
            </a:lvl7pPr>
            <a:lvl8pPr>
              <a:defRPr sz="1754"/>
            </a:lvl8pPr>
            <a:lvl9pPr>
              <a:defRPr sz="175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954" y="2268380"/>
            <a:ext cx="4335701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16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954" y="504085"/>
            <a:ext cx="4335701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15005" y="1088682"/>
            <a:ext cx="6805494" cy="5373398"/>
          </a:xfrm>
        </p:spPr>
        <p:txBody>
          <a:bodyPr/>
          <a:lstStyle>
            <a:lvl1pPr marL="0" indent="0">
              <a:buNone/>
              <a:defRPr sz="2807"/>
            </a:lvl1pPr>
            <a:lvl2pPr marL="401010" indent="0">
              <a:buNone/>
              <a:defRPr sz="2456"/>
            </a:lvl2pPr>
            <a:lvl3pPr marL="802020" indent="0">
              <a:buNone/>
              <a:defRPr sz="2105"/>
            </a:lvl3pPr>
            <a:lvl4pPr marL="1203030" indent="0">
              <a:buNone/>
              <a:defRPr sz="1754"/>
            </a:lvl4pPr>
            <a:lvl5pPr marL="1604040" indent="0">
              <a:buNone/>
              <a:defRPr sz="1754"/>
            </a:lvl5pPr>
            <a:lvl6pPr marL="2005051" indent="0">
              <a:buNone/>
              <a:defRPr sz="1754"/>
            </a:lvl6pPr>
            <a:lvl7pPr marL="2406061" indent="0">
              <a:buNone/>
              <a:defRPr sz="1754"/>
            </a:lvl7pPr>
            <a:lvl8pPr marL="2807071" indent="0">
              <a:buNone/>
              <a:defRPr sz="1754"/>
            </a:lvl8pPr>
            <a:lvl9pPr marL="3208081" indent="0">
              <a:buNone/>
              <a:defRPr sz="1754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954" y="2268380"/>
            <a:ext cx="4335701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4203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DB40CB9-CE36-481A-8AAA-1202D136AC92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452978" y="7008172"/>
            <a:ext cx="4536996" cy="402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94084" y="7008172"/>
            <a:ext cx="3024664" cy="402567"/>
          </a:xfrm>
          <a:prstGeom prst="rect">
            <a:avLst/>
          </a:prstGeom>
        </p:spPr>
        <p:txBody>
          <a:bodyPr/>
          <a:lstStyle/>
          <a:p>
            <a:fld id="{81515DBF-D43D-43EC-B9FD-CDAD299B32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9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9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5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tags" Target="../tags/tag30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vmlDrawing" Target="../drawings/vmlDrawing19.v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8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203" y="402569"/>
            <a:ext cx="11594545" cy="1461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203" y="2012836"/>
            <a:ext cx="11594545" cy="4797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73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4056" r:id="rId16"/>
  </p:sldLayoutIdLst>
  <p:timing>
    <p:tnLst>
      <p:par>
        <p:cTn id="1" dur="indefinite" restart="never" nodeType="tmRoot"/>
      </p:par>
    </p:tnLst>
  </p:timing>
  <p:txStyles>
    <p:titleStyle>
      <a:lvl1pPr algn="l" defTabSz="80202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EYInterstate" panose="02000503020000020004" pitchFamily="2" charset="0"/>
          <a:ea typeface="+mj-ea"/>
          <a:cs typeface="+mj-cs"/>
        </a:defRPr>
      </a:lvl1pPr>
    </p:titleStyle>
    <p:bodyStyle>
      <a:lvl1pPr marL="200505" indent="-20050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EYInterstate" panose="02000503020000020004" pitchFamily="2" charset="0"/>
          <a:ea typeface="+mn-ea"/>
          <a:cs typeface="+mn-cs"/>
        </a:defRPr>
      </a:lvl1pPr>
      <a:lvl2pPr marL="60151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EYInterstate" panose="02000503020000020004" pitchFamily="2" charset="0"/>
          <a:ea typeface="+mn-ea"/>
          <a:cs typeface="+mn-cs"/>
        </a:defRPr>
      </a:lvl2pPr>
      <a:lvl3pPr marL="100252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EYInterstate" panose="02000503020000020004" pitchFamily="2" charset="0"/>
          <a:ea typeface="+mn-ea"/>
          <a:cs typeface="+mn-cs"/>
        </a:defRPr>
      </a:lvl3pPr>
      <a:lvl4pPr marL="140353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EYInterstate" panose="02000503020000020004" pitchFamily="2" charset="0"/>
          <a:ea typeface="+mn-ea"/>
          <a:cs typeface="+mn-cs"/>
        </a:defRPr>
      </a:lvl4pPr>
      <a:lvl5pPr marL="180454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EYInterstate" panose="02000503020000020004" pitchFamily="2" charset="0"/>
          <a:ea typeface="+mn-ea"/>
          <a:cs typeface="+mn-cs"/>
        </a:defRPr>
      </a:lvl5pPr>
      <a:lvl6pPr marL="220555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56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57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58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101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202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303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404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505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606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707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808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17493577"/>
              </p:ext>
            </p:extLst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548"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306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2149" y="222273"/>
            <a:ext cx="12098655" cy="9486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149" y="1571789"/>
            <a:ext cx="12098655" cy="51819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05309" y="7188241"/>
            <a:ext cx="5049045" cy="2217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212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dirty="0" smtClean="0">
                <a:solidFill>
                  <a:srgbClr val="FFFFFF"/>
                </a:solidFill>
              </a:rPr>
              <a:t>Türk Telekom Robotik Süreç Otomasyonu (RSO) Tanıtım Sunumu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2148" y="7188241"/>
            <a:ext cx="977466" cy="2217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212" dirty="0" smtClean="0">
                <a:solidFill>
                  <a:srgbClr val="FFFFFF"/>
                </a:solidFill>
                <a:latin typeface="EYInterstate Light" panose="02000506000000020004" pitchFamily="2" charset="0"/>
              </a:rPr>
              <a:t>Sayfa</a:t>
            </a:r>
            <a:r>
              <a:rPr lang="en-GB" sz="1212" dirty="0" smtClean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fld id="{9AE4D82F-B047-469B-AC52-A46321747EAF}" type="slidenum">
              <a:rPr lang="en-GB" sz="1212" smtClean="0">
                <a:solidFill>
                  <a:srgbClr val="FFFFFF"/>
                </a:solidFill>
                <a:latin typeface="EYInterstate Light" panose="02000506000000020004" pitchFamily="2" charset="0"/>
              </a:rPr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212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204" y="6976525"/>
            <a:ext cx="443572" cy="45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3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1007669" rtl="0" eaLnBrk="1" latinLnBrk="0" hangingPunct="1">
        <a:lnSpc>
          <a:spcPct val="85000"/>
        </a:lnSpc>
        <a:spcBef>
          <a:spcPct val="0"/>
        </a:spcBef>
        <a:buNone/>
        <a:defRPr sz="3306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92991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645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85982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204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178972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84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571963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6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964954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6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771089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6pPr>
      <a:lvl7pPr marL="3274924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7pPr>
      <a:lvl8pPr marL="3778758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8pPr>
      <a:lvl9pPr marL="4282592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834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669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503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338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172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006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6841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0675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751" y="1751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8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2149" y="222273"/>
            <a:ext cx="12098655" cy="9486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149" y="1571790"/>
            <a:ext cx="12098655" cy="51819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05309" y="7188241"/>
            <a:ext cx="5049045" cy="2217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212">
                <a:solidFill>
                  <a:schemeClr val="bg1"/>
                </a:solidFill>
                <a:latin typeface="+mn-lt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8106" y="7188241"/>
            <a:ext cx="1511545" cy="22179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212">
                <a:solidFill>
                  <a:schemeClr val="bg1"/>
                </a:solidFill>
                <a:latin typeface="+mn-lt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2776" y="6976525"/>
            <a:ext cx="440723" cy="45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26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57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  <p:sldLayoutId id="2147484018" r:id="rId21"/>
    <p:sldLayoutId id="2147484019" r:id="rId22"/>
    <p:sldLayoutId id="2147484020" r:id="rId23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1007669" rtl="0" eaLnBrk="1" latinLnBrk="0" hangingPunct="1">
        <a:lnSpc>
          <a:spcPct val="85000"/>
        </a:lnSpc>
        <a:spcBef>
          <a:spcPct val="0"/>
        </a:spcBef>
        <a:buNone/>
        <a:defRPr sz="3306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92991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645" kern="1200">
          <a:solidFill>
            <a:schemeClr val="bg1"/>
          </a:solidFill>
          <a:latin typeface="+mn-lt"/>
          <a:ea typeface="+mn-ea"/>
          <a:cs typeface="+mn-cs"/>
        </a:defRPr>
      </a:lvl1pPr>
      <a:lvl2pPr marL="785982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204" kern="1200">
          <a:solidFill>
            <a:schemeClr val="bg1"/>
          </a:solidFill>
          <a:latin typeface="+mn-lt"/>
          <a:ea typeface="+mn-ea"/>
          <a:cs typeface="+mn-cs"/>
        </a:defRPr>
      </a:lvl2pPr>
      <a:lvl3pPr marL="1178972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84" kern="1200">
          <a:solidFill>
            <a:schemeClr val="bg1"/>
          </a:solidFill>
          <a:latin typeface="+mn-lt"/>
          <a:ea typeface="+mn-ea"/>
          <a:cs typeface="+mn-cs"/>
        </a:defRPr>
      </a:lvl3pPr>
      <a:lvl4pPr marL="1571963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63" kern="1200">
          <a:solidFill>
            <a:schemeClr val="bg1"/>
          </a:solidFill>
          <a:latin typeface="+mn-lt"/>
          <a:ea typeface="+mn-ea"/>
          <a:cs typeface="+mn-cs"/>
        </a:defRPr>
      </a:lvl4pPr>
      <a:lvl5pPr marL="1964954" indent="-392991" algn="l" defTabSz="100766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63" kern="1200">
          <a:solidFill>
            <a:schemeClr val="bg1"/>
          </a:solidFill>
          <a:latin typeface="+mn-lt"/>
          <a:ea typeface="+mn-ea"/>
          <a:cs typeface="+mn-cs"/>
        </a:defRPr>
      </a:lvl5pPr>
      <a:lvl6pPr marL="2771089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6pPr>
      <a:lvl7pPr marL="3274924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7pPr>
      <a:lvl8pPr marL="3778758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8pPr>
      <a:lvl9pPr marL="4282592" indent="-251917" algn="l" defTabSz="1007669" rtl="0" eaLnBrk="1" latinLnBrk="0" hangingPunct="1">
        <a:spcBef>
          <a:spcPct val="20000"/>
        </a:spcBef>
        <a:buFont typeface="Arial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834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669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503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338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172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006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6841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0675" algn="l" defTabSz="100766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12" Type="http://schemas.openxmlformats.org/officeDocument/2006/relationships/image" Target="../media/image2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tags" Target="../tags/tag45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tags" Target="../tags/tag44.xml"/><Relationship Id="rId16" Type="http://schemas.openxmlformats.org/officeDocument/2006/relationships/image" Target="../media/image36.png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9.bin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tags" Target="../tags/tag47.xml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41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jpeg"/><Relationship Id="rId3" Type="http://schemas.openxmlformats.org/officeDocument/2006/relationships/tags" Target="../tags/tag49.xml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50.jpeg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49.jpe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tags" Target="../tags/tag51.xml"/><Relationship Id="rId7" Type="http://schemas.openxmlformats.org/officeDocument/2006/relationships/image" Target="../media/image53.jpeg"/><Relationship Id="rId12" Type="http://schemas.openxmlformats.org/officeDocument/2006/relationships/image" Target="../media/image58.png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image" Target="../media/image57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509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5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85000"/>
              </a:lnSpc>
            </a:pPr>
            <a:endParaRPr lang="tr-TR" sz="2200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sz="3000" dirty="0">
                <a:latin typeface="EYInterstate" panose="02000503020000020004" pitchFamily="2" charset="0"/>
              </a:rPr>
              <a:t>Robotik Süreç </a:t>
            </a:r>
            <a:r>
              <a:rPr lang="tr-TR" sz="3000" dirty="0" smtClean="0">
                <a:latin typeface="EYInterstate" panose="02000503020000020004" pitchFamily="2" charset="0"/>
              </a:rPr>
              <a:t>Otomasyonu</a:t>
            </a:r>
            <a:r>
              <a:rPr lang="tr-TR" sz="3000" dirty="0">
                <a:latin typeface="EYInterstate" panose="02000503020000020004" pitchFamily="2" charset="0"/>
              </a:rPr>
              <a:t/>
            </a:r>
            <a:br>
              <a:rPr lang="tr-TR" sz="3000" dirty="0">
                <a:latin typeface="EYInterstate" panose="02000503020000020004" pitchFamily="2" charset="0"/>
              </a:rPr>
            </a:br>
            <a:r>
              <a:rPr lang="tr-TR" sz="2200" b="0" dirty="0">
                <a:latin typeface="EYInterstate" panose="02000503020000020004" pitchFamily="2" charset="0"/>
              </a:rPr>
              <a:t>20. Türkiye Muhasebe Kongresi  </a:t>
            </a:r>
            <a:r>
              <a:rPr lang="en-IN" sz="2200" b="0" dirty="0">
                <a:latin typeface="EYInterstate" panose="02000503020000020004" pitchFamily="2" charset="0"/>
              </a:rPr>
              <a:t/>
            </a:r>
            <a:br>
              <a:rPr lang="en-IN" sz="2200" b="0" dirty="0">
                <a:latin typeface="EYInterstate" panose="02000503020000020004" pitchFamily="2" charset="0"/>
              </a:rPr>
            </a:br>
            <a:endParaRPr lang="tr-TR" sz="2200" b="0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098389" y="2716056"/>
            <a:ext cx="6086182" cy="711960"/>
          </a:xfrm>
        </p:spPr>
        <p:txBody>
          <a:bodyPr/>
          <a:lstStyle/>
          <a:p>
            <a:r>
              <a:rPr lang="tr-TR" b="1" dirty="0" smtClean="0"/>
              <a:t>Alper </a:t>
            </a:r>
            <a:r>
              <a:rPr lang="tr-TR" b="1" dirty="0" err="1" smtClean="0"/>
              <a:t>Karaçar</a:t>
            </a:r>
            <a:endParaRPr lang="tr-TR" b="1" dirty="0" smtClean="0"/>
          </a:p>
          <a:p>
            <a:r>
              <a:rPr lang="tr-TR" sz="1800" dirty="0" smtClean="0"/>
              <a:t>EY Orta, Güneydoğu Avrupa ve Orta Asya (CESA) Gelişmekte Olan Teknolojiler Danışmanlık Hizmetleri Lideri</a:t>
            </a:r>
            <a:endParaRPr lang="tr-TR" sz="1600" dirty="0" smtClean="0"/>
          </a:p>
          <a:p>
            <a:r>
              <a:rPr lang="tr-TR" sz="1600" dirty="0" smtClean="0"/>
              <a:t>Ekim 2018</a:t>
            </a:r>
            <a:endParaRPr lang="tr-TR" sz="1600" dirty="0"/>
          </a:p>
        </p:txBody>
      </p:sp>
    </p:spTree>
    <p:extLst>
      <p:ext uri="{BB962C8B-B14F-4D97-AF65-F5344CB8AC3E}">
        <p14:creationId xmlns:p14="http://schemas.microsoft.com/office/powerpoint/2010/main" val="3983668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349904"/>
              </p:ext>
            </p:extLst>
          </p:nvPr>
        </p:nvGraphicFramePr>
        <p:xfrm>
          <a:off x="4735" y="33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35" y="33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92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tr-TR" sz="2400" dirty="0">
                <a:solidFill>
                  <a:srgbClr val="646464"/>
                </a:solidFill>
                <a:latin typeface="EYInterstate Light" panose="02000506000000020004" pitchFamily="2" charset="0"/>
              </a:rPr>
              <a:t>Robotik Süreç Otomasyonu (RSO), maliyetleri düşürerek, gelirleri arttırarak ve riskleri kontrol ederek kurumsal değeri artırır</a:t>
            </a:r>
            <a:endParaRPr lang="tr-TR" sz="2400" b="0" dirty="0">
              <a:latin typeface="EYInterstate" panose="02000503020000020004" pitchFamily="2" charset="0"/>
            </a:endParaRPr>
          </a:p>
        </p:txBody>
      </p:sp>
      <p:grpSp>
        <p:nvGrpSpPr>
          <p:cNvPr id="376" name="Group 375"/>
          <p:cNvGrpSpPr/>
          <p:nvPr/>
        </p:nvGrpSpPr>
        <p:grpSpPr>
          <a:xfrm>
            <a:off x="672149" y="1456293"/>
            <a:ext cx="12098655" cy="5114665"/>
            <a:chOff x="672149" y="1557893"/>
            <a:chExt cx="12098655" cy="5114665"/>
          </a:xfrm>
        </p:grpSpPr>
        <p:sp>
          <p:nvSpPr>
            <p:cNvPr id="377" name="Rectangle 376"/>
            <p:cNvSpPr/>
            <p:nvPr/>
          </p:nvSpPr>
          <p:spPr>
            <a:xfrm>
              <a:off x="672150" y="2352072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Kesinlik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Her işlemde doğru sonuç, doğru karar, doğru hesaplama</a:t>
              </a:r>
            </a:p>
          </p:txBody>
        </p:sp>
        <p:sp>
          <p:nvSpPr>
            <p:cNvPr id="378" name="Rectangle 377"/>
            <p:cNvSpPr/>
            <p:nvPr/>
          </p:nvSpPr>
          <p:spPr>
            <a:xfrm>
              <a:off x="672150" y="3246144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Tutarlılık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Sürecin her işlemde aynı şekilde ve mevzuata uygun işletilmesi</a:t>
              </a:r>
            </a:p>
          </p:txBody>
        </p:sp>
        <p:sp>
          <p:nvSpPr>
            <p:cNvPr id="379" name="Rectangle 378"/>
            <p:cNvSpPr/>
            <p:nvPr/>
          </p:nvSpPr>
          <p:spPr>
            <a:xfrm>
              <a:off x="672150" y="4140216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Denetleme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İşletilen süreçlerin tüm adımlarının detaylı kayıt altına alınması</a:t>
              </a:r>
            </a:p>
          </p:txBody>
        </p:sp>
        <p:sp>
          <p:nvSpPr>
            <p:cNvPr id="380" name="Rectangle 379"/>
            <p:cNvSpPr/>
            <p:nvPr/>
          </p:nvSpPr>
          <p:spPr>
            <a:xfrm>
              <a:off x="672150" y="5034286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Verimlilik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Mevcut iş gücünü katma değeri daha yüksek işlere yönlendirebilme</a:t>
              </a:r>
            </a:p>
          </p:txBody>
        </p:sp>
        <p:sp>
          <p:nvSpPr>
            <p:cNvPr id="381" name="Rectangle 380"/>
            <p:cNvSpPr/>
            <p:nvPr/>
          </p:nvSpPr>
          <p:spPr>
            <a:xfrm>
              <a:off x="5364583" y="2352072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Esneklik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Dönemsel iş gücü ihtiyacına anında yanıt verebilme</a:t>
              </a:r>
            </a:p>
          </p:txBody>
        </p:sp>
        <p:sp>
          <p:nvSpPr>
            <p:cNvPr id="382" name="Rectangle 381"/>
            <p:cNvSpPr/>
            <p:nvPr/>
          </p:nvSpPr>
          <p:spPr>
            <a:xfrm>
              <a:off x="5364583" y="3246144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Çalışanları elde tutma 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Çalışanların üzerinden hamaliye işleri alıp memnuniyetini artırma</a:t>
              </a:r>
              <a:endParaRPr kumimoji="0" lang="tr-TR" sz="1050" b="0" i="0" u="none" strike="noStrike" kern="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sp>
          <p:nvSpPr>
            <p:cNvPr id="383" name="Rectangle 382"/>
            <p:cNvSpPr/>
            <p:nvPr/>
          </p:nvSpPr>
          <p:spPr>
            <a:xfrm>
              <a:off x="5364583" y="4140216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Güvenilirlik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7/24</a:t>
              </a: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 kullanıma hazır iş gücü</a:t>
              </a:r>
            </a:p>
          </p:txBody>
        </p:sp>
        <p:sp>
          <p:nvSpPr>
            <p:cNvPr id="384" name="Rectangle 383"/>
            <p:cNvSpPr/>
            <p:nvPr/>
          </p:nvSpPr>
          <p:spPr>
            <a:xfrm>
              <a:off x="5364583" y="5034286"/>
              <a:ext cx="2507566" cy="829740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Etkin dış kaynak (</a:t>
              </a:r>
              <a:r>
                <a:rPr kumimoji="0" lang="tr-TR" sz="1400" b="1" i="0" u="none" strike="noStrike" kern="0" cap="none" spc="0" normalizeH="0" baseline="0" dirty="0" err="1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outsource</a:t>
              </a: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)</a:t>
              </a:r>
              <a:b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Operasyonların coğrafi kısıt olmadan robotlarla yürütülmesi</a:t>
              </a:r>
            </a:p>
          </p:txBody>
        </p:sp>
        <p:cxnSp>
          <p:nvCxnSpPr>
            <p:cNvPr id="385" name="Straight Connector 384"/>
            <p:cNvCxnSpPr>
              <a:endCxn id="377" idx="3"/>
            </p:cNvCxnSpPr>
            <p:nvPr/>
          </p:nvCxnSpPr>
          <p:spPr>
            <a:xfrm flipH="1" flipV="1">
              <a:off x="3179716" y="2766942"/>
              <a:ext cx="473122" cy="475847"/>
            </a:xfrm>
            <a:prstGeom prst="line">
              <a:avLst/>
            </a:prstGeom>
            <a:noFill/>
            <a:ln w="12700" cap="flat" cmpd="sng" algn="ctr">
              <a:solidFill>
                <a:srgbClr val="99999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cxnSp>
          <p:nvCxnSpPr>
            <p:cNvPr id="386" name="Straight Connector 385"/>
            <p:cNvCxnSpPr>
              <a:endCxn id="381" idx="1"/>
            </p:cNvCxnSpPr>
            <p:nvPr/>
          </p:nvCxnSpPr>
          <p:spPr>
            <a:xfrm flipV="1">
              <a:off x="4959174" y="2766943"/>
              <a:ext cx="405409" cy="401579"/>
            </a:xfrm>
            <a:prstGeom prst="line">
              <a:avLst/>
            </a:prstGeom>
            <a:noFill/>
            <a:ln w="12700" cap="flat" cmpd="sng" algn="ctr">
              <a:solidFill>
                <a:srgbClr val="99999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87" name="Rectangle 386"/>
            <p:cNvSpPr/>
            <p:nvPr/>
          </p:nvSpPr>
          <p:spPr>
            <a:xfrm>
              <a:off x="672149" y="5993960"/>
              <a:ext cx="7199999" cy="678598"/>
            </a:xfrm>
            <a:prstGeom prst="rect">
              <a:avLst/>
            </a:prstGeom>
            <a:solidFill>
              <a:srgbClr val="F0F0F0"/>
            </a:solidFill>
            <a:ln w="190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Mevcut sistemlere müdahale etmeyen (</a:t>
              </a:r>
              <a:r>
                <a:rPr kumimoji="0" lang="tr-TR" sz="1050" b="1" i="0" u="none" strike="noStrike" kern="0" cap="none" spc="0" normalizeH="0" baseline="0" dirty="0" err="1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non-invasive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), düşük riskli teknoloji</a:t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Robotlar; mevcut sistemleri ara yüzler üzerinden insan hareketlerini taklit ederek entegre ettiğinden, herhangi bir uyarlama ve ek kodlama gereksinimi yoktur. </a:t>
              </a:r>
            </a:p>
          </p:txBody>
        </p:sp>
        <p:cxnSp>
          <p:nvCxnSpPr>
            <p:cNvPr id="388" name="Straight Connector 387"/>
            <p:cNvCxnSpPr>
              <a:endCxn id="380" idx="3"/>
            </p:cNvCxnSpPr>
            <p:nvPr/>
          </p:nvCxnSpPr>
          <p:spPr>
            <a:xfrm flipH="1">
              <a:off x="3179716" y="4986049"/>
              <a:ext cx="556867" cy="463107"/>
            </a:xfrm>
            <a:prstGeom prst="line">
              <a:avLst/>
            </a:prstGeom>
            <a:noFill/>
            <a:ln w="12700" cap="flat" cmpd="sng" algn="ctr">
              <a:solidFill>
                <a:srgbClr val="99999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cxnSp>
          <p:nvCxnSpPr>
            <p:cNvPr id="389" name="Straight Connector 388"/>
            <p:cNvCxnSpPr/>
            <p:nvPr/>
          </p:nvCxnSpPr>
          <p:spPr>
            <a:xfrm>
              <a:off x="4829341" y="4986049"/>
              <a:ext cx="539481" cy="463108"/>
            </a:xfrm>
            <a:prstGeom prst="line">
              <a:avLst/>
            </a:prstGeom>
            <a:noFill/>
            <a:ln w="12700" cap="flat" cmpd="sng" algn="ctr">
              <a:solidFill>
                <a:srgbClr val="99999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90" name="Rectangle 389"/>
            <p:cNvSpPr/>
            <p:nvPr/>
          </p:nvSpPr>
          <p:spPr>
            <a:xfrm>
              <a:off x="3050507" y="1557893"/>
              <a:ext cx="2507566" cy="661593"/>
            </a:xfrm>
            <a:prstGeom prst="rect">
              <a:avLst/>
            </a:prstGeom>
            <a:noFill/>
            <a:ln w="19050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Hız</a:t>
              </a:r>
              <a: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/>
              </a:r>
              <a:br>
                <a:rPr kumimoji="0" lang="tr-TR" sz="1050" b="1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</a:br>
              <a:r>
                <a:rPr kumimoji="0" lang="tr-TR" sz="1050" b="0" i="0" u="none" strike="noStrike" kern="0" cap="none" spc="0" normalizeH="0" baseline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İnsanlardan çok daha hızlı çalışabilme</a:t>
              </a:r>
            </a:p>
          </p:txBody>
        </p:sp>
        <p:cxnSp>
          <p:nvCxnSpPr>
            <p:cNvPr id="391" name="Straight Connector 390"/>
            <p:cNvCxnSpPr>
              <a:endCxn id="390" idx="2"/>
            </p:cNvCxnSpPr>
            <p:nvPr/>
          </p:nvCxnSpPr>
          <p:spPr>
            <a:xfrm flipV="1">
              <a:off x="4304290" y="2219486"/>
              <a:ext cx="0" cy="780890"/>
            </a:xfrm>
            <a:prstGeom prst="line">
              <a:avLst/>
            </a:prstGeom>
            <a:noFill/>
            <a:ln w="12700" cap="flat" cmpd="sng" algn="ctr">
              <a:solidFill>
                <a:srgbClr val="99999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92" name="Rounded Rectangle 11"/>
            <p:cNvSpPr/>
            <p:nvPr/>
          </p:nvSpPr>
          <p:spPr bwMode="gray">
            <a:xfrm>
              <a:off x="8768752" y="1836696"/>
              <a:ext cx="4002052" cy="3887870"/>
            </a:xfrm>
            <a:prstGeom prst="rect">
              <a:avLst/>
            </a:prstGeom>
            <a:noFill/>
            <a:ln w="38100">
              <a:noFill/>
            </a:ln>
            <a:effectLst/>
          </p:spPr>
          <p:txBody>
            <a:bodyPr wrap="square" lIns="100770" tIns="100770" rIns="100770" bIns="100770" rtlCol="0" anchor="t">
              <a:noAutofit/>
            </a:bodyPr>
            <a:lstStyle/>
            <a:p>
              <a:pPr lvl="0" algn="l" fontAlgn="auto">
                <a:lnSpc>
                  <a:spcPct val="85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buSzPct val="70000"/>
              </a:pPr>
              <a:r>
                <a:rPr lang="tr-TR" sz="1763" b="1" dirty="0">
                  <a:solidFill>
                    <a:srgbClr val="646464"/>
                  </a:solidFill>
                  <a:latin typeface="EYInterstate Light" panose="02000506000000020004" pitchFamily="2" charset="0"/>
                </a:rPr>
                <a:t>Ana Getirileri</a:t>
              </a:r>
              <a:r>
                <a:rPr lang="tr-TR" sz="1763" b="1" dirty="0" smtClean="0">
                  <a:solidFill>
                    <a:srgbClr val="646464"/>
                  </a:solidFill>
                  <a:latin typeface="EYInterstate Light" panose="02000506000000020004" pitchFamily="2" charset="0"/>
                </a:rPr>
                <a:t>:</a:t>
              </a:r>
              <a:endParaRPr lang="tr-TR" sz="1542" dirty="0" smtClean="0">
                <a:solidFill>
                  <a:srgbClr val="646464"/>
                </a:solidFill>
                <a:latin typeface="EYInterstate Light" panose="02000506000000020004" pitchFamily="2" charset="0"/>
                <a:ea typeface="Dotum" panose="020B0600000101010101" pitchFamily="34" charset="-127"/>
                <a:sym typeface="EYInterstate"/>
              </a:endParaRPr>
            </a:p>
            <a:p>
              <a:pPr marL="314739" lvl="1" indent="-314739" algn="l" fontAlgn="auto">
                <a:lnSpc>
                  <a:spcPct val="100000"/>
                </a:lnSpc>
                <a:spcBef>
                  <a:spcPts val="661"/>
                </a:spcBef>
                <a:spcAft>
                  <a:spcPts val="188"/>
                </a:spcAft>
                <a:buClr>
                  <a:srgbClr val="FFE600"/>
                </a:buClr>
                <a:buSzPct val="125000"/>
                <a:buFont typeface="EYInterstate Light" panose="02000506000000020004" pitchFamily="2" charset="0"/>
                <a:buChar char="√"/>
                <a:defRPr/>
              </a:pPr>
              <a:r>
                <a:rPr lang="tr-TR" sz="1600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Otomasyon </a:t>
              </a:r>
              <a:r>
                <a:rPr lang="tr-TR" sz="1600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+ süreç optimizasyonu ile </a:t>
              </a:r>
              <a:r>
                <a:rPr lang="tr-TR" sz="1800" b="1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%40 </a:t>
              </a:r>
              <a:r>
                <a:rPr lang="tr-TR" sz="1800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ile</a:t>
              </a:r>
              <a:r>
                <a:rPr lang="tr-TR" sz="1800" b="1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 %50 arası kapasitede </a:t>
              </a:r>
              <a:r>
                <a:rPr lang="tr-TR" sz="1800" b="1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rahatlama</a:t>
              </a:r>
            </a:p>
            <a:p>
              <a:pPr marL="314739" lvl="1" indent="-314739" algn="l" fontAlgn="auto">
                <a:lnSpc>
                  <a:spcPct val="100000"/>
                </a:lnSpc>
                <a:spcBef>
                  <a:spcPts val="661"/>
                </a:spcBef>
                <a:spcAft>
                  <a:spcPts val="188"/>
                </a:spcAft>
                <a:buClr>
                  <a:srgbClr val="FFE600"/>
                </a:buClr>
                <a:buSzPct val="125000"/>
                <a:buFont typeface="EYInterstate Light" panose="02000506000000020004" pitchFamily="2" charset="0"/>
                <a:buChar char="√"/>
                <a:defRPr/>
              </a:pPr>
              <a:endParaRPr lang="tr-TR" sz="1600" dirty="0" smtClean="0">
                <a:solidFill>
                  <a:srgbClr val="646464"/>
                </a:solidFill>
                <a:latin typeface="EYInterstate Light" panose="02000506000000020004" pitchFamily="2" charset="0"/>
                <a:ea typeface="Dotum" panose="020B0600000101010101" pitchFamily="34" charset="-127"/>
                <a:sym typeface="EYInterstate"/>
              </a:endParaRPr>
            </a:p>
            <a:p>
              <a:pPr marL="314739" lvl="1" indent="-314739" algn="l" fontAlgn="auto">
                <a:lnSpc>
                  <a:spcPct val="100000"/>
                </a:lnSpc>
                <a:spcBef>
                  <a:spcPts val="661"/>
                </a:spcBef>
                <a:spcAft>
                  <a:spcPts val="188"/>
                </a:spcAft>
                <a:buClr>
                  <a:srgbClr val="FFE600"/>
                </a:buClr>
                <a:buSzPct val="125000"/>
                <a:buFont typeface="EYInterstate Light" panose="02000506000000020004" pitchFamily="2" charset="0"/>
                <a:buChar char="√"/>
                <a:defRPr/>
              </a:pPr>
              <a:r>
                <a:rPr lang="tr-TR" sz="1600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Gerçek </a:t>
              </a:r>
              <a:r>
                <a:rPr lang="tr-TR" sz="1600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zamanlı işlemler, kısaltılmış devir süreleri ve gelişmiş kalite ile </a:t>
              </a:r>
              <a:r>
                <a:rPr lang="tr-TR" sz="1800" b="1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müşteri memnuniyetinde </a:t>
              </a:r>
              <a:r>
                <a:rPr lang="tr-TR" sz="1800" b="1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artış</a:t>
              </a:r>
            </a:p>
            <a:p>
              <a:pPr marL="314739" lvl="1" indent="-314739" algn="l" fontAlgn="auto">
                <a:lnSpc>
                  <a:spcPct val="100000"/>
                </a:lnSpc>
                <a:spcBef>
                  <a:spcPts val="661"/>
                </a:spcBef>
                <a:spcAft>
                  <a:spcPts val="188"/>
                </a:spcAft>
                <a:buClr>
                  <a:srgbClr val="FFE600"/>
                </a:buClr>
                <a:buSzPct val="125000"/>
                <a:buFont typeface="EYInterstate Light" panose="02000506000000020004" pitchFamily="2" charset="0"/>
                <a:buChar char="√"/>
                <a:defRPr/>
              </a:pPr>
              <a:endParaRPr lang="tr-TR" sz="1600" dirty="0" smtClean="0">
                <a:solidFill>
                  <a:srgbClr val="646464"/>
                </a:solidFill>
                <a:latin typeface="EYInterstate Light" panose="02000506000000020004" pitchFamily="2" charset="0"/>
                <a:ea typeface="Dotum" panose="020B0600000101010101" pitchFamily="34" charset="-127"/>
                <a:sym typeface="EYInterstate"/>
              </a:endParaRPr>
            </a:p>
            <a:p>
              <a:pPr marL="314739" lvl="1" indent="-314739" algn="l" fontAlgn="auto">
                <a:lnSpc>
                  <a:spcPct val="100000"/>
                </a:lnSpc>
                <a:spcBef>
                  <a:spcPts val="661"/>
                </a:spcBef>
                <a:spcAft>
                  <a:spcPts val="188"/>
                </a:spcAft>
                <a:buClr>
                  <a:srgbClr val="FFE600"/>
                </a:buClr>
                <a:buSzPct val="125000"/>
                <a:buFont typeface="EYInterstate Light" panose="02000506000000020004" pitchFamily="2" charset="0"/>
                <a:buChar char="√"/>
                <a:defRPr/>
              </a:pPr>
              <a:r>
                <a:rPr lang="tr-TR" sz="1600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Boşalan </a:t>
              </a:r>
              <a:r>
                <a:rPr lang="tr-TR" sz="1600" dirty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kapasite ve gerçek zamanlı işlemlerle birleştirilmiş daha iyi bir analitik yapı ile birlikte </a:t>
              </a:r>
              <a:r>
                <a:rPr lang="tr-TR" sz="1600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gelen </a:t>
              </a:r>
              <a:r>
                <a:rPr lang="tr-TR" sz="1800" b="1" dirty="0" smtClean="0">
                  <a:solidFill>
                    <a:srgbClr val="646464"/>
                  </a:solidFill>
                  <a:latin typeface="EYInterstate Light" panose="02000506000000020004" pitchFamily="2" charset="0"/>
                  <a:ea typeface="Dotum" panose="020B0600000101010101" pitchFamily="34" charset="-127"/>
                  <a:sym typeface="EYInterstate"/>
                </a:rPr>
                <a:t>yenilik fırsatları</a:t>
              </a:r>
              <a:endParaRPr lang="tr-TR" sz="1800" b="1" dirty="0">
                <a:solidFill>
                  <a:srgbClr val="646464"/>
                </a:solidFill>
                <a:latin typeface="EYInterstate Light" panose="02000506000000020004" pitchFamily="2" charset="0"/>
                <a:ea typeface="Dotum" panose="020B0600000101010101" pitchFamily="34" charset="-127"/>
                <a:sym typeface="EYInterstate"/>
              </a:endParaRPr>
            </a:p>
          </p:txBody>
        </p:sp>
        <p:cxnSp>
          <p:nvCxnSpPr>
            <p:cNvPr id="393" name="Straight Connector 392"/>
            <p:cNvCxnSpPr/>
            <p:nvPr/>
          </p:nvCxnSpPr>
          <p:spPr>
            <a:xfrm>
              <a:off x="8429016" y="1557894"/>
              <a:ext cx="0" cy="4744006"/>
            </a:xfrm>
            <a:prstGeom prst="line">
              <a:avLst/>
            </a:prstGeom>
            <a:ln w="127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4" name="Freeform 631"/>
            <p:cNvSpPr/>
            <p:nvPr/>
          </p:nvSpPr>
          <p:spPr>
            <a:xfrm>
              <a:off x="4400156" y="3587827"/>
              <a:ext cx="7292" cy="69257"/>
            </a:xfrm>
            <a:custGeom>
              <a:avLst/>
              <a:gdLst/>
              <a:ahLst/>
              <a:cxnLst/>
              <a:rect l="0" t="0" r="0" b="0"/>
              <a:pathLst>
                <a:path w="6552" h="62229">
                  <a:moveTo>
                    <a:pt x="4457" y="51650"/>
                  </a:moveTo>
                  <a:cubicBezTo>
                    <a:pt x="5828" y="45466"/>
                    <a:pt x="6552" y="39052"/>
                    <a:pt x="6552" y="32283"/>
                  </a:cubicBezTo>
                  <a:cubicBezTo>
                    <a:pt x="6552" y="25285"/>
                    <a:pt x="5752" y="18542"/>
                    <a:pt x="4318" y="12192"/>
                  </a:cubicBezTo>
                  <a:cubicBezTo>
                    <a:pt x="1981" y="1295"/>
                    <a:pt x="0" y="0"/>
                    <a:pt x="1371" y="8623"/>
                  </a:cubicBezTo>
                  <a:cubicBezTo>
                    <a:pt x="2235" y="13754"/>
                    <a:pt x="2679" y="19037"/>
                    <a:pt x="2679" y="24384"/>
                  </a:cubicBezTo>
                  <a:cubicBezTo>
                    <a:pt x="2679" y="33769"/>
                    <a:pt x="2298" y="42214"/>
                    <a:pt x="1524" y="49872"/>
                  </a:cubicBezTo>
                  <a:cubicBezTo>
                    <a:pt x="432" y="61086"/>
                    <a:pt x="2159" y="62229"/>
                    <a:pt x="4457" y="5165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5" name="Freeform 632"/>
            <p:cNvSpPr/>
            <p:nvPr/>
          </p:nvSpPr>
          <p:spPr>
            <a:xfrm>
              <a:off x="4205550" y="3587837"/>
              <a:ext cx="7264" cy="69244"/>
            </a:xfrm>
            <a:custGeom>
              <a:avLst/>
              <a:gdLst/>
              <a:ahLst/>
              <a:cxnLst/>
              <a:rect l="0" t="0" r="0" b="0"/>
              <a:pathLst>
                <a:path w="6527" h="62217">
                  <a:moveTo>
                    <a:pt x="2159" y="12179"/>
                  </a:moveTo>
                  <a:cubicBezTo>
                    <a:pt x="775" y="18529"/>
                    <a:pt x="0" y="25272"/>
                    <a:pt x="0" y="32270"/>
                  </a:cubicBezTo>
                  <a:cubicBezTo>
                    <a:pt x="0" y="39039"/>
                    <a:pt x="699" y="45452"/>
                    <a:pt x="2096" y="51637"/>
                  </a:cubicBezTo>
                  <a:cubicBezTo>
                    <a:pt x="4381" y="62217"/>
                    <a:pt x="6108" y="61086"/>
                    <a:pt x="5029" y="49847"/>
                  </a:cubicBezTo>
                  <a:cubicBezTo>
                    <a:pt x="4241" y="42214"/>
                    <a:pt x="3898" y="33756"/>
                    <a:pt x="3898" y="24370"/>
                  </a:cubicBezTo>
                  <a:cubicBezTo>
                    <a:pt x="3898" y="19037"/>
                    <a:pt x="4318" y="13753"/>
                    <a:pt x="5181" y="8611"/>
                  </a:cubicBezTo>
                  <a:cubicBezTo>
                    <a:pt x="6527" y="0"/>
                    <a:pt x="4610" y="1296"/>
                    <a:pt x="2159" y="12179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6" name="Freeform 633"/>
            <p:cNvSpPr/>
            <p:nvPr/>
          </p:nvSpPr>
          <p:spPr>
            <a:xfrm>
              <a:off x="4219893" y="3516464"/>
              <a:ext cx="173217" cy="161711"/>
            </a:xfrm>
            <a:custGeom>
              <a:avLst/>
              <a:gdLst/>
              <a:ahLst/>
              <a:cxnLst/>
              <a:rect l="0" t="0" r="0" b="0"/>
              <a:pathLst>
                <a:path w="155638" h="145300">
                  <a:moveTo>
                    <a:pt x="77876" y="0"/>
                  </a:moveTo>
                  <a:cubicBezTo>
                    <a:pt x="55118" y="0"/>
                    <a:pt x="34900" y="11226"/>
                    <a:pt x="20714" y="28879"/>
                  </a:cubicBezTo>
                  <a:cubicBezTo>
                    <a:pt x="7988" y="44589"/>
                    <a:pt x="0" y="65417"/>
                    <a:pt x="0" y="88430"/>
                  </a:cubicBezTo>
                  <a:cubicBezTo>
                    <a:pt x="0" y="104940"/>
                    <a:pt x="1207" y="118300"/>
                    <a:pt x="3505" y="129197"/>
                  </a:cubicBezTo>
                  <a:cubicBezTo>
                    <a:pt x="5753" y="140182"/>
                    <a:pt x="8585" y="145046"/>
                    <a:pt x="7823" y="140817"/>
                  </a:cubicBezTo>
                  <a:cubicBezTo>
                    <a:pt x="7468" y="138214"/>
                    <a:pt x="7214" y="135623"/>
                    <a:pt x="7214" y="132930"/>
                  </a:cubicBezTo>
                  <a:cubicBezTo>
                    <a:pt x="6680" y="119341"/>
                    <a:pt x="6477" y="110159"/>
                    <a:pt x="6160" y="99669"/>
                  </a:cubicBezTo>
                  <a:lnTo>
                    <a:pt x="5677" y="80619"/>
                  </a:lnTo>
                  <a:cubicBezTo>
                    <a:pt x="5677" y="49707"/>
                    <a:pt x="33896" y="26631"/>
                    <a:pt x="58992" y="26631"/>
                  </a:cubicBezTo>
                  <a:lnTo>
                    <a:pt x="96646" y="26631"/>
                  </a:lnTo>
                  <a:cubicBezTo>
                    <a:pt x="121830" y="26631"/>
                    <a:pt x="149948" y="49707"/>
                    <a:pt x="149948" y="81038"/>
                  </a:cubicBezTo>
                  <a:lnTo>
                    <a:pt x="149440" y="99593"/>
                  </a:lnTo>
                  <a:cubicBezTo>
                    <a:pt x="149161" y="110159"/>
                    <a:pt x="148970" y="119341"/>
                    <a:pt x="148513" y="132613"/>
                  </a:cubicBezTo>
                  <a:cubicBezTo>
                    <a:pt x="148437" y="135458"/>
                    <a:pt x="148233" y="138137"/>
                    <a:pt x="147789" y="140817"/>
                  </a:cubicBezTo>
                  <a:cubicBezTo>
                    <a:pt x="146989" y="145300"/>
                    <a:pt x="149834" y="140652"/>
                    <a:pt x="152107" y="129679"/>
                  </a:cubicBezTo>
                  <a:cubicBezTo>
                    <a:pt x="154406" y="118719"/>
                    <a:pt x="155638" y="105194"/>
                    <a:pt x="155638" y="88493"/>
                  </a:cubicBezTo>
                  <a:cubicBezTo>
                    <a:pt x="155638" y="65417"/>
                    <a:pt x="147726" y="44589"/>
                    <a:pt x="134987" y="28879"/>
                  </a:cubicBezTo>
                  <a:cubicBezTo>
                    <a:pt x="120738" y="11226"/>
                    <a:pt x="100507" y="0"/>
                    <a:pt x="77876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97" name="Picture 634"/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222164" y="3543252"/>
              <a:ext cx="168666" cy="183464"/>
            </a:xfrm>
            <a:prstGeom prst="rect">
              <a:avLst/>
            </a:prstGeom>
            <a:noFill/>
            <a:extLst/>
          </p:spPr>
        </p:pic>
        <p:sp>
          <p:nvSpPr>
            <p:cNvPr id="398" name="Freeform 635"/>
            <p:cNvSpPr/>
            <p:nvPr/>
          </p:nvSpPr>
          <p:spPr>
            <a:xfrm>
              <a:off x="4122045" y="3720643"/>
              <a:ext cx="99590" cy="92524"/>
            </a:xfrm>
            <a:custGeom>
              <a:avLst/>
              <a:gdLst/>
              <a:ahLst/>
              <a:cxnLst/>
              <a:rect l="0" t="0" r="0" b="0"/>
              <a:pathLst>
                <a:path w="89483" h="83134">
                  <a:moveTo>
                    <a:pt x="52006" y="0"/>
                  </a:moveTo>
                  <a:cubicBezTo>
                    <a:pt x="27686" y="0"/>
                    <a:pt x="6096" y="20561"/>
                    <a:pt x="1206" y="50685"/>
                  </a:cubicBezTo>
                  <a:cubicBezTo>
                    <a:pt x="127" y="57429"/>
                    <a:pt x="0" y="64096"/>
                    <a:pt x="635" y="70611"/>
                  </a:cubicBezTo>
                  <a:cubicBezTo>
                    <a:pt x="1778" y="81584"/>
                    <a:pt x="11062" y="83134"/>
                    <a:pt x="20269" y="78739"/>
                  </a:cubicBezTo>
                  <a:cubicBezTo>
                    <a:pt x="25946" y="75971"/>
                    <a:pt x="32156" y="74422"/>
                    <a:pt x="38456" y="74422"/>
                  </a:cubicBezTo>
                  <a:cubicBezTo>
                    <a:pt x="41923" y="74422"/>
                    <a:pt x="45390" y="74917"/>
                    <a:pt x="48831" y="75831"/>
                  </a:cubicBezTo>
                  <a:cubicBezTo>
                    <a:pt x="52247" y="76707"/>
                    <a:pt x="55536" y="78016"/>
                    <a:pt x="58559" y="79717"/>
                  </a:cubicBezTo>
                  <a:cubicBezTo>
                    <a:pt x="63677" y="82562"/>
                    <a:pt x="70281" y="77457"/>
                    <a:pt x="74078" y="67043"/>
                  </a:cubicBezTo>
                  <a:lnTo>
                    <a:pt x="85457" y="34988"/>
                  </a:lnTo>
                  <a:cubicBezTo>
                    <a:pt x="85457" y="34988"/>
                    <a:pt x="86626" y="31800"/>
                    <a:pt x="88061" y="27901"/>
                  </a:cubicBezTo>
                  <a:cubicBezTo>
                    <a:pt x="89483" y="23901"/>
                    <a:pt x="85915" y="14160"/>
                    <a:pt x="78269" y="8623"/>
                  </a:cubicBezTo>
                  <a:cubicBezTo>
                    <a:pt x="73659" y="5372"/>
                    <a:pt x="68693" y="2844"/>
                    <a:pt x="63232" y="1447"/>
                  </a:cubicBezTo>
                  <a:cubicBezTo>
                    <a:pt x="59410" y="469"/>
                    <a:pt x="55676" y="0"/>
                    <a:pt x="52006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9" name="Freeform 636"/>
            <p:cNvSpPr/>
            <p:nvPr/>
          </p:nvSpPr>
          <p:spPr>
            <a:xfrm>
              <a:off x="4116732" y="3826296"/>
              <a:ext cx="70176" cy="129936"/>
            </a:xfrm>
            <a:custGeom>
              <a:avLst/>
              <a:gdLst/>
              <a:ahLst/>
              <a:cxnLst/>
              <a:rect l="0" t="0" r="0" b="0"/>
              <a:pathLst>
                <a:path w="63054" h="116750">
                  <a:moveTo>
                    <a:pt x="55498" y="100774"/>
                  </a:moveTo>
                  <a:lnTo>
                    <a:pt x="55498" y="41326"/>
                  </a:lnTo>
                  <a:cubicBezTo>
                    <a:pt x="55498" y="38722"/>
                    <a:pt x="55917" y="36119"/>
                    <a:pt x="56780" y="33680"/>
                  </a:cubicBezTo>
                  <a:cubicBezTo>
                    <a:pt x="56780" y="33680"/>
                    <a:pt x="58584" y="28651"/>
                    <a:pt x="60819" y="22555"/>
                  </a:cubicBezTo>
                  <a:cubicBezTo>
                    <a:pt x="63054" y="16358"/>
                    <a:pt x="62114" y="7734"/>
                    <a:pt x="57860" y="4724"/>
                  </a:cubicBezTo>
                  <a:cubicBezTo>
                    <a:pt x="55257" y="2921"/>
                    <a:pt x="52476" y="1549"/>
                    <a:pt x="49517" y="826"/>
                  </a:cubicBezTo>
                  <a:cubicBezTo>
                    <a:pt x="47409" y="241"/>
                    <a:pt x="45338" y="0"/>
                    <a:pt x="43230" y="0"/>
                  </a:cubicBezTo>
                  <a:cubicBezTo>
                    <a:pt x="34531" y="0"/>
                    <a:pt x="26276" y="4877"/>
                    <a:pt x="19862" y="12941"/>
                  </a:cubicBezTo>
                  <a:cubicBezTo>
                    <a:pt x="17906" y="15456"/>
                    <a:pt x="16065" y="18224"/>
                    <a:pt x="14516" y="21399"/>
                  </a:cubicBezTo>
                  <a:cubicBezTo>
                    <a:pt x="13017" y="24397"/>
                    <a:pt x="11747" y="27749"/>
                    <a:pt x="10718" y="31242"/>
                  </a:cubicBezTo>
                  <a:cubicBezTo>
                    <a:pt x="10096" y="33439"/>
                    <a:pt x="9486" y="35712"/>
                    <a:pt x="9131" y="38087"/>
                  </a:cubicBezTo>
                  <a:lnTo>
                    <a:pt x="876" y="88011"/>
                  </a:lnTo>
                  <a:cubicBezTo>
                    <a:pt x="406" y="90869"/>
                    <a:pt x="165" y="93650"/>
                    <a:pt x="88" y="96469"/>
                  </a:cubicBezTo>
                  <a:cubicBezTo>
                    <a:pt x="0" y="101116"/>
                    <a:pt x="4317" y="102818"/>
                    <a:pt x="9486" y="101447"/>
                  </a:cubicBezTo>
                  <a:cubicBezTo>
                    <a:pt x="12585" y="100648"/>
                    <a:pt x="15747" y="100216"/>
                    <a:pt x="19011" y="100216"/>
                  </a:cubicBezTo>
                  <a:cubicBezTo>
                    <a:pt x="25844" y="100216"/>
                    <a:pt x="32461" y="101929"/>
                    <a:pt x="38696" y="105346"/>
                  </a:cubicBezTo>
                  <a:cubicBezTo>
                    <a:pt x="42113" y="107136"/>
                    <a:pt x="45123" y="109473"/>
                    <a:pt x="47929" y="112254"/>
                  </a:cubicBezTo>
                  <a:cubicBezTo>
                    <a:pt x="52514" y="116750"/>
                    <a:pt x="55498" y="112089"/>
                    <a:pt x="55498" y="100774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0" name="Freeform 637"/>
            <p:cNvSpPr/>
            <p:nvPr/>
          </p:nvSpPr>
          <p:spPr>
            <a:xfrm>
              <a:off x="4082135" y="3960628"/>
              <a:ext cx="91944" cy="139449"/>
            </a:xfrm>
            <a:custGeom>
              <a:avLst/>
              <a:gdLst/>
              <a:ahLst/>
              <a:cxnLst/>
              <a:rect l="0" t="0" r="0" b="0"/>
              <a:pathLst>
                <a:path w="82613" h="125297">
                  <a:moveTo>
                    <a:pt x="79540" y="63461"/>
                  </a:moveTo>
                  <a:cubicBezTo>
                    <a:pt x="82016" y="55270"/>
                    <a:pt x="82613" y="46825"/>
                    <a:pt x="81902" y="38760"/>
                  </a:cubicBezTo>
                  <a:cubicBezTo>
                    <a:pt x="81533" y="35077"/>
                    <a:pt x="80962" y="31585"/>
                    <a:pt x="80009" y="28321"/>
                  </a:cubicBezTo>
                  <a:cubicBezTo>
                    <a:pt x="79071" y="24993"/>
                    <a:pt x="77877" y="21818"/>
                    <a:pt x="76429" y="18999"/>
                  </a:cubicBezTo>
                  <a:cubicBezTo>
                    <a:pt x="72962" y="12077"/>
                    <a:pt x="68072" y="6388"/>
                    <a:pt x="61964" y="3124"/>
                  </a:cubicBezTo>
                  <a:cubicBezTo>
                    <a:pt x="58103" y="990"/>
                    <a:pt x="54039" y="0"/>
                    <a:pt x="50102" y="0"/>
                  </a:cubicBezTo>
                  <a:cubicBezTo>
                    <a:pt x="45543" y="0"/>
                    <a:pt x="41263" y="1651"/>
                    <a:pt x="37148" y="4000"/>
                  </a:cubicBezTo>
                  <a:cubicBezTo>
                    <a:pt x="34456" y="5550"/>
                    <a:pt x="32030" y="7340"/>
                    <a:pt x="29668" y="9702"/>
                  </a:cubicBezTo>
                  <a:cubicBezTo>
                    <a:pt x="27356" y="11988"/>
                    <a:pt x="25146" y="14503"/>
                    <a:pt x="23254" y="17589"/>
                  </a:cubicBezTo>
                  <a:cubicBezTo>
                    <a:pt x="21070" y="21336"/>
                    <a:pt x="19203" y="25476"/>
                    <a:pt x="17780" y="30060"/>
                  </a:cubicBezTo>
                  <a:lnTo>
                    <a:pt x="3315" y="77570"/>
                  </a:lnTo>
                  <a:cubicBezTo>
                    <a:pt x="661" y="86155"/>
                    <a:pt x="0" y="95223"/>
                    <a:pt x="1093" y="103656"/>
                  </a:cubicBezTo>
                  <a:cubicBezTo>
                    <a:pt x="2451" y="114883"/>
                    <a:pt x="9348" y="121550"/>
                    <a:pt x="12383" y="120420"/>
                  </a:cubicBezTo>
                  <a:cubicBezTo>
                    <a:pt x="14250" y="119696"/>
                    <a:pt x="16104" y="119163"/>
                    <a:pt x="18136" y="118794"/>
                  </a:cubicBezTo>
                  <a:cubicBezTo>
                    <a:pt x="20625" y="118274"/>
                    <a:pt x="23254" y="118058"/>
                    <a:pt x="25769" y="118058"/>
                  </a:cubicBezTo>
                  <a:cubicBezTo>
                    <a:pt x="31179" y="118058"/>
                    <a:pt x="36284" y="119125"/>
                    <a:pt x="41187" y="120979"/>
                  </a:cubicBezTo>
                  <a:cubicBezTo>
                    <a:pt x="49353" y="124141"/>
                    <a:pt x="58281" y="125297"/>
                    <a:pt x="61037" y="120420"/>
                  </a:cubicBezTo>
                  <a:cubicBezTo>
                    <a:pt x="62599" y="117563"/>
                    <a:pt x="63970" y="114400"/>
                    <a:pt x="65050" y="110895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1" name="Freeform 638"/>
            <p:cNvSpPr/>
            <p:nvPr/>
          </p:nvSpPr>
          <p:spPr>
            <a:xfrm>
              <a:off x="4063954" y="4114767"/>
              <a:ext cx="90121" cy="61215"/>
            </a:xfrm>
            <a:custGeom>
              <a:avLst/>
              <a:gdLst/>
              <a:ahLst/>
              <a:cxnLst/>
              <a:rect l="0" t="0" r="0" b="0"/>
              <a:pathLst>
                <a:path w="80975" h="55003">
                  <a:moveTo>
                    <a:pt x="72263" y="15951"/>
                  </a:moveTo>
                  <a:cubicBezTo>
                    <a:pt x="69584" y="13399"/>
                    <a:pt x="66853" y="11100"/>
                    <a:pt x="63970" y="8992"/>
                  </a:cubicBezTo>
                  <a:cubicBezTo>
                    <a:pt x="60072" y="6109"/>
                    <a:pt x="56084" y="3493"/>
                    <a:pt x="51829" y="1943"/>
                  </a:cubicBezTo>
                  <a:cubicBezTo>
                    <a:pt x="48629" y="711"/>
                    <a:pt x="45390" y="0"/>
                    <a:pt x="42114" y="0"/>
                  </a:cubicBezTo>
                  <a:cubicBezTo>
                    <a:pt x="41237" y="0"/>
                    <a:pt x="40285" y="165"/>
                    <a:pt x="39447" y="229"/>
                  </a:cubicBezTo>
                  <a:cubicBezTo>
                    <a:pt x="38799" y="318"/>
                    <a:pt x="38139" y="318"/>
                    <a:pt x="37580" y="470"/>
                  </a:cubicBezTo>
                  <a:cubicBezTo>
                    <a:pt x="34113" y="1131"/>
                    <a:pt x="30798" y="2680"/>
                    <a:pt x="27775" y="4699"/>
                  </a:cubicBezTo>
                  <a:cubicBezTo>
                    <a:pt x="25121" y="6465"/>
                    <a:pt x="22581" y="8789"/>
                    <a:pt x="20232" y="11303"/>
                  </a:cubicBezTo>
                  <a:cubicBezTo>
                    <a:pt x="13462" y="18465"/>
                    <a:pt x="7773" y="27990"/>
                    <a:pt x="2731" y="37414"/>
                  </a:cubicBezTo>
                  <a:cubicBezTo>
                    <a:pt x="0" y="42544"/>
                    <a:pt x="1093" y="49618"/>
                    <a:pt x="5195" y="53123"/>
                  </a:cubicBezTo>
                  <a:cubicBezTo>
                    <a:pt x="6211" y="53936"/>
                    <a:pt x="7265" y="54470"/>
                    <a:pt x="8357" y="54724"/>
                  </a:cubicBezTo>
                  <a:cubicBezTo>
                    <a:pt x="8929" y="55003"/>
                    <a:pt x="9576" y="55003"/>
                    <a:pt x="10148" y="55003"/>
                  </a:cubicBezTo>
                  <a:cubicBezTo>
                    <a:pt x="13056" y="55003"/>
                    <a:pt x="15914" y="53263"/>
                    <a:pt x="17666" y="50012"/>
                  </a:cubicBezTo>
                  <a:cubicBezTo>
                    <a:pt x="26848" y="32664"/>
                    <a:pt x="34062" y="24053"/>
                    <a:pt x="40285" y="22834"/>
                  </a:cubicBezTo>
                  <a:cubicBezTo>
                    <a:pt x="40869" y="22770"/>
                    <a:pt x="41479" y="22694"/>
                    <a:pt x="42037" y="22694"/>
                  </a:cubicBezTo>
                  <a:cubicBezTo>
                    <a:pt x="47714" y="22694"/>
                    <a:pt x="55207" y="27469"/>
                    <a:pt x="65329" y="37642"/>
                  </a:cubicBezTo>
                  <a:cubicBezTo>
                    <a:pt x="67006" y="39280"/>
                    <a:pt x="68936" y="40093"/>
                    <a:pt x="70879" y="40093"/>
                  </a:cubicBezTo>
                  <a:cubicBezTo>
                    <a:pt x="73545" y="40093"/>
                    <a:pt x="76123" y="38620"/>
                    <a:pt x="77939" y="35775"/>
                  </a:cubicBezTo>
                  <a:cubicBezTo>
                    <a:pt x="80975" y="30873"/>
                    <a:pt x="80302" y="23825"/>
                    <a:pt x="76492" y="19913"/>
                  </a:cubicBezTo>
                  <a:cubicBezTo>
                    <a:pt x="75158" y="18529"/>
                    <a:pt x="73621" y="17208"/>
                    <a:pt x="72263" y="15951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2" name="Freeform 639"/>
            <p:cNvSpPr/>
            <p:nvPr/>
          </p:nvSpPr>
          <p:spPr>
            <a:xfrm>
              <a:off x="4395440" y="3720639"/>
              <a:ext cx="98501" cy="92522"/>
            </a:xfrm>
            <a:custGeom>
              <a:avLst/>
              <a:gdLst/>
              <a:ahLst/>
              <a:cxnLst/>
              <a:rect l="0" t="0" r="0" b="0"/>
              <a:pathLst>
                <a:path w="88505" h="83133">
                  <a:moveTo>
                    <a:pt x="2730" y="28968"/>
                  </a:moveTo>
                  <a:lnTo>
                    <a:pt x="15379" y="66699"/>
                  </a:lnTo>
                  <a:cubicBezTo>
                    <a:pt x="18922" y="77278"/>
                    <a:pt x="25323" y="82561"/>
                    <a:pt x="30301" y="79717"/>
                  </a:cubicBezTo>
                  <a:cubicBezTo>
                    <a:pt x="33235" y="78015"/>
                    <a:pt x="36346" y="76719"/>
                    <a:pt x="39636" y="75818"/>
                  </a:cubicBezTo>
                  <a:cubicBezTo>
                    <a:pt x="43014" y="74929"/>
                    <a:pt x="46532" y="74421"/>
                    <a:pt x="49999" y="74421"/>
                  </a:cubicBezTo>
                  <a:cubicBezTo>
                    <a:pt x="56349" y="74421"/>
                    <a:pt x="62521" y="75970"/>
                    <a:pt x="68198" y="78726"/>
                  </a:cubicBezTo>
                  <a:cubicBezTo>
                    <a:pt x="77431" y="83133"/>
                    <a:pt x="86702" y="81584"/>
                    <a:pt x="87845" y="70623"/>
                  </a:cubicBezTo>
                  <a:cubicBezTo>
                    <a:pt x="88505" y="64108"/>
                    <a:pt x="88366" y="57428"/>
                    <a:pt x="87286" y="50685"/>
                  </a:cubicBezTo>
                  <a:cubicBezTo>
                    <a:pt x="82371" y="20561"/>
                    <a:pt x="60794" y="0"/>
                    <a:pt x="36473" y="0"/>
                  </a:cubicBezTo>
                  <a:cubicBezTo>
                    <a:pt x="32790" y="0"/>
                    <a:pt x="29057" y="470"/>
                    <a:pt x="25272" y="1460"/>
                  </a:cubicBezTo>
                  <a:cubicBezTo>
                    <a:pt x="20217" y="2768"/>
                    <a:pt x="15455" y="4940"/>
                    <a:pt x="11150" y="7810"/>
                  </a:cubicBezTo>
                  <a:cubicBezTo>
                    <a:pt x="3873" y="12598"/>
                    <a:pt x="0" y="20828"/>
                    <a:pt x="991" y="23762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3" name="Freeform 640"/>
            <p:cNvSpPr/>
            <p:nvPr/>
          </p:nvSpPr>
          <p:spPr>
            <a:xfrm>
              <a:off x="4429229" y="3826210"/>
              <a:ext cx="70078" cy="130008"/>
            </a:xfrm>
            <a:custGeom>
              <a:avLst/>
              <a:gdLst/>
              <a:ahLst/>
              <a:cxnLst/>
              <a:rect l="0" t="0" r="0" b="0"/>
              <a:pathLst>
                <a:path w="62966" h="116814">
                  <a:moveTo>
                    <a:pt x="53759" y="38163"/>
                  </a:moveTo>
                  <a:cubicBezTo>
                    <a:pt x="53328" y="35776"/>
                    <a:pt x="52731" y="33515"/>
                    <a:pt x="52185" y="31331"/>
                  </a:cubicBezTo>
                  <a:cubicBezTo>
                    <a:pt x="51143" y="27826"/>
                    <a:pt x="49873" y="24473"/>
                    <a:pt x="48362" y="21476"/>
                  </a:cubicBezTo>
                  <a:cubicBezTo>
                    <a:pt x="46851" y="18313"/>
                    <a:pt x="44984" y="15545"/>
                    <a:pt x="43041" y="13017"/>
                  </a:cubicBezTo>
                  <a:cubicBezTo>
                    <a:pt x="36627" y="4966"/>
                    <a:pt x="28359" y="0"/>
                    <a:pt x="19635" y="0"/>
                  </a:cubicBezTo>
                  <a:cubicBezTo>
                    <a:pt x="17565" y="0"/>
                    <a:pt x="15469" y="317"/>
                    <a:pt x="13386" y="800"/>
                  </a:cubicBezTo>
                  <a:cubicBezTo>
                    <a:pt x="10440" y="1613"/>
                    <a:pt x="7709" y="2908"/>
                    <a:pt x="5106" y="4699"/>
                  </a:cubicBezTo>
                  <a:cubicBezTo>
                    <a:pt x="851" y="7633"/>
                    <a:pt x="0" y="16599"/>
                    <a:pt x="2236" y="23101"/>
                  </a:cubicBezTo>
                  <a:lnTo>
                    <a:pt x="6261" y="34963"/>
                  </a:lnTo>
                  <a:cubicBezTo>
                    <a:pt x="7011" y="37351"/>
                    <a:pt x="7430" y="39775"/>
                    <a:pt x="7430" y="42290"/>
                  </a:cubicBezTo>
                  <a:lnTo>
                    <a:pt x="7430" y="100850"/>
                  </a:lnTo>
                  <a:cubicBezTo>
                    <a:pt x="7430" y="112165"/>
                    <a:pt x="10351" y="116814"/>
                    <a:pt x="14961" y="112242"/>
                  </a:cubicBezTo>
                  <a:cubicBezTo>
                    <a:pt x="17793" y="109562"/>
                    <a:pt x="20778" y="107212"/>
                    <a:pt x="24194" y="105345"/>
                  </a:cubicBezTo>
                  <a:cubicBezTo>
                    <a:pt x="30442" y="102005"/>
                    <a:pt x="37072" y="100215"/>
                    <a:pt x="43904" y="100215"/>
                  </a:cubicBezTo>
                  <a:cubicBezTo>
                    <a:pt x="47143" y="100215"/>
                    <a:pt x="50305" y="100723"/>
                    <a:pt x="53391" y="101523"/>
                  </a:cubicBezTo>
                  <a:cubicBezTo>
                    <a:pt x="58572" y="102818"/>
                    <a:pt x="62966" y="101193"/>
                    <a:pt x="62814" y="96456"/>
                  </a:cubicBezTo>
                  <a:cubicBezTo>
                    <a:pt x="62725" y="93725"/>
                    <a:pt x="62458" y="90868"/>
                    <a:pt x="62013" y="88086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4" name="Freeform 641"/>
            <p:cNvSpPr/>
            <p:nvPr/>
          </p:nvSpPr>
          <p:spPr>
            <a:xfrm>
              <a:off x="4441791" y="3960577"/>
              <a:ext cx="91929" cy="139505"/>
            </a:xfrm>
            <a:custGeom>
              <a:avLst/>
              <a:gdLst/>
              <a:ahLst/>
              <a:cxnLst/>
              <a:rect l="0" t="0" r="0" b="0"/>
              <a:pathLst>
                <a:path w="82600" h="125348">
                  <a:moveTo>
                    <a:pt x="64846" y="30098"/>
                  </a:moveTo>
                  <a:cubicBezTo>
                    <a:pt x="63462" y="25438"/>
                    <a:pt x="61608" y="21323"/>
                    <a:pt x="59385" y="17640"/>
                  </a:cubicBezTo>
                  <a:cubicBezTo>
                    <a:pt x="57519" y="14541"/>
                    <a:pt x="55271" y="12026"/>
                    <a:pt x="52972" y="9651"/>
                  </a:cubicBezTo>
                  <a:cubicBezTo>
                    <a:pt x="50661" y="7302"/>
                    <a:pt x="48159" y="5600"/>
                    <a:pt x="45568" y="4038"/>
                  </a:cubicBezTo>
                  <a:cubicBezTo>
                    <a:pt x="41390" y="1714"/>
                    <a:pt x="37084" y="0"/>
                    <a:pt x="32614" y="0"/>
                  </a:cubicBezTo>
                  <a:cubicBezTo>
                    <a:pt x="28575" y="0"/>
                    <a:pt x="24549" y="965"/>
                    <a:pt x="20663" y="3086"/>
                  </a:cubicBezTo>
                  <a:cubicBezTo>
                    <a:pt x="14618" y="6426"/>
                    <a:pt x="9728" y="12026"/>
                    <a:pt x="6274" y="18948"/>
                  </a:cubicBezTo>
                  <a:cubicBezTo>
                    <a:pt x="4839" y="21869"/>
                    <a:pt x="3556" y="24968"/>
                    <a:pt x="2604" y="28308"/>
                  </a:cubicBezTo>
                  <a:cubicBezTo>
                    <a:pt x="1740" y="31634"/>
                    <a:pt x="1169" y="35127"/>
                    <a:pt x="800" y="38695"/>
                  </a:cubicBezTo>
                  <a:cubicBezTo>
                    <a:pt x="0" y="46773"/>
                    <a:pt x="673" y="55320"/>
                    <a:pt x="3188" y="63499"/>
                  </a:cubicBezTo>
                  <a:lnTo>
                    <a:pt x="17666" y="110946"/>
                  </a:lnTo>
                  <a:cubicBezTo>
                    <a:pt x="18707" y="114464"/>
                    <a:pt x="20092" y="117537"/>
                    <a:pt x="21590" y="120395"/>
                  </a:cubicBezTo>
                  <a:cubicBezTo>
                    <a:pt x="24397" y="125348"/>
                    <a:pt x="33249" y="124128"/>
                    <a:pt x="41517" y="121017"/>
                  </a:cubicBezTo>
                  <a:cubicBezTo>
                    <a:pt x="46355" y="119163"/>
                    <a:pt x="51524" y="118032"/>
                    <a:pt x="56922" y="118032"/>
                  </a:cubicBezTo>
                  <a:cubicBezTo>
                    <a:pt x="59462" y="118032"/>
                    <a:pt x="62053" y="118261"/>
                    <a:pt x="64580" y="118832"/>
                  </a:cubicBezTo>
                  <a:cubicBezTo>
                    <a:pt x="66509" y="119163"/>
                    <a:pt x="68440" y="119747"/>
                    <a:pt x="70230" y="120471"/>
                  </a:cubicBezTo>
                  <a:cubicBezTo>
                    <a:pt x="73342" y="121601"/>
                    <a:pt x="80251" y="114845"/>
                    <a:pt x="81622" y="103694"/>
                  </a:cubicBezTo>
                  <a:cubicBezTo>
                    <a:pt x="82600" y="95261"/>
                    <a:pt x="81965" y="86206"/>
                    <a:pt x="79311" y="77507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5" name="Freeform 642"/>
            <p:cNvSpPr/>
            <p:nvPr/>
          </p:nvSpPr>
          <p:spPr>
            <a:xfrm>
              <a:off x="4461811" y="4114784"/>
              <a:ext cx="90191" cy="61201"/>
            </a:xfrm>
            <a:custGeom>
              <a:avLst/>
              <a:gdLst/>
              <a:ahLst/>
              <a:cxnLst/>
              <a:rect l="0" t="0" r="0" b="0"/>
              <a:pathLst>
                <a:path w="81038" h="54990">
                  <a:moveTo>
                    <a:pt x="53276" y="4686"/>
                  </a:moveTo>
                  <a:cubicBezTo>
                    <a:pt x="50165" y="2667"/>
                    <a:pt x="46939" y="1105"/>
                    <a:pt x="43459" y="445"/>
                  </a:cubicBezTo>
                  <a:cubicBezTo>
                    <a:pt x="42824" y="305"/>
                    <a:pt x="42253" y="305"/>
                    <a:pt x="41618" y="305"/>
                  </a:cubicBezTo>
                  <a:cubicBezTo>
                    <a:pt x="40754" y="140"/>
                    <a:pt x="39802" y="0"/>
                    <a:pt x="38938" y="0"/>
                  </a:cubicBezTo>
                  <a:cubicBezTo>
                    <a:pt x="35636" y="0"/>
                    <a:pt x="32410" y="711"/>
                    <a:pt x="29235" y="1931"/>
                  </a:cubicBezTo>
                  <a:cubicBezTo>
                    <a:pt x="24994" y="3467"/>
                    <a:pt x="20930" y="6095"/>
                    <a:pt x="17069" y="8978"/>
                  </a:cubicBezTo>
                  <a:cubicBezTo>
                    <a:pt x="14199" y="11086"/>
                    <a:pt x="11430" y="13385"/>
                    <a:pt x="8788" y="15938"/>
                  </a:cubicBezTo>
                  <a:cubicBezTo>
                    <a:pt x="7442" y="17208"/>
                    <a:pt x="5931" y="18516"/>
                    <a:pt x="4534" y="19900"/>
                  </a:cubicBezTo>
                  <a:cubicBezTo>
                    <a:pt x="711" y="23812"/>
                    <a:pt x="0" y="30860"/>
                    <a:pt x="3111" y="35762"/>
                  </a:cubicBezTo>
                  <a:cubicBezTo>
                    <a:pt x="4915" y="38595"/>
                    <a:pt x="7506" y="40068"/>
                    <a:pt x="10147" y="40068"/>
                  </a:cubicBezTo>
                  <a:cubicBezTo>
                    <a:pt x="12116" y="40068"/>
                    <a:pt x="14046" y="39255"/>
                    <a:pt x="15697" y="37629"/>
                  </a:cubicBezTo>
                  <a:cubicBezTo>
                    <a:pt x="25857" y="27457"/>
                    <a:pt x="33350" y="22669"/>
                    <a:pt x="39002" y="22669"/>
                  </a:cubicBezTo>
                  <a:cubicBezTo>
                    <a:pt x="39599" y="22669"/>
                    <a:pt x="40170" y="22669"/>
                    <a:pt x="40754" y="22808"/>
                  </a:cubicBezTo>
                  <a:cubicBezTo>
                    <a:pt x="47015" y="24040"/>
                    <a:pt x="54203" y="32651"/>
                    <a:pt x="63410" y="49999"/>
                  </a:cubicBezTo>
                  <a:cubicBezTo>
                    <a:pt x="65137" y="53238"/>
                    <a:pt x="68020" y="54990"/>
                    <a:pt x="70903" y="54990"/>
                  </a:cubicBezTo>
                  <a:cubicBezTo>
                    <a:pt x="71475" y="54990"/>
                    <a:pt x="72110" y="54889"/>
                    <a:pt x="72681" y="54711"/>
                  </a:cubicBezTo>
                  <a:cubicBezTo>
                    <a:pt x="73761" y="54457"/>
                    <a:pt x="74853" y="53923"/>
                    <a:pt x="75843" y="53111"/>
                  </a:cubicBezTo>
                  <a:cubicBezTo>
                    <a:pt x="79958" y="49605"/>
                    <a:pt x="81038" y="42519"/>
                    <a:pt x="78295" y="37401"/>
                  </a:cubicBezTo>
                  <a:cubicBezTo>
                    <a:pt x="73329" y="27965"/>
                    <a:pt x="67576" y="18452"/>
                    <a:pt x="60794" y="11289"/>
                  </a:cubicBezTo>
                  <a:cubicBezTo>
                    <a:pt x="58432" y="8788"/>
                    <a:pt x="55930" y="6438"/>
                    <a:pt x="53276" y="4686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6" name="Freeform 643"/>
            <p:cNvSpPr/>
            <p:nvPr/>
          </p:nvSpPr>
          <p:spPr>
            <a:xfrm>
              <a:off x="4198668" y="3731143"/>
              <a:ext cx="218616" cy="268142"/>
            </a:xfrm>
            <a:custGeom>
              <a:avLst/>
              <a:gdLst/>
              <a:ahLst/>
              <a:cxnLst/>
              <a:rect l="0" t="0" r="0" b="0"/>
              <a:pathLst>
                <a:path w="196430" h="240930">
                  <a:moveTo>
                    <a:pt x="162636" y="26847"/>
                  </a:moveTo>
                  <a:cubicBezTo>
                    <a:pt x="162636" y="26847"/>
                    <a:pt x="160998" y="21882"/>
                    <a:pt x="158941" y="15849"/>
                  </a:cubicBezTo>
                  <a:cubicBezTo>
                    <a:pt x="156934" y="9842"/>
                    <a:pt x="147295" y="3403"/>
                    <a:pt x="137376" y="2197"/>
                  </a:cubicBezTo>
                  <a:cubicBezTo>
                    <a:pt x="124054" y="546"/>
                    <a:pt x="111392" y="0"/>
                    <a:pt x="99886" y="0"/>
                  </a:cubicBezTo>
                  <a:cubicBezTo>
                    <a:pt x="84481" y="0"/>
                    <a:pt x="71247" y="1067"/>
                    <a:pt x="61430" y="2197"/>
                  </a:cubicBezTo>
                  <a:cubicBezTo>
                    <a:pt x="51511" y="3403"/>
                    <a:pt x="41313" y="11303"/>
                    <a:pt x="38494" y="19113"/>
                  </a:cubicBezTo>
                  <a:lnTo>
                    <a:pt x="33465" y="33273"/>
                  </a:lnTo>
                  <a:lnTo>
                    <a:pt x="11684" y="94207"/>
                  </a:lnTo>
                  <a:lnTo>
                    <a:pt x="1219" y="123494"/>
                  </a:lnTo>
                  <a:cubicBezTo>
                    <a:pt x="1219" y="123494"/>
                    <a:pt x="927" y="124217"/>
                    <a:pt x="572" y="125119"/>
                  </a:cubicBezTo>
                  <a:cubicBezTo>
                    <a:pt x="292" y="126084"/>
                    <a:pt x="0" y="131380"/>
                    <a:pt x="0" y="136981"/>
                  </a:cubicBezTo>
                  <a:lnTo>
                    <a:pt x="0" y="220458"/>
                  </a:lnTo>
                  <a:cubicBezTo>
                    <a:pt x="0" y="231748"/>
                    <a:pt x="8116" y="240930"/>
                    <a:pt x="18098" y="240930"/>
                  </a:cubicBezTo>
                  <a:lnTo>
                    <a:pt x="178384" y="240930"/>
                  </a:lnTo>
                  <a:cubicBezTo>
                    <a:pt x="188404" y="240930"/>
                    <a:pt x="196430" y="231748"/>
                    <a:pt x="196430" y="220458"/>
                  </a:cubicBezTo>
                  <a:lnTo>
                    <a:pt x="196430" y="137400"/>
                  </a:lnTo>
                  <a:cubicBezTo>
                    <a:pt x="196430" y="132015"/>
                    <a:pt x="196240" y="126897"/>
                    <a:pt x="195808" y="125767"/>
                  </a:cubicBezTo>
                  <a:lnTo>
                    <a:pt x="195122" y="123874"/>
                  </a:lnTo>
                  <a:lnTo>
                    <a:pt x="188404" y="103656"/>
                  </a:lnTo>
                  <a:lnTo>
                    <a:pt x="185013" y="93623"/>
                  </a:lnTo>
                  <a:lnTo>
                    <a:pt x="163867" y="30428"/>
                  </a:ln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7" name="Freeform 644"/>
            <p:cNvSpPr/>
            <p:nvPr/>
          </p:nvSpPr>
          <p:spPr>
            <a:xfrm>
              <a:off x="4191450" y="4038143"/>
              <a:ext cx="100847" cy="232963"/>
            </a:xfrm>
            <a:custGeom>
              <a:avLst/>
              <a:gdLst/>
              <a:ahLst/>
              <a:cxnLst/>
              <a:rect l="0" t="0" r="0" b="0"/>
              <a:pathLst>
                <a:path w="90613" h="209321">
                  <a:moveTo>
                    <a:pt x="4330" y="0"/>
                  </a:moveTo>
                  <a:cubicBezTo>
                    <a:pt x="1956" y="0"/>
                    <a:pt x="0" y="9131"/>
                    <a:pt x="0" y="20447"/>
                  </a:cubicBezTo>
                  <a:lnTo>
                    <a:pt x="0" y="188823"/>
                  </a:lnTo>
                  <a:cubicBezTo>
                    <a:pt x="0" y="200202"/>
                    <a:pt x="8127" y="209321"/>
                    <a:pt x="18160" y="209321"/>
                  </a:cubicBezTo>
                  <a:lnTo>
                    <a:pt x="56425" y="209321"/>
                  </a:lnTo>
                  <a:cubicBezTo>
                    <a:pt x="66420" y="209321"/>
                    <a:pt x="75907" y="200304"/>
                    <a:pt x="77659" y="189128"/>
                  </a:cubicBezTo>
                  <a:lnTo>
                    <a:pt x="87502" y="124790"/>
                  </a:lnTo>
                  <a:cubicBezTo>
                    <a:pt x="89242" y="113728"/>
                    <a:pt x="90613" y="95516"/>
                    <a:pt x="90613" y="84201"/>
                  </a:cubicBezTo>
                  <a:lnTo>
                    <a:pt x="90613" y="20447"/>
                  </a:lnTo>
                  <a:cubicBezTo>
                    <a:pt x="90613" y="9131"/>
                    <a:pt x="88721" y="0"/>
                    <a:pt x="86346" y="0"/>
                  </a:cubicBezTo>
                  <a:cubicBezTo>
                    <a:pt x="83984" y="0"/>
                    <a:pt x="82765" y="2438"/>
                    <a:pt x="83184" y="5638"/>
                  </a:cubicBezTo>
                  <a:cubicBezTo>
                    <a:pt x="83489" y="7492"/>
                    <a:pt x="83616" y="9372"/>
                    <a:pt x="83616" y="11302"/>
                  </a:cubicBezTo>
                  <a:cubicBezTo>
                    <a:pt x="83616" y="35166"/>
                    <a:pt x="66420" y="54584"/>
                    <a:pt x="45351" y="54584"/>
                  </a:cubicBezTo>
                  <a:cubicBezTo>
                    <a:pt x="24269" y="54584"/>
                    <a:pt x="7060" y="35242"/>
                    <a:pt x="7060" y="11302"/>
                  </a:cubicBezTo>
                  <a:cubicBezTo>
                    <a:pt x="7060" y="9372"/>
                    <a:pt x="7200" y="7492"/>
                    <a:pt x="7505" y="5638"/>
                  </a:cubicBezTo>
                  <a:cubicBezTo>
                    <a:pt x="7924" y="2438"/>
                    <a:pt x="6641" y="0"/>
                    <a:pt x="4330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8" name="Freeform 645"/>
            <p:cNvSpPr/>
            <p:nvPr/>
          </p:nvSpPr>
          <p:spPr>
            <a:xfrm>
              <a:off x="4191445" y="4499096"/>
              <a:ext cx="95236" cy="39279"/>
            </a:xfrm>
            <a:custGeom>
              <a:avLst/>
              <a:gdLst/>
              <a:ahLst/>
              <a:cxnLst/>
              <a:rect l="0" t="0" r="0" b="0"/>
              <a:pathLst>
                <a:path w="85571" h="35293">
                  <a:moveTo>
                    <a:pt x="8851" y="0"/>
                  </a:moveTo>
                  <a:cubicBezTo>
                    <a:pt x="3975" y="0"/>
                    <a:pt x="0" y="7899"/>
                    <a:pt x="0" y="17652"/>
                  </a:cubicBezTo>
                  <a:cubicBezTo>
                    <a:pt x="0" y="27393"/>
                    <a:pt x="8128" y="35293"/>
                    <a:pt x="18172" y="35293"/>
                  </a:cubicBezTo>
                  <a:lnTo>
                    <a:pt x="67512" y="35293"/>
                  </a:lnTo>
                  <a:cubicBezTo>
                    <a:pt x="77507" y="35293"/>
                    <a:pt x="85571" y="27393"/>
                    <a:pt x="85571" y="17652"/>
                  </a:cubicBezTo>
                  <a:cubicBezTo>
                    <a:pt x="85571" y="7899"/>
                    <a:pt x="82765" y="0"/>
                    <a:pt x="79297" y="0"/>
                  </a:cubicBezTo>
                  <a:cubicBezTo>
                    <a:pt x="75792" y="0"/>
                    <a:pt x="69861" y="8940"/>
                    <a:pt x="61822" y="14884"/>
                  </a:cubicBezTo>
                  <a:cubicBezTo>
                    <a:pt x="57060" y="18453"/>
                    <a:pt x="51446" y="20472"/>
                    <a:pt x="45363" y="20472"/>
                  </a:cubicBezTo>
                  <a:cubicBezTo>
                    <a:pt x="39216" y="20472"/>
                    <a:pt x="33552" y="18453"/>
                    <a:pt x="28866" y="14884"/>
                  </a:cubicBezTo>
                  <a:cubicBezTo>
                    <a:pt x="20725" y="8940"/>
                    <a:pt x="13740" y="0"/>
                    <a:pt x="8851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9" name="Freeform 646"/>
            <p:cNvSpPr/>
            <p:nvPr/>
          </p:nvSpPr>
          <p:spPr>
            <a:xfrm>
              <a:off x="4191446" y="4288872"/>
              <a:ext cx="95237" cy="194997"/>
            </a:xfrm>
            <a:custGeom>
              <a:avLst/>
              <a:gdLst/>
              <a:ahLst/>
              <a:cxnLst/>
              <a:rect l="0" t="0" r="0" b="0"/>
              <a:pathLst>
                <a:path w="85572" h="175208">
                  <a:moveTo>
                    <a:pt x="85572" y="20472"/>
                  </a:moveTo>
                  <a:cubicBezTo>
                    <a:pt x="85572" y="9170"/>
                    <a:pt x="77508" y="0"/>
                    <a:pt x="67500" y="0"/>
                  </a:cubicBezTo>
                  <a:lnTo>
                    <a:pt x="18161" y="0"/>
                  </a:lnTo>
                  <a:cubicBezTo>
                    <a:pt x="8128" y="0"/>
                    <a:pt x="0" y="9170"/>
                    <a:pt x="0" y="20472"/>
                  </a:cubicBezTo>
                  <a:lnTo>
                    <a:pt x="0" y="154799"/>
                  </a:lnTo>
                  <a:cubicBezTo>
                    <a:pt x="0" y="166077"/>
                    <a:pt x="3391" y="175208"/>
                    <a:pt x="7556" y="175208"/>
                  </a:cubicBezTo>
                  <a:cubicBezTo>
                    <a:pt x="11722" y="175208"/>
                    <a:pt x="14694" y="165353"/>
                    <a:pt x="20396" y="156031"/>
                  </a:cubicBezTo>
                  <a:cubicBezTo>
                    <a:pt x="25844" y="147065"/>
                    <a:pt x="34988" y="141122"/>
                    <a:pt x="45352" y="141122"/>
                  </a:cubicBezTo>
                  <a:cubicBezTo>
                    <a:pt x="55639" y="141122"/>
                    <a:pt x="64770" y="147065"/>
                    <a:pt x="70244" y="156031"/>
                  </a:cubicBezTo>
                  <a:cubicBezTo>
                    <a:pt x="75870" y="165353"/>
                    <a:pt x="77737" y="175208"/>
                    <a:pt x="80505" y="175208"/>
                  </a:cubicBezTo>
                  <a:cubicBezTo>
                    <a:pt x="83337" y="175208"/>
                    <a:pt x="85572" y="166077"/>
                    <a:pt x="85572" y="154799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0" name="Freeform 647"/>
            <p:cNvSpPr/>
            <p:nvPr/>
          </p:nvSpPr>
          <p:spPr>
            <a:xfrm>
              <a:off x="4226200" y="4466107"/>
              <a:ext cx="31420" cy="35491"/>
            </a:xfrm>
            <a:custGeom>
              <a:avLst/>
              <a:gdLst/>
              <a:ahLst/>
              <a:cxnLst/>
              <a:rect l="0" t="0" r="0" b="0"/>
              <a:pathLst>
                <a:path w="28231" h="31889">
                  <a:moveTo>
                    <a:pt x="14122" y="31889"/>
                  </a:moveTo>
                  <a:cubicBezTo>
                    <a:pt x="16649" y="31889"/>
                    <a:pt x="18871" y="30988"/>
                    <a:pt x="20865" y="29629"/>
                  </a:cubicBezTo>
                  <a:cubicBezTo>
                    <a:pt x="25209" y="26848"/>
                    <a:pt x="28231" y="21895"/>
                    <a:pt x="28231" y="15976"/>
                  </a:cubicBezTo>
                  <a:cubicBezTo>
                    <a:pt x="28231" y="7188"/>
                    <a:pt x="21881" y="0"/>
                    <a:pt x="14122" y="0"/>
                  </a:cubicBezTo>
                  <a:cubicBezTo>
                    <a:pt x="6312" y="0"/>
                    <a:pt x="0" y="7188"/>
                    <a:pt x="0" y="15976"/>
                  </a:cubicBezTo>
                  <a:cubicBezTo>
                    <a:pt x="0" y="21895"/>
                    <a:pt x="3048" y="26848"/>
                    <a:pt x="7277" y="29629"/>
                  </a:cubicBezTo>
                  <a:cubicBezTo>
                    <a:pt x="9297" y="30924"/>
                    <a:pt x="11544" y="31889"/>
                    <a:pt x="14122" y="31889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1" name="Freeform 648"/>
            <p:cNvSpPr/>
            <p:nvPr/>
          </p:nvSpPr>
          <p:spPr>
            <a:xfrm>
              <a:off x="4217253" y="4022848"/>
              <a:ext cx="49243" cy="55759"/>
            </a:xfrm>
            <a:custGeom>
              <a:avLst/>
              <a:gdLst/>
              <a:ahLst/>
              <a:cxnLst/>
              <a:rect l="0" t="0" r="0" b="0"/>
              <a:pathLst>
                <a:path w="44246" h="50100">
                  <a:moveTo>
                    <a:pt x="44246" y="25031"/>
                  </a:moveTo>
                  <a:cubicBezTo>
                    <a:pt x="44246" y="20980"/>
                    <a:pt x="43345" y="17157"/>
                    <a:pt x="41719" y="13729"/>
                  </a:cubicBezTo>
                  <a:cubicBezTo>
                    <a:pt x="38062" y="5626"/>
                    <a:pt x="30721" y="0"/>
                    <a:pt x="22174" y="0"/>
                  </a:cubicBezTo>
                  <a:cubicBezTo>
                    <a:pt x="13512" y="0"/>
                    <a:pt x="6197" y="5626"/>
                    <a:pt x="2514" y="13729"/>
                  </a:cubicBezTo>
                  <a:cubicBezTo>
                    <a:pt x="952" y="17157"/>
                    <a:pt x="0" y="20980"/>
                    <a:pt x="0" y="25031"/>
                  </a:cubicBezTo>
                  <a:cubicBezTo>
                    <a:pt x="0" y="38886"/>
                    <a:pt x="9918" y="50100"/>
                    <a:pt x="22174" y="50100"/>
                  </a:cubicBezTo>
                  <a:cubicBezTo>
                    <a:pt x="34290" y="50100"/>
                    <a:pt x="44246" y="38886"/>
                    <a:pt x="44246" y="25031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2" name="Freeform 649"/>
            <p:cNvSpPr/>
            <p:nvPr/>
          </p:nvSpPr>
          <p:spPr>
            <a:xfrm>
              <a:off x="4323687" y="4038143"/>
              <a:ext cx="100834" cy="232963"/>
            </a:xfrm>
            <a:custGeom>
              <a:avLst/>
              <a:gdLst/>
              <a:ahLst/>
              <a:cxnLst/>
              <a:rect l="0" t="0" r="0" b="0"/>
              <a:pathLst>
                <a:path w="90601" h="209321">
                  <a:moveTo>
                    <a:pt x="4216" y="0"/>
                  </a:moveTo>
                  <a:cubicBezTo>
                    <a:pt x="1842" y="0"/>
                    <a:pt x="0" y="9131"/>
                    <a:pt x="0" y="20447"/>
                  </a:cubicBezTo>
                  <a:lnTo>
                    <a:pt x="0" y="84201"/>
                  </a:lnTo>
                  <a:cubicBezTo>
                    <a:pt x="0" y="95516"/>
                    <a:pt x="1359" y="113652"/>
                    <a:pt x="3086" y="124790"/>
                  </a:cubicBezTo>
                  <a:lnTo>
                    <a:pt x="12991" y="189128"/>
                  </a:lnTo>
                  <a:cubicBezTo>
                    <a:pt x="14668" y="200304"/>
                    <a:pt x="24155" y="209321"/>
                    <a:pt x="34175" y="209321"/>
                  </a:cubicBezTo>
                  <a:lnTo>
                    <a:pt x="72440" y="209321"/>
                  </a:lnTo>
                  <a:cubicBezTo>
                    <a:pt x="82460" y="209321"/>
                    <a:pt x="90601" y="200152"/>
                    <a:pt x="90601" y="188823"/>
                  </a:cubicBezTo>
                  <a:lnTo>
                    <a:pt x="90601" y="20447"/>
                  </a:lnTo>
                  <a:cubicBezTo>
                    <a:pt x="90601" y="9131"/>
                    <a:pt x="88645" y="0"/>
                    <a:pt x="86334" y="0"/>
                  </a:cubicBezTo>
                  <a:cubicBezTo>
                    <a:pt x="83984" y="0"/>
                    <a:pt x="82689" y="2438"/>
                    <a:pt x="83121" y="5537"/>
                  </a:cubicBezTo>
                  <a:cubicBezTo>
                    <a:pt x="83387" y="7429"/>
                    <a:pt x="83565" y="9372"/>
                    <a:pt x="83565" y="11302"/>
                  </a:cubicBezTo>
                  <a:cubicBezTo>
                    <a:pt x="83565" y="35166"/>
                    <a:pt x="66407" y="54584"/>
                    <a:pt x="45249" y="54584"/>
                  </a:cubicBezTo>
                  <a:cubicBezTo>
                    <a:pt x="24155" y="54584"/>
                    <a:pt x="7048" y="35166"/>
                    <a:pt x="7048" y="11302"/>
                  </a:cubicBezTo>
                  <a:cubicBezTo>
                    <a:pt x="7048" y="9372"/>
                    <a:pt x="7187" y="7492"/>
                    <a:pt x="7403" y="5537"/>
                  </a:cubicBezTo>
                  <a:cubicBezTo>
                    <a:pt x="7911" y="2438"/>
                    <a:pt x="6616" y="0"/>
                    <a:pt x="4216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3" name="Freeform 650"/>
            <p:cNvSpPr/>
            <p:nvPr/>
          </p:nvSpPr>
          <p:spPr>
            <a:xfrm>
              <a:off x="4329303" y="4499096"/>
              <a:ext cx="95208" cy="39279"/>
            </a:xfrm>
            <a:custGeom>
              <a:avLst/>
              <a:gdLst/>
              <a:ahLst/>
              <a:cxnLst/>
              <a:rect l="0" t="0" r="0" b="0"/>
              <a:pathLst>
                <a:path w="85546" h="35293">
                  <a:moveTo>
                    <a:pt x="6299" y="0"/>
                  </a:moveTo>
                  <a:cubicBezTo>
                    <a:pt x="2794" y="0"/>
                    <a:pt x="0" y="7899"/>
                    <a:pt x="0" y="17652"/>
                  </a:cubicBezTo>
                  <a:cubicBezTo>
                    <a:pt x="0" y="27393"/>
                    <a:pt x="8127" y="35293"/>
                    <a:pt x="18046" y="35293"/>
                  </a:cubicBezTo>
                  <a:lnTo>
                    <a:pt x="67411" y="35293"/>
                  </a:lnTo>
                  <a:cubicBezTo>
                    <a:pt x="77418" y="35293"/>
                    <a:pt x="85546" y="27393"/>
                    <a:pt x="85546" y="17652"/>
                  </a:cubicBezTo>
                  <a:cubicBezTo>
                    <a:pt x="85546" y="7899"/>
                    <a:pt x="81571" y="0"/>
                    <a:pt x="76682" y="0"/>
                  </a:cubicBezTo>
                  <a:cubicBezTo>
                    <a:pt x="71818" y="0"/>
                    <a:pt x="64833" y="8940"/>
                    <a:pt x="56768" y="14884"/>
                  </a:cubicBezTo>
                  <a:cubicBezTo>
                    <a:pt x="51993" y="18453"/>
                    <a:pt x="46329" y="20472"/>
                    <a:pt x="40208" y="20472"/>
                  </a:cubicBezTo>
                  <a:cubicBezTo>
                    <a:pt x="34162" y="20472"/>
                    <a:pt x="28473" y="18453"/>
                    <a:pt x="23736" y="14884"/>
                  </a:cubicBezTo>
                  <a:cubicBezTo>
                    <a:pt x="15671" y="8940"/>
                    <a:pt x="9778" y="0"/>
                    <a:pt x="6299" y="0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4" name="Freeform 651"/>
            <p:cNvSpPr/>
            <p:nvPr/>
          </p:nvSpPr>
          <p:spPr>
            <a:xfrm>
              <a:off x="4329303" y="4288872"/>
              <a:ext cx="95209" cy="194997"/>
            </a:xfrm>
            <a:custGeom>
              <a:avLst/>
              <a:gdLst/>
              <a:ahLst/>
              <a:cxnLst/>
              <a:rect l="0" t="0" r="0" b="0"/>
              <a:pathLst>
                <a:path w="85547" h="175208">
                  <a:moveTo>
                    <a:pt x="85547" y="20472"/>
                  </a:moveTo>
                  <a:cubicBezTo>
                    <a:pt x="85547" y="9170"/>
                    <a:pt x="77420" y="0"/>
                    <a:pt x="67399" y="0"/>
                  </a:cubicBezTo>
                  <a:lnTo>
                    <a:pt x="18047" y="0"/>
                  </a:lnTo>
                  <a:cubicBezTo>
                    <a:pt x="8128" y="0"/>
                    <a:pt x="0" y="9170"/>
                    <a:pt x="0" y="20472"/>
                  </a:cubicBezTo>
                  <a:lnTo>
                    <a:pt x="0" y="154799"/>
                  </a:lnTo>
                  <a:cubicBezTo>
                    <a:pt x="0" y="166077"/>
                    <a:pt x="2197" y="175208"/>
                    <a:pt x="5017" y="175208"/>
                  </a:cubicBezTo>
                  <a:cubicBezTo>
                    <a:pt x="7747" y="175208"/>
                    <a:pt x="9614" y="165353"/>
                    <a:pt x="15304" y="156031"/>
                  </a:cubicBezTo>
                  <a:cubicBezTo>
                    <a:pt x="20778" y="147065"/>
                    <a:pt x="29921" y="141122"/>
                    <a:pt x="40209" y="141122"/>
                  </a:cubicBezTo>
                  <a:cubicBezTo>
                    <a:pt x="50572" y="141122"/>
                    <a:pt x="59716" y="147065"/>
                    <a:pt x="65189" y="156031"/>
                  </a:cubicBezTo>
                  <a:cubicBezTo>
                    <a:pt x="70803" y="165353"/>
                    <a:pt x="73825" y="175208"/>
                    <a:pt x="77991" y="175208"/>
                  </a:cubicBezTo>
                  <a:cubicBezTo>
                    <a:pt x="82157" y="175208"/>
                    <a:pt x="85547" y="166077"/>
                    <a:pt x="85547" y="154799"/>
                  </a:cubicBezTo>
                  <a:close/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5" name="Freeform 652"/>
            <p:cNvSpPr/>
            <p:nvPr/>
          </p:nvSpPr>
          <p:spPr>
            <a:xfrm>
              <a:off x="4358429" y="4466107"/>
              <a:ext cx="31335" cy="35491"/>
            </a:xfrm>
            <a:custGeom>
              <a:avLst/>
              <a:gdLst/>
              <a:ahLst/>
              <a:cxnLst/>
              <a:rect l="0" t="0" r="0" b="0"/>
              <a:pathLst>
                <a:path w="28155" h="31889">
                  <a:moveTo>
                    <a:pt x="14033" y="31889"/>
                  </a:moveTo>
                  <a:cubicBezTo>
                    <a:pt x="16573" y="31889"/>
                    <a:pt x="18782" y="30988"/>
                    <a:pt x="20865" y="29629"/>
                  </a:cubicBezTo>
                  <a:cubicBezTo>
                    <a:pt x="25120" y="26848"/>
                    <a:pt x="28155" y="21895"/>
                    <a:pt x="28155" y="15976"/>
                  </a:cubicBezTo>
                  <a:cubicBezTo>
                    <a:pt x="28155" y="7188"/>
                    <a:pt x="21792" y="0"/>
                    <a:pt x="14033" y="0"/>
                  </a:cubicBezTo>
                  <a:cubicBezTo>
                    <a:pt x="6274" y="0"/>
                    <a:pt x="0" y="7188"/>
                    <a:pt x="0" y="15976"/>
                  </a:cubicBezTo>
                  <a:cubicBezTo>
                    <a:pt x="0" y="21895"/>
                    <a:pt x="2959" y="26848"/>
                    <a:pt x="7277" y="29629"/>
                  </a:cubicBezTo>
                  <a:cubicBezTo>
                    <a:pt x="9271" y="30924"/>
                    <a:pt x="11519" y="31889"/>
                    <a:pt x="14033" y="31889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6" name="Freeform 653"/>
            <p:cNvSpPr/>
            <p:nvPr/>
          </p:nvSpPr>
          <p:spPr>
            <a:xfrm>
              <a:off x="4349390" y="4022848"/>
              <a:ext cx="49329" cy="55759"/>
            </a:xfrm>
            <a:custGeom>
              <a:avLst/>
              <a:gdLst/>
              <a:ahLst/>
              <a:cxnLst/>
              <a:rect l="0" t="0" r="0" b="0"/>
              <a:pathLst>
                <a:path w="44323" h="50100">
                  <a:moveTo>
                    <a:pt x="44323" y="25031"/>
                  </a:moveTo>
                  <a:cubicBezTo>
                    <a:pt x="44323" y="20980"/>
                    <a:pt x="43396" y="17157"/>
                    <a:pt x="41809" y="13729"/>
                  </a:cubicBezTo>
                  <a:cubicBezTo>
                    <a:pt x="38126" y="5626"/>
                    <a:pt x="30722" y="0"/>
                    <a:pt x="22162" y="0"/>
                  </a:cubicBezTo>
                  <a:cubicBezTo>
                    <a:pt x="13602" y="0"/>
                    <a:pt x="6185" y="5626"/>
                    <a:pt x="2515" y="13729"/>
                  </a:cubicBezTo>
                  <a:cubicBezTo>
                    <a:pt x="1004" y="17157"/>
                    <a:pt x="0" y="20980"/>
                    <a:pt x="0" y="25031"/>
                  </a:cubicBezTo>
                  <a:cubicBezTo>
                    <a:pt x="0" y="38886"/>
                    <a:pt x="9919" y="50100"/>
                    <a:pt x="22162" y="50100"/>
                  </a:cubicBezTo>
                  <a:cubicBezTo>
                    <a:pt x="34392" y="50100"/>
                    <a:pt x="44323" y="38886"/>
                    <a:pt x="44323" y="25031"/>
                  </a:cubicBezTo>
                </a:path>
              </a:pathLst>
            </a:custGeom>
            <a:solidFill>
              <a:srgbClr val="00A8BB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7" name="Freeform 654"/>
            <p:cNvSpPr/>
            <p:nvPr/>
          </p:nvSpPr>
          <p:spPr>
            <a:xfrm>
              <a:off x="3991086" y="4939067"/>
              <a:ext cx="572952" cy="46982"/>
            </a:xfrm>
            <a:custGeom>
              <a:avLst/>
              <a:gdLst/>
              <a:ahLst/>
              <a:cxnLst/>
              <a:rect l="0" t="0" r="0" b="0"/>
              <a:pathLst>
                <a:path w="514807" h="42214">
                  <a:moveTo>
                    <a:pt x="0" y="914"/>
                  </a:moveTo>
                  <a:cubicBezTo>
                    <a:pt x="82334" y="28320"/>
                    <a:pt x="168490" y="42214"/>
                    <a:pt x="256057" y="42214"/>
                  </a:cubicBezTo>
                  <a:cubicBezTo>
                    <a:pt x="344601" y="42214"/>
                    <a:pt x="431660" y="28015"/>
                    <a:pt x="514807" y="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8" name="Freeform 655"/>
            <p:cNvSpPr/>
            <p:nvPr/>
          </p:nvSpPr>
          <p:spPr>
            <a:xfrm>
              <a:off x="4847194" y="4535286"/>
              <a:ext cx="209810" cy="246829"/>
            </a:xfrm>
            <a:custGeom>
              <a:avLst/>
              <a:gdLst/>
              <a:ahLst/>
              <a:cxnLst/>
              <a:rect l="0" t="0" r="0" b="0"/>
              <a:pathLst>
                <a:path w="188518" h="221780">
                  <a:moveTo>
                    <a:pt x="0" y="221780"/>
                  </a:moveTo>
                  <a:cubicBezTo>
                    <a:pt x="75996" y="159487"/>
                    <a:pt x="139420" y="84875"/>
                    <a:pt x="188518" y="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9" name="Freeform 656"/>
            <p:cNvSpPr/>
            <p:nvPr/>
          </p:nvSpPr>
          <p:spPr>
            <a:xfrm>
              <a:off x="3498423" y="4540958"/>
              <a:ext cx="217698" cy="250179"/>
            </a:xfrm>
            <a:custGeom>
              <a:avLst/>
              <a:gdLst/>
              <a:ahLst/>
              <a:cxnLst/>
              <a:rect l="0" t="0" r="0" b="0"/>
              <a:pathLst>
                <a:path w="195605" h="224790">
                  <a:moveTo>
                    <a:pt x="0" y="0"/>
                  </a:moveTo>
                  <a:cubicBezTo>
                    <a:pt x="50939" y="86601"/>
                    <a:pt x="116751" y="162229"/>
                    <a:pt x="195605" y="22479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0" name="Freeform 657"/>
            <p:cNvSpPr/>
            <p:nvPr/>
          </p:nvSpPr>
          <p:spPr>
            <a:xfrm>
              <a:off x="3374490" y="3472460"/>
              <a:ext cx="239549" cy="710565"/>
            </a:xfrm>
            <a:custGeom>
              <a:avLst/>
              <a:gdLst/>
              <a:ahLst/>
              <a:cxnLst/>
              <a:rect l="0" t="0" r="0" b="0"/>
              <a:pathLst>
                <a:path w="215239" h="638454">
                  <a:moveTo>
                    <a:pt x="215239" y="0"/>
                  </a:moveTo>
                  <a:cubicBezTo>
                    <a:pt x="76441" y="150063"/>
                    <a:pt x="0" y="345363"/>
                    <a:pt x="0" y="549909"/>
                  </a:cubicBezTo>
                  <a:cubicBezTo>
                    <a:pt x="0" y="579462"/>
                    <a:pt x="1600" y="609244"/>
                    <a:pt x="4775" y="638454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1" name="Freeform 658"/>
            <p:cNvSpPr/>
            <p:nvPr/>
          </p:nvSpPr>
          <p:spPr>
            <a:xfrm>
              <a:off x="3895262" y="3196974"/>
              <a:ext cx="221330" cy="70063"/>
            </a:xfrm>
            <a:custGeom>
              <a:avLst/>
              <a:gdLst/>
              <a:ahLst/>
              <a:cxnLst/>
              <a:rect l="0" t="0" r="0" b="0"/>
              <a:pathLst>
                <a:path w="198869" h="62953">
                  <a:moveTo>
                    <a:pt x="198869" y="0"/>
                  </a:moveTo>
                  <a:cubicBezTo>
                    <a:pt x="130150" y="12268"/>
                    <a:pt x="63246" y="33451"/>
                    <a:pt x="0" y="62953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2" name="Freeform 659"/>
            <p:cNvSpPr/>
            <p:nvPr/>
          </p:nvSpPr>
          <p:spPr>
            <a:xfrm>
              <a:off x="4942908" y="3477725"/>
              <a:ext cx="151237" cy="227351"/>
            </a:xfrm>
            <a:custGeom>
              <a:avLst/>
              <a:gdLst/>
              <a:ahLst/>
              <a:cxnLst/>
              <a:rect l="0" t="0" r="0" b="0"/>
              <a:pathLst>
                <a:path w="135889" h="204279">
                  <a:moveTo>
                    <a:pt x="135889" y="204279"/>
                  </a:moveTo>
                  <a:cubicBezTo>
                    <a:pt x="101257" y="129731"/>
                    <a:pt x="55537" y="60998"/>
                    <a:pt x="0" y="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3" name="Freeform 660"/>
            <p:cNvSpPr/>
            <p:nvPr/>
          </p:nvSpPr>
          <p:spPr>
            <a:xfrm>
              <a:off x="5162633" y="3996152"/>
              <a:ext cx="14996" cy="252962"/>
            </a:xfrm>
            <a:custGeom>
              <a:avLst/>
              <a:gdLst/>
              <a:ahLst/>
              <a:cxnLst/>
              <a:rect l="0" t="0" r="0" b="0"/>
              <a:pathLst>
                <a:path w="13474" h="227291">
                  <a:moveTo>
                    <a:pt x="0" y="227291"/>
                  </a:moveTo>
                  <a:cubicBezTo>
                    <a:pt x="8940" y="178828"/>
                    <a:pt x="13474" y="129057"/>
                    <a:pt x="13474" y="79362"/>
                  </a:cubicBezTo>
                  <a:cubicBezTo>
                    <a:pt x="13474" y="52895"/>
                    <a:pt x="12191" y="26200"/>
                    <a:pt x="9639" y="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4" name="Freeform 661"/>
            <p:cNvSpPr/>
            <p:nvPr/>
          </p:nvSpPr>
          <p:spPr>
            <a:xfrm>
              <a:off x="4410669" y="3192897"/>
              <a:ext cx="354151" cy="133866"/>
            </a:xfrm>
            <a:custGeom>
              <a:avLst/>
              <a:gdLst/>
              <a:ahLst/>
              <a:cxnLst/>
              <a:rect l="0" t="0" r="0" b="0"/>
              <a:pathLst>
                <a:path w="318211" h="120281">
                  <a:moveTo>
                    <a:pt x="318211" y="120281"/>
                  </a:moveTo>
                  <a:cubicBezTo>
                    <a:pt x="221145" y="57556"/>
                    <a:pt x="114084" y="17081"/>
                    <a:pt x="0" y="0"/>
                  </a:cubicBezTo>
                </a:path>
              </a:pathLst>
            </a:custGeom>
            <a:noFill/>
            <a:ln w="50800" cap="rnd" cmpd="sng" algn="ctr">
              <a:solidFill>
                <a:srgbClr val="FFD427">
                  <a:alpha val="100000"/>
                </a:srgbClr>
              </a:solidFill>
              <a:prstDash val="solid"/>
              <a:rou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25" name="Picture 662"/>
            <p:cNvPicPr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230388" y="4172987"/>
              <a:ext cx="359084" cy="359027"/>
            </a:xfrm>
            <a:prstGeom prst="rect">
              <a:avLst/>
            </a:prstGeom>
            <a:noFill/>
            <a:extLst/>
          </p:spPr>
        </p:pic>
        <p:sp>
          <p:nvSpPr>
            <p:cNvPr id="426" name="Freeform 18"/>
            <p:cNvSpPr>
              <a:spLocks noChangeArrowheads="1"/>
            </p:cNvSpPr>
            <p:nvPr/>
          </p:nvSpPr>
          <p:spPr bwMode="auto">
            <a:xfrm>
              <a:off x="4718315" y="3206295"/>
              <a:ext cx="361732" cy="361732"/>
            </a:xfrm>
            <a:custGeom>
              <a:avLst/>
              <a:gdLst>
                <a:gd name="T0" fmla="*/ 2147483647 w 2001"/>
                <a:gd name="T1" fmla="*/ 2147483647 h 2001"/>
                <a:gd name="T2" fmla="*/ 2147483647 w 2001"/>
                <a:gd name="T3" fmla="*/ 2147483647 h 2001"/>
                <a:gd name="T4" fmla="*/ 2147483647 w 2001"/>
                <a:gd name="T5" fmla="*/ 2147483647 h 2001"/>
                <a:gd name="T6" fmla="*/ 2147483647 w 2001"/>
                <a:gd name="T7" fmla="*/ 2147483647 h 2001"/>
                <a:gd name="T8" fmla="*/ 2147483647 w 2001"/>
                <a:gd name="T9" fmla="*/ 2147483647 h 2001"/>
                <a:gd name="T10" fmla="*/ 2147483647 w 2001"/>
                <a:gd name="T11" fmla="*/ 2147483647 h 2001"/>
                <a:gd name="T12" fmla="*/ 2147483647 w 2001"/>
                <a:gd name="T13" fmla="*/ 2147483647 h 2001"/>
                <a:gd name="T14" fmla="*/ 2147483647 w 2001"/>
                <a:gd name="T15" fmla="*/ 2147483647 h 2001"/>
                <a:gd name="T16" fmla="*/ 2147483647 w 2001"/>
                <a:gd name="T17" fmla="*/ 2147483647 h 2001"/>
                <a:gd name="T18" fmla="*/ 2147483647 w 2001"/>
                <a:gd name="T19" fmla="*/ 2147483647 h 2001"/>
                <a:gd name="T20" fmla="*/ 2147483647 w 2001"/>
                <a:gd name="T21" fmla="*/ 2147483647 h 2001"/>
                <a:gd name="T22" fmla="*/ 2147483647 w 2001"/>
                <a:gd name="T23" fmla="*/ 2147483647 h 2001"/>
                <a:gd name="T24" fmla="*/ 2147483647 w 2001"/>
                <a:gd name="T25" fmla="*/ 0 h 2001"/>
                <a:gd name="T26" fmla="*/ 0 w 2001"/>
                <a:gd name="T27" fmla="*/ 2147483647 h 2001"/>
                <a:gd name="T28" fmla="*/ 2147483647 w 2001"/>
                <a:gd name="T29" fmla="*/ 2147483647 h 2001"/>
                <a:gd name="T30" fmla="*/ 2147483647 w 2001"/>
                <a:gd name="T31" fmla="*/ 2147483647 h 2001"/>
                <a:gd name="T32" fmla="*/ 2147483647 w 2001"/>
                <a:gd name="T33" fmla="*/ 2147483647 h 2001"/>
                <a:gd name="T34" fmla="*/ 2147483647 w 2001"/>
                <a:gd name="T35" fmla="*/ 2147483647 h 2001"/>
                <a:gd name="T36" fmla="*/ 2147483647 w 2001"/>
                <a:gd name="T37" fmla="*/ 2147483647 h 2001"/>
                <a:gd name="T38" fmla="*/ 2147483647 w 2001"/>
                <a:gd name="T39" fmla="*/ 2147483647 h 2001"/>
                <a:gd name="T40" fmla="*/ 2147483647 w 2001"/>
                <a:gd name="T41" fmla="*/ 2147483647 h 2001"/>
                <a:gd name="T42" fmla="*/ 2147483647 w 2001"/>
                <a:gd name="T43" fmla="*/ 2147483647 h 2001"/>
                <a:gd name="T44" fmla="*/ 2147483647 w 2001"/>
                <a:gd name="T45" fmla="*/ 2147483647 h 2001"/>
                <a:gd name="T46" fmla="*/ 2147483647 w 2001"/>
                <a:gd name="T47" fmla="*/ 2147483647 h 2001"/>
                <a:gd name="T48" fmla="*/ 2147483647 w 2001"/>
                <a:gd name="T49" fmla="*/ 2147483647 h 2001"/>
                <a:gd name="T50" fmla="*/ 2147483647 w 2001"/>
                <a:gd name="T51" fmla="*/ 0 h 2001"/>
                <a:gd name="T52" fmla="*/ 2147483647 w 2001"/>
                <a:gd name="T53" fmla="*/ 2147483647 h 2001"/>
                <a:gd name="T54" fmla="*/ 2147483647 w 2001"/>
                <a:gd name="T55" fmla="*/ 2147483647 h 2001"/>
                <a:gd name="T56" fmla="*/ 2147483647 w 2001"/>
                <a:gd name="T57" fmla="*/ 2147483647 h 2001"/>
                <a:gd name="T58" fmla="*/ 2147483647 w 2001"/>
                <a:gd name="T59" fmla="*/ 2147483647 h 2001"/>
                <a:gd name="T60" fmla="*/ 2147483647 w 2001"/>
                <a:gd name="T61" fmla="*/ 2147483647 h 2001"/>
                <a:gd name="T62" fmla="*/ 2147483647 w 2001"/>
                <a:gd name="T63" fmla="*/ 2147483647 h 2001"/>
                <a:gd name="T64" fmla="*/ 2147483647 w 2001"/>
                <a:gd name="T65" fmla="*/ 2147483647 h 20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01" h="2001">
                  <a:moveTo>
                    <a:pt x="791" y="875"/>
                  </a:moveTo>
                  <a:lnTo>
                    <a:pt x="791" y="875"/>
                  </a:lnTo>
                  <a:cubicBezTo>
                    <a:pt x="625" y="875"/>
                    <a:pt x="625" y="875"/>
                    <a:pt x="625" y="875"/>
                  </a:cubicBezTo>
                  <a:cubicBezTo>
                    <a:pt x="625" y="1000"/>
                    <a:pt x="625" y="1000"/>
                    <a:pt x="625" y="1000"/>
                  </a:cubicBezTo>
                  <a:cubicBezTo>
                    <a:pt x="791" y="1000"/>
                    <a:pt x="791" y="1000"/>
                    <a:pt x="791" y="1000"/>
                  </a:cubicBezTo>
                  <a:lnTo>
                    <a:pt x="791" y="875"/>
                  </a:lnTo>
                  <a:close/>
                  <a:moveTo>
                    <a:pt x="1041" y="791"/>
                  </a:moveTo>
                  <a:lnTo>
                    <a:pt x="1041" y="791"/>
                  </a:lnTo>
                  <a:cubicBezTo>
                    <a:pt x="875" y="791"/>
                    <a:pt x="875" y="791"/>
                    <a:pt x="875" y="791"/>
                  </a:cubicBezTo>
                  <a:cubicBezTo>
                    <a:pt x="875" y="1000"/>
                    <a:pt x="875" y="1000"/>
                    <a:pt x="875" y="1000"/>
                  </a:cubicBezTo>
                  <a:cubicBezTo>
                    <a:pt x="1041" y="1000"/>
                    <a:pt x="1041" y="1000"/>
                    <a:pt x="1041" y="1000"/>
                  </a:cubicBezTo>
                  <a:lnTo>
                    <a:pt x="1041" y="791"/>
                  </a:lnTo>
                  <a:close/>
                  <a:moveTo>
                    <a:pt x="1291" y="625"/>
                  </a:moveTo>
                  <a:lnTo>
                    <a:pt x="1291" y="625"/>
                  </a:lnTo>
                  <a:cubicBezTo>
                    <a:pt x="1125" y="625"/>
                    <a:pt x="1125" y="625"/>
                    <a:pt x="1125" y="625"/>
                  </a:cubicBezTo>
                  <a:cubicBezTo>
                    <a:pt x="1125" y="1000"/>
                    <a:pt x="1125" y="1000"/>
                    <a:pt x="1125" y="1000"/>
                  </a:cubicBezTo>
                  <a:cubicBezTo>
                    <a:pt x="1291" y="1000"/>
                    <a:pt x="1291" y="1000"/>
                    <a:pt x="1291" y="1000"/>
                  </a:cubicBezTo>
                  <a:lnTo>
                    <a:pt x="1291" y="625"/>
                  </a:lnTo>
                  <a:close/>
                  <a:moveTo>
                    <a:pt x="1541" y="416"/>
                  </a:moveTo>
                  <a:lnTo>
                    <a:pt x="1541" y="416"/>
                  </a:lnTo>
                  <a:cubicBezTo>
                    <a:pt x="1375" y="416"/>
                    <a:pt x="1375" y="416"/>
                    <a:pt x="1375" y="416"/>
                  </a:cubicBezTo>
                  <a:cubicBezTo>
                    <a:pt x="1375" y="1000"/>
                    <a:pt x="1375" y="1000"/>
                    <a:pt x="1375" y="1000"/>
                  </a:cubicBezTo>
                  <a:cubicBezTo>
                    <a:pt x="1541" y="1000"/>
                    <a:pt x="1541" y="1000"/>
                    <a:pt x="1541" y="1000"/>
                  </a:cubicBezTo>
                  <a:lnTo>
                    <a:pt x="1541" y="416"/>
                  </a:lnTo>
                  <a:close/>
                  <a:moveTo>
                    <a:pt x="1916" y="0"/>
                  </a:moveTo>
                  <a:lnTo>
                    <a:pt x="1916" y="0"/>
                  </a:lnTo>
                  <a:cubicBezTo>
                    <a:pt x="83" y="0"/>
                    <a:pt x="83" y="0"/>
                    <a:pt x="83" y="0"/>
                  </a:cubicBezTo>
                  <a:cubicBezTo>
                    <a:pt x="41" y="0"/>
                    <a:pt x="0" y="41"/>
                    <a:pt x="0" y="83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208"/>
                    <a:pt x="41" y="250"/>
                    <a:pt x="83" y="250"/>
                  </a:cubicBezTo>
                  <a:cubicBezTo>
                    <a:pt x="125" y="250"/>
                    <a:pt x="125" y="250"/>
                    <a:pt x="125" y="250"/>
                  </a:cubicBezTo>
                  <a:cubicBezTo>
                    <a:pt x="125" y="1333"/>
                    <a:pt x="125" y="1333"/>
                    <a:pt x="125" y="1333"/>
                  </a:cubicBezTo>
                  <a:cubicBezTo>
                    <a:pt x="125" y="1375"/>
                    <a:pt x="166" y="1416"/>
                    <a:pt x="208" y="1416"/>
                  </a:cubicBezTo>
                  <a:cubicBezTo>
                    <a:pt x="958" y="1416"/>
                    <a:pt x="958" y="1416"/>
                    <a:pt x="958" y="1416"/>
                  </a:cubicBezTo>
                  <a:cubicBezTo>
                    <a:pt x="958" y="1614"/>
                    <a:pt x="958" y="1614"/>
                    <a:pt x="958" y="1614"/>
                  </a:cubicBezTo>
                  <a:cubicBezTo>
                    <a:pt x="541" y="1864"/>
                    <a:pt x="541" y="1864"/>
                    <a:pt x="541" y="1864"/>
                  </a:cubicBezTo>
                  <a:cubicBezTo>
                    <a:pt x="583" y="1916"/>
                    <a:pt x="583" y="1916"/>
                    <a:pt x="583" y="1916"/>
                  </a:cubicBezTo>
                  <a:cubicBezTo>
                    <a:pt x="958" y="1687"/>
                    <a:pt x="958" y="1687"/>
                    <a:pt x="958" y="1687"/>
                  </a:cubicBezTo>
                  <a:cubicBezTo>
                    <a:pt x="958" y="2000"/>
                    <a:pt x="958" y="2000"/>
                    <a:pt x="958" y="2000"/>
                  </a:cubicBezTo>
                  <a:cubicBezTo>
                    <a:pt x="1041" y="2000"/>
                    <a:pt x="1041" y="2000"/>
                    <a:pt x="1041" y="2000"/>
                  </a:cubicBezTo>
                  <a:cubicBezTo>
                    <a:pt x="1041" y="1687"/>
                    <a:pt x="1041" y="1687"/>
                    <a:pt x="1041" y="1687"/>
                  </a:cubicBezTo>
                  <a:cubicBezTo>
                    <a:pt x="1416" y="1916"/>
                    <a:pt x="1416" y="1916"/>
                    <a:pt x="1416" y="1916"/>
                  </a:cubicBezTo>
                  <a:cubicBezTo>
                    <a:pt x="1458" y="1864"/>
                    <a:pt x="1458" y="1864"/>
                    <a:pt x="1458" y="1864"/>
                  </a:cubicBezTo>
                  <a:cubicBezTo>
                    <a:pt x="1041" y="1614"/>
                    <a:pt x="1041" y="1614"/>
                    <a:pt x="1041" y="1614"/>
                  </a:cubicBezTo>
                  <a:cubicBezTo>
                    <a:pt x="1041" y="1416"/>
                    <a:pt x="1041" y="1416"/>
                    <a:pt x="1041" y="1416"/>
                  </a:cubicBezTo>
                  <a:cubicBezTo>
                    <a:pt x="1791" y="1416"/>
                    <a:pt x="1791" y="1416"/>
                    <a:pt x="1791" y="1416"/>
                  </a:cubicBezTo>
                  <a:cubicBezTo>
                    <a:pt x="1833" y="1416"/>
                    <a:pt x="1875" y="1375"/>
                    <a:pt x="1875" y="1333"/>
                  </a:cubicBezTo>
                  <a:cubicBezTo>
                    <a:pt x="1875" y="250"/>
                    <a:pt x="1875" y="250"/>
                    <a:pt x="1875" y="250"/>
                  </a:cubicBezTo>
                  <a:cubicBezTo>
                    <a:pt x="1916" y="250"/>
                    <a:pt x="1916" y="250"/>
                    <a:pt x="1916" y="250"/>
                  </a:cubicBezTo>
                  <a:cubicBezTo>
                    <a:pt x="1958" y="250"/>
                    <a:pt x="2000" y="208"/>
                    <a:pt x="2000" y="166"/>
                  </a:cubicBezTo>
                  <a:cubicBezTo>
                    <a:pt x="2000" y="83"/>
                    <a:pt x="2000" y="83"/>
                    <a:pt x="2000" y="83"/>
                  </a:cubicBezTo>
                  <a:cubicBezTo>
                    <a:pt x="2000" y="41"/>
                    <a:pt x="1958" y="0"/>
                    <a:pt x="1916" y="0"/>
                  </a:cubicBezTo>
                  <a:close/>
                  <a:moveTo>
                    <a:pt x="1791" y="1250"/>
                  </a:moveTo>
                  <a:lnTo>
                    <a:pt x="1791" y="1250"/>
                  </a:lnTo>
                  <a:cubicBezTo>
                    <a:pt x="208" y="1250"/>
                    <a:pt x="208" y="1250"/>
                    <a:pt x="208" y="1250"/>
                  </a:cubicBezTo>
                  <a:cubicBezTo>
                    <a:pt x="208" y="250"/>
                    <a:pt x="208" y="250"/>
                    <a:pt x="208" y="250"/>
                  </a:cubicBezTo>
                  <a:cubicBezTo>
                    <a:pt x="1791" y="250"/>
                    <a:pt x="1791" y="250"/>
                    <a:pt x="1791" y="250"/>
                  </a:cubicBezTo>
                  <a:lnTo>
                    <a:pt x="1791" y="1250"/>
                  </a:lnTo>
                  <a:close/>
                  <a:moveTo>
                    <a:pt x="1541" y="1041"/>
                  </a:moveTo>
                  <a:lnTo>
                    <a:pt x="1541" y="1041"/>
                  </a:lnTo>
                  <a:cubicBezTo>
                    <a:pt x="541" y="1041"/>
                    <a:pt x="541" y="1041"/>
                    <a:pt x="541" y="1041"/>
                  </a:cubicBezTo>
                  <a:cubicBezTo>
                    <a:pt x="541" y="416"/>
                    <a:pt x="541" y="416"/>
                    <a:pt x="541" y="416"/>
                  </a:cubicBezTo>
                  <a:cubicBezTo>
                    <a:pt x="458" y="416"/>
                    <a:pt x="458" y="416"/>
                    <a:pt x="458" y="416"/>
                  </a:cubicBezTo>
                  <a:cubicBezTo>
                    <a:pt x="458" y="1125"/>
                    <a:pt x="458" y="1125"/>
                    <a:pt x="458" y="1125"/>
                  </a:cubicBezTo>
                  <a:cubicBezTo>
                    <a:pt x="1541" y="1125"/>
                    <a:pt x="1541" y="1125"/>
                    <a:pt x="1541" y="1125"/>
                  </a:cubicBezTo>
                  <a:lnTo>
                    <a:pt x="1541" y="1041"/>
                  </a:lnTo>
                  <a:close/>
                </a:path>
              </a:pathLst>
            </a:custGeom>
            <a:solidFill>
              <a:srgbClr val="333333">
                <a:lumMod val="60000"/>
                <a:lumOff val="40000"/>
              </a:srgbClr>
            </a:solidFill>
            <a:ln>
              <a:noFill/>
            </a:ln>
            <a:extLst/>
          </p:spPr>
          <p:txBody>
            <a:bodyPr wrap="none" anchor="ctr"/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endParaRPr kumimoji="0" lang="tr-TR" sz="1600" b="0" i="0" u="none" strike="noStrike" kern="0" cap="none" spc="0" normalizeH="0" baseline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sp>
          <p:nvSpPr>
            <p:cNvPr id="427" name="Freeform 674"/>
            <p:cNvSpPr/>
            <p:nvPr/>
          </p:nvSpPr>
          <p:spPr>
            <a:xfrm>
              <a:off x="5045707" y="3920132"/>
              <a:ext cx="188383" cy="49838"/>
            </a:xfrm>
            <a:custGeom>
              <a:avLst/>
              <a:gdLst/>
              <a:ahLst/>
              <a:cxnLst/>
              <a:rect l="0" t="0" r="0" b="0"/>
              <a:pathLst>
                <a:path w="169265" h="44780">
                  <a:moveTo>
                    <a:pt x="44767" y="0"/>
                  </a:moveTo>
                  <a:lnTo>
                    <a:pt x="49326" y="3441"/>
                  </a:lnTo>
                  <a:lnTo>
                    <a:pt x="54634" y="6896"/>
                  </a:lnTo>
                  <a:lnTo>
                    <a:pt x="43256" y="9651"/>
                  </a:lnTo>
                  <a:lnTo>
                    <a:pt x="34912" y="13093"/>
                  </a:lnTo>
                  <a:lnTo>
                    <a:pt x="29591" y="16548"/>
                  </a:lnTo>
                  <a:lnTo>
                    <a:pt x="27318" y="20675"/>
                  </a:lnTo>
                  <a:lnTo>
                    <a:pt x="31115" y="25501"/>
                  </a:lnTo>
                  <a:lnTo>
                    <a:pt x="38697" y="29629"/>
                  </a:lnTo>
                  <a:lnTo>
                    <a:pt x="50850" y="33083"/>
                  </a:lnTo>
                  <a:lnTo>
                    <a:pt x="66788" y="35826"/>
                  </a:lnTo>
                  <a:lnTo>
                    <a:pt x="84238" y="36525"/>
                  </a:lnTo>
                  <a:lnTo>
                    <a:pt x="102463" y="35826"/>
                  </a:lnTo>
                  <a:lnTo>
                    <a:pt x="118401" y="33083"/>
                  </a:lnTo>
                  <a:lnTo>
                    <a:pt x="130542" y="29629"/>
                  </a:lnTo>
                  <a:lnTo>
                    <a:pt x="138899" y="25501"/>
                  </a:lnTo>
                  <a:lnTo>
                    <a:pt x="141922" y="20675"/>
                  </a:lnTo>
                  <a:lnTo>
                    <a:pt x="139648" y="16548"/>
                  </a:lnTo>
                  <a:lnTo>
                    <a:pt x="134340" y="13093"/>
                  </a:lnTo>
                  <a:lnTo>
                    <a:pt x="125996" y="9651"/>
                  </a:lnTo>
                  <a:lnTo>
                    <a:pt x="114604" y="6896"/>
                  </a:lnTo>
                  <a:lnTo>
                    <a:pt x="119150" y="3441"/>
                  </a:lnTo>
                  <a:lnTo>
                    <a:pt x="123722" y="0"/>
                  </a:lnTo>
                  <a:lnTo>
                    <a:pt x="142696" y="3441"/>
                  </a:lnTo>
                  <a:lnTo>
                    <a:pt x="157111" y="8953"/>
                  </a:lnTo>
                  <a:lnTo>
                    <a:pt x="166217" y="14477"/>
                  </a:lnTo>
                  <a:lnTo>
                    <a:pt x="169265" y="20675"/>
                  </a:lnTo>
                  <a:lnTo>
                    <a:pt x="166217" y="27559"/>
                  </a:lnTo>
                  <a:lnTo>
                    <a:pt x="157873" y="32384"/>
                  </a:lnTo>
                  <a:lnTo>
                    <a:pt x="144207" y="37896"/>
                  </a:lnTo>
                  <a:lnTo>
                    <a:pt x="127520" y="41351"/>
                  </a:lnTo>
                  <a:lnTo>
                    <a:pt x="107009" y="43408"/>
                  </a:lnTo>
                  <a:lnTo>
                    <a:pt x="84238" y="44780"/>
                  </a:lnTo>
                  <a:lnTo>
                    <a:pt x="61467" y="43408"/>
                  </a:lnTo>
                  <a:lnTo>
                    <a:pt x="41745" y="41351"/>
                  </a:lnTo>
                  <a:lnTo>
                    <a:pt x="25044" y="37896"/>
                  </a:lnTo>
                  <a:lnTo>
                    <a:pt x="11379" y="32384"/>
                  </a:lnTo>
                  <a:lnTo>
                    <a:pt x="2273" y="27559"/>
                  </a:lnTo>
                  <a:lnTo>
                    <a:pt x="0" y="20675"/>
                  </a:lnTo>
                  <a:lnTo>
                    <a:pt x="3785" y="13779"/>
                  </a:lnTo>
                  <a:lnTo>
                    <a:pt x="12141" y="8953"/>
                  </a:lnTo>
                  <a:lnTo>
                    <a:pt x="27318" y="3441"/>
                  </a:lnTo>
                  <a:close/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8" name="Freeform 675"/>
            <p:cNvSpPr/>
            <p:nvPr/>
          </p:nvSpPr>
          <p:spPr>
            <a:xfrm>
              <a:off x="5106973" y="3935565"/>
              <a:ext cx="65173" cy="16622"/>
            </a:xfrm>
            <a:custGeom>
              <a:avLst/>
              <a:gdLst/>
              <a:ahLst/>
              <a:cxnLst/>
              <a:rect l="0" t="0" r="0" b="0"/>
              <a:pathLst>
                <a:path w="58559" h="14935">
                  <a:moveTo>
                    <a:pt x="12166" y="0"/>
                  </a:moveTo>
                  <a:lnTo>
                    <a:pt x="20522" y="2717"/>
                  </a:lnTo>
                  <a:lnTo>
                    <a:pt x="28904" y="3403"/>
                  </a:lnTo>
                  <a:lnTo>
                    <a:pt x="38785" y="2717"/>
                  </a:lnTo>
                  <a:lnTo>
                    <a:pt x="47154" y="0"/>
                  </a:lnTo>
                  <a:lnTo>
                    <a:pt x="50964" y="1346"/>
                  </a:lnTo>
                  <a:lnTo>
                    <a:pt x="53237" y="2717"/>
                  </a:lnTo>
                  <a:lnTo>
                    <a:pt x="56285" y="4063"/>
                  </a:lnTo>
                  <a:lnTo>
                    <a:pt x="58559" y="4749"/>
                  </a:lnTo>
                  <a:lnTo>
                    <a:pt x="58559" y="6781"/>
                  </a:lnTo>
                  <a:lnTo>
                    <a:pt x="56285" y="10185"/>
                  </a:lnTo>
                  <a:lnTo>
                    <a:pt x="49440" y="12903"/>
                  </a:lnTo>
                  <a:lnTo>
                    <a:pt x="40309" y="14249"/>
                  </a:lnTo>
                  <a:lnTo>
                    <a:pt x="28904" y="14935"/>
                  </a:lnTo>
                  <a:lnTo>
                    <a:pt x="17499" y="14249"/>
                  </a:lnTo>
                  <a:lnTo>
                    <a:pt x="8369" y="12903"/>
                  </a:lnTo>
                  <a:lnTo>
                    <a:pt x="1524" y="10185"/>
                  </a:lnTo>
                  <a:lnTo>
                    <a:pt x="0" y="6781"/>
                  </a:lnTo>
                  <a:lnTo>
                    <a:pt x="0" y="4749"/>
                  </a:lnTo>
                  <a:lnTo>
                    <a:pt x="1524" y="4063"/>
                  </a:lnTo>
                  <a:lnTo>
                    <a:pt x="4559" y="2717"/>
                  </a:lnTo>
                  <a:lnTo>
                    <a:pt x="7607" y="1346"/>
                  </a:lnTo>
                  <a:close/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9" name="Freeform 676"/>
            <p:cNvSpPr/>
            <p:nvPr/>
          </p:nvSpPr>
          <p:spPr>
            <a:xfrm>
              <a:off x="5114137" y="3659028"/>
              <a:ext cx="47590" cy="45117"/>
            </a:xfrm>
            <a:custGeom>
              <a:avLst/>
              <a:gdLst/>
              <a:ahLst/>
              <a:cxnLst/>
              <a:rect l="0" t="0" r="0" b="0"/>
              <a:pathLst>
                <a:path w="42760" h="40538">
                  <a:moveTo>
                    <a:pt x="0" y="20269"/>
                  </a:moveTo>
                  <a:cubicBezTo>
                    <a:pt x="0" y="9068"/>
                    <a:pt x="9575" y="0"/>
                    <a:pt x="21386" y="0"/>
                  </a:cubicBezTo>
                  <a:cubicBezTo>
                    <a:pt x="33185" y="0"/>
                    <a:pt x="42760" y="9068"/>
                    <a:pt x="42760" y="20269"/>
                  </a:cubicBezTo>
                  <a:cubicBezTo>
                    <a:pt x="42760" y="31457"/>
                    <a:pt x="33185" y="40538"/>
                    <a:pt x="21386" y="40538"/>
                  </a:cubicBezTo>
                  <a:cubicBezTo>
                    <a:pt x="9575" y="40538"/>
                    <a:pt x="0" y="31457"/>
                    <a:pt x="0" y="20269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30" name="Picture 678"/>
            <p:cNvPicPr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952411" y="4203248"/>
              <a:ext cx="337585" cy="372689"/>
            </a:xfrm>
            <a:prstGeom prst="rect">
              <a:avLst/>
            </a:prstGeom>
            <a:noFill/>
            <a:extLst/>
          </p:spPr>
        </p:pic>
        <p:sp>
          <p:nvSpPr>
            <p:cNvPr id="431" name="Freeform 681"/>
            <p:cNvSpPr/>
            <p:nvPr/>
          </p:nvSpPr>
          <p:spPr>
            <a:xfrm>
              <a:off x="4281645" y="3049228"/>
              <a:ext cx="91349" cy="67378"/>
            </a:xfrm>
            <a:custGeom>
              <a:avLst/>
              <a:gdLst/>
              <a:ahLst/>
              <a:cxnLst/>
              <a:rect l="0" t="0" r="0" b="0"/>
              <a:pathLst>
                <a:path w="82079" h="60540">
                  <a:moveTo>
                    <a:pt x="81013" y="21640"/>
                  </a:moveTo>
                  <a:cubicBezTo>
                    <a:pt x="80658" y="21437"/>
                    <a:pt x="80239" y="21196"/>
                    <a:pt x="79756" y="20917"/>
                  </a:cubicBezTo>
                  <a:cubicBezTo>
                    <a:pt x="79540" y="20790"/>
                    <a:pt x="79299" y="20663"/>
                    <a:pt x="79070" y="20523"/>
                  </a:cubicBezTo>
                  <a:cubicBezTo>
                    <a:pt x="78804" y="20370"/>
                    <a:pt x="78524" y="20218"/>
                    <a:pt x="78232" y="20053"/>
                  </a:cubicBezTo>
                  <a:cubicBezTo>
                    <a:pt x="77572" y="19685"/>
                    <a:pt x="76848" y="19291"/>
                    <a:pt x="76086" y="18859"/>
                  </a:cubicBezTo>
                  <a:cubicBezTo>
                    <a:pt x="75311" y="18440"/>
                    <a:pt x="74498" y="17996"/>
                    <a:pt x="73648" y="17538"/>
                  </a:cubicBezTo>
                  <a:cubicBezTo>
                    <a:pt x="72809" y="17119"/>
                    <a:pt x="71946" y="16688"/>
                    <a:pt x="71044" y="16230"/>
                  </a:cubicBezTo>
                  <a:cubicBezTo>
                    <a:pt x="70142" y="15786"/>
                    <a:pt x="69215" y="15290"/>
                    <a:pt x="68225" y="14846"/>
                  </a:cubicBezTo>
                  <a:cubicBezTo>
                    <a:pt x="67234" y="14402"/>
                    <a:pt x="66218" y="13932"/>
                    <a:pt x="65177" y="13449"/>
                  </a:cubicBezTo>
                  <a:cubicBezTo>
                    <a:pt x="64122" y="12966"/>
                    <a:pt x="63030" y="12509"/>
                    <a:pt x="61913" y="12052"/>
                  </a:cubicBezTo>
                  <a:cubicBezTo>
                    <a:pt x="60808" y="11595"/>
                    <a:pt x="59665" y="11087"/>
                    <a:pt x="58496" y="10642"/>
                  </a:cubicBezTo>
                  <a:cubicBezTo>
                    <a:pt x="58331" y="10579"/>
                    <a:pt x="58154" y="10515"/>
                    <a:pt x="58001" y="10452"/>
                  </a:cubicBezTo>
                  <a:lnTo>
                    <a:pt x="58027" y="10299"/>
                  </a:lnTo>
                  <a:cubicBezTo>
                    <a:pt x="57138" y="10160"/>
                    <a:pt x="34074" y="2705"/>
                    <a:pt x="24753" y="1638"/>
                  </a:cubicBezTo>
                  <a:cubicBezTo>
                    <a:pt x="24156" y="1549"/>
                    <a:pt x="23571" y="1447"/>
                    <a:pt x="23000" y="1371"/>
                  </a:cubicBezTo>
                  <a:cubicBezTo>
                    <a:pt x="22416" y="1308"/>
                    <a:pt x="21832" y="1244"/>
                    <a:pt x="21273" y="1181"/>
                  </a:cubicBezTo>
                  <a:cubicBezTo>
                    <a:pt x="20142" y="1041"/>
                    <a:pt x="19050" y="901"/>
                    <a:pt x="17983" y="774"/>
                  </a:cubicBezTo>
                  <a:cubicBezTo>
                    <a:pt x="16917" y="686"/>
                    <a:pt x="15888" y="597"/>
                    <a:pt x="14897" y="520"/>
                  </a:cubicBezTo>
                  <a:cubicBezTo>
                    <a:pt x="13932" y="444"/>
                    <a:pt x="12980" y="343"/>
                    <a:pt x="12078" y="292"/>
                  </a:cubicBezTo>
                  <a:cubicBezTo>
                    <a:pt x="11176" y="254"/>
                    <a:pt x="10325" y="216"/>
                    <a:pt x="9512" y="165"/>
                  </a:cubicBezTo>
                  <a:cubicBezTo>
                    <a:pt x="8712" y="127"/>
                    <a:pt x="7963" y="101"/>
                    <a:pt x="7265" y="63"/>
                  </a:cubicBezTo>
                  <a:cubicBezTo>
                    <a:pt x="6579" y="63"/>
                    <a:pt x="5931" y="38"/>
                    <a:pt x="5360" y="38"/>
                  </a:cubicBezTo>
                  <a:cubicBezTo>
                    <a:pt x="4560" y="25"/>
                    <a:pt x="3861" y="12"/>
                    <a:pt x="3328" y="12"/>
                  </a:cubicBezTo>
                  <a:cubicBezTo>
                    <a:pt x="2439" y="0"/>
                    <a:pt x="1715" y="686"/>
                    <a:pt x="1677" y="1562"/>
                  </a:cubicBezTo>
                  <a:lnTo>
                    <a:pt x="38" y="35660"/>
                  </a:lnTo>
                  <a:cubicBezTo>
                    <a:pt x="0" y="36498"/>
                    <a:pt x="610" y="37235"/>
                    <a:pt x="1448" y="37349"/>
                  </a:cubicBezTo>
                  <a:cubicBezTo>
                    <a:pt x="1791" y="37400"/>
                    <a:pt x="2210" y="37451"/>
                    <a:pt x="2680" y="37515"/>
                  </a:cubicBezTo>
                  <a:cubicBezTo>
                    <a:pt x="3099" y="37578"/>
                    <a:pt x="3582" y="37641"/>
                    <a:pt x="4102" y="37718"/>
                  </a:cubicBezTo>
                  <a:cubicBezTo>
                    <a:pt x="4623" y="37807"/>
                    <a:pt x="5182" y="37908"/>
                    <a:pt x="5766" y="38010"/>
                  </a:cubicBezTo>
                  <a:cubicBezTo>
                    <a:pt x="21501" y="40537"/>
                    <a:pt x="42177" y="51370"/>
                    <a:pt x="47587" y="54151"/>
                  </a:cubicBezTo>
                  <a:cubicBezTo>
                    <a:pt x="48108" y="54482"/>
                    <a:pt x="48616" y="54837"/>
                    <a:pt x="49111" y="55155"/>
                  </a:cubicBezTo>
                  <a:cubicBezTo>
                    <a:pt x="49708" y="55561"/>
                    <a:pt x="50279" y="55942"/>
                    <a:pt x="50838" y="56298"/>
                  </a:cubicBezTo>
                  <a:cubicBezTo>
                    <a:pt x="51308" y="56653"/>
                    <a:pt x="51778" y="56984"/>
                    <a:pt x="52197" y="57301"/>
                  </a:cubicBezTo>
                  <a:cubicBezTo>
                    <a:pt x="52629" y="57606"/>
                    <a:pt x="53023" y="57885"/>
                    <a:pt x="53404" y="58165"/>
                  </a:cubicBezTo>
                  <a:cubicBezTo>
                    <a:pt x="53556" y="58266"/>
                    <a:pt x="53823" y="58470"/>
                    <a:pt x="54039" y="58635"/>
                  </a:cubicBezTo>
                  <a:cubicBezTo>
                    <a:pt x="54267" y="58800"/>
                    <a:pt x="54483" y="58952"/>
                    <a:pt x="54686" y="59117"/>
                  </a:cubicBezTo>
                  <a:cubicBezTo>
                    <a:pt x="55131" y="59435"/>
                    <a:pt x="55512" y="59727"/>
                    <a:pt x="55855" y="59968"/>
                  </a:cubicBezTo>
                  <a:cubicBezTo>
                    <a:pt x="56591" y="60540"/>
                    <a:pt x="57658" y="60349"/>
                    <a:pt x="58166" y="59562"/>
                  </a:cubicBezTo>
                  <a:lnTo>
                    <a:pt x="81559" y="23938"/>
                  </a:lnTo>
                  <a:cubicBezTo>
                    <a:pt x="82079" y="23151"/>
                    <a:pt x="81825" y="22109"/>
                    <a:pt x="81013" y="21640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2" name="Freeform 683"/>
            <p:cNvSpPr/>
            <p:nvPr/>
          </p:nvSpPr>
          <p:spPr>
            <a:xfrm>
              <a:off x="4124466" y="3094227"/>
              <a:ext cx="64028" cy="79053"/>
            </a:xfrm>
            <a:custGeom>
              <a:avLst/>
              <a:gdLst/>
              <a:ahLst/>
              <a:cxnLst/>
              <a:rect l="0" t="0" r="0" b="0"/>
              <a:pathLst>
                <a:path w="57530" h="71030">
                  <a:moveTo>
                    <a:pt x="21526" y="22275"/>
                  </a:moveTo>
                  <a:cubicBezTo>
                    <a:pt x="21171" y="22770"/>
                    <a:pt x="20815" y="23265"/>
                    <a:pt x="20460" y="23760"/>
                  </a:cubicBezTo>
                  <a:cubicBezTo>
                    <a:pt x="20130" y="24268"/>
                    <a:pt x="19774" y="24764"/>
                    <a:pt x="19406" y="25272"/>
                  </a:cubicBezTo>
                  <a:cubicBezTo>
                    <a:pt x="19063" y="25767"/>
                    <a:pt x="18733" y="26288"/>
                    <a:pt x="18390" y="26808"/>
                  </a:cubicBezTo>
                  <a:cubicBezTo>
                    <a:pt x="17704" y="27837"/>
                    <a:pt x="17018" y="28853"/>
                    <a:pt x="16358" y="29907"/>
                  </a:cubicBezTo>
                  <a:cubicBezTo>
                    <a:pt x="15710" y="30961"/>
                    <a:pt x="15062" y="32003"/>
                    <a:pt x="14414" y="33070"/>
                  </a:cubicBezTo>
                  <a:lnTo>
                    <a:pt x="13932" y="33844"/>
                  </a:lnTo>
                  <a:lnTo>
                    <a:pt x="13475" y="34644"/>
                  </a:lnTo>
                  <a:cubicBezTo>
                    <a:pt x="13183" y="35165"/>
                    <a:pt x="12878" y="35711"/>
                    <a:pt x="12573" y="36232"/>
                  </a:cubicBezTo>
                  <a:cubicBezTo>
                    <a:pt x="11341" y="38327"/>
                    <a:pt x="10274" y="40461"/>
                    <a:pt x="9182" y="42493"/>
                  </a:cubicBezTo>
                  <a:cubicBezTo>
                    <a:pt x="8687" y="43534"/>
                    <a:pt x="8192" y="44550"/>
                    <a:pt x="7696" y="45541"/>
                  </a:cubicBezTo>
                  <a:cubicBezTo>
                    <a:pt x="7455" y="46049"/>
                    <a:pt x="7214" y="46544"/>
                    <a:pt x="6972" y="47027"/>
                  </a:cubicBezTo>
                  <a:cubicBezTo>
                    <a:pt x="6756" y="47509"/>
                    <a:pt x="6541" y="48005"/>
                    <a:pt x="6325" y="48487"/>
                  </a:cubicBezTo>
                  <a:cubicBezTo>
                    <a:pt x="5893" y="49453"/>
                    <a:pt x="5461" y="50380"/>
                    <a:pt x="5055" y="51294"/>
                  </a:cubicBezTo>
                  <a:cubicBezTo>
                    <a:pt x="4686" y="52196"/>
                    <a:pt x="4318" y="53085"/>
                    <a:pt x="3962" y="53936"/>
                  </a:cubicBezTo>
                  <a:cubicBezTo>
                    <a:pt x="3620" y="54786"/>
                    <a:pt x="3264" y="55587"/>
                    <a:pt x="2959" y="56374"/>
                  </a:cubicBezTo>
                  <a:cubicBezTo>
                    <a:pt x="2680" y="57161"/>
                    <a:pt x="2400" y="57898"/>
                    <a:pt x="2146" y="58596"/>
                  </a:cubicBezTo>
                  <a:cubicBezTo>
                    <a:pt x="1880" y="59295"/>
                    <a:pt x="1638" y="59955"/>
                    <a:pt x="1410" y="60552"/>
                  </a:cubicBezTo>
                  <a:cubicBezTo>
                    <a:pt x="1206" y="61162"/>
                    <a:pt x="1016" y="61721"/>
                    <a:pt x="851" y="62229"/>
                  </a:cubicBezTo>
                  <a:cubicBezTo>
                    <a:pt x="622" y="62889"/>
                    <a:pt x="419" y="63461"/>
                    <a:pt x="279" y="63918"/>
                  </a:cubicBezTo>
                  <a:cubicBezTo>
                    <a:pt x="0" y="64756"/>
                    <a:pt x="419" y="65645"/>
                    <a:pt x="1232" y="65950"/>
                  </a:cubicBezTo>
                  <a:lnTo>
                    <a:pt x="13640" y="70725"/>
                  </a:lnTo>
                  <a:cubicBezTo>
                    <a:pt x="14440" y="71030"/>
                    <a:pt x="15329" y="70674"/>
                    <a:pt x="15697" y="69912"/>
                  </a:cubicBezTo>
                  <a:cubicBezTo>
                    <a:pt x="15875" y="69531"/>
                    <a:pt x="16078" y="69074"/>
                    <a:pt x="16332" y="68553"/>
                  </a:cubicBezTo>
                  <a:cubicBezTo>
                    <a:pt x="16548" y="68121"/>
                    <a:pt x="16764" y="67652"/>
                    <a:pt x="17018" y="67131"/>
                  </a:cubicBezTo>
                  <a:cubicBezTo>
                    <a:pt x="17285" y="66623"/>
                    <a:pt x="17577" y="66077"/>
                    <a:pt x="17882" y="65493"/>
                  </a:cubicBezTo>
                  <a:cubicBezTo>
                    <a:pt x="18186" y="64896"/>
                    <a:pt x="18504" y="64273"/>
                    <a:pt x="18847" y="63613"/>
                  </a:cubicBezTo>
                  <a:cubicBezTo>
                    <a:pt x="19190" y="62965"/>
                    <a:pt x="19583" y="62292"/>
                    <a:pt x="19977" y="61581"/>
                  </a:cubicBezTo>
                  <a:cubicBezTo>
                    <a:pt x="20383" y="60870"/>
                    <a:pt x="20790" y="60133"/>
                    <a:pt x="21222" y="59371"/>
                  </a:cubicBezTo>
                  <a:cubicBezTo>
                    <a:pt x="21665" y="58622"/>
                    <a:pt x="22135" y="57847"/>
                    <a:pt x="22618" y="57047"/>
                  </a:cubicBezTo>
                  <a:cubicBezTo>
                    <a:pt x="22859" y="56653"/>
                    <a:pt x="23100" y="56247"/>
                    <a:pt x="23354" y="55841"/>
                  </a:cubicBezTo>
                  <a:cubicBezTo>
                    <a:pt x="23596" y="55447"/>
                    <a:pt x="23862" y="55040"/>
                    <a:pt x="24129" y="54621"/>
                  </a:cubicBezTo>
                  <a:cubicBezTo>
                    <a:pt x="24662" y="53821"/>
                    <a:pt x="25196" y="52970"/>
                    <a:pt x="25742" y="52132"/>
                  </a:cubicBezTo>
                  <a:cubicBezTo>
                    <a:pt x="26910" y="50481"/>
                    <a:pt x="28053" y="48729"/>
                    <a:pt x="29349" y="47052"/>
                  </a:cubicBezTo>
                  <a:cubicBezTo>
                    <a:pt x="29666" y="46633"/>
                    <a:pt x="29984" y="46201"/>
                    <a:pt x="30301" y="45770"/>
                  </a:cubicBezTo>
                  <a:lnTo>
                    <a:pt x="30758" y="45134"/>
                  </a:lnTo>
                  <a:lnTo>
                    <a:pt x="31279" y="44512"/>
                  </a:lnTo>
                  <a:cubicBezTo>
                    <a:pt x="31939" y="43674"/>
                    <a:pt x="32600" y="42836"/>
                    <a:pt x="33260" y="41998"/>
                  </a:cubicBezTo>
                  <a:cubicBezTo>
                    <a:pt x="33946" y="41159"/>
                    <a:pt x="34657" y="40359"/>
                    <a:pt x="35343" y="39547"/>
                  </a:cubicBezTo>
                  <a:cubicBezTo>
                    <a:pt x="35686" y="39140"/>
                    <a:pt x="36016" y="38721"/>
                    <a:pt x="36372" y="38340"/>
                  </a:cubicBezTo>
                  <a:cubicBezTo>
                    <a:pt x="36727" y="37946"/>
                    <a:pt x="37083" y="37553"/>
                    <a:pt x="37439" y="37159"/>
                  </a:cubicBezTo>
                  <a:cubicBezTo>
                    <a:pt x="37794" y="36778"/>
                    <a:pt x="38137" y="36384"/>
                    <a:pt x="38493" y="36003"/>
                  </a:cubicBezTo>
                  <a:cubicBezTo>
                    <a:pt x="38836" y="35609"/>
                    <a:pt x="39178" y="35228"/>
                    <a:pt x="39547" y="34860"/>
                  </a:cubicBezTo>
                  <a:cubicBezTo>
                    <a:pt x="40258" y="34136"/>
                    <a:pt x="40956" y="33400"/>
                    <a:pt x="41668" y="32676"/>
                  </a:cubicBezTo>
                  <a:cubicBezTo>
                    <a:pt x="42353" y="31965"/>
                    <a:pt x="43077" y="31291"/>
                    <a:pt x="43751" y="30631"/>
                  </a:cubicBezTo>
                  <a:cubicBezTo>
                    <a:pt x="44449" y="29958"/>
                    <a:pt x="45109" y="29298"/>
                    <a:pt x="45782" y="28688"/>
                  </a:cubicBezTo>
                  <a:cubicBezTo>
                    <a:pt x="46468" y="28091"/>
                    <a:pt x="47116" y="27481"/>
                    <a:pt x="47751" y="26910"/>
                  </a:cubicBezTo>
                  <a:cubicBezTo>
                    <a:pt x="48386" y="26326"/>
                    <a:pt x="49021" y="25818"/>
                    <a:pt x="49631" y="25297"/>
                  </a:cubicBezTo>
                  <a:cubicBezTo>
                    <a:pt x="50227" y="24776"/>
                    <a:pt x="50799" y="24294"/>
                    <a:pt x="51345" y="23824"/>
                  </a:cubicBezTo>
                  <a:cubicBezTo>
                    <a:pt x="51891" y="23405"/>
                    <a:pt x="52399" y="22998"/>
                    <a:pt x="52882" y="22617"/>
                  </a:cubicBezTo>
                  <a:cubicBezTo>
                    <a:pt x="53364" y="22237"/>
                    <a:pt x="53809" y="21882"/>
                    <a:pt x="54215" y="21552"/>
                  </a:cubicBezTo>
                  <a:cubicBezTo>
                    <a:pt x="54406" y="21386"/>
                    <a:pt x="54660" y="21209"/>
                    <a:pt x="54876" y="21044"/>
                  </a:cubicBezTo>
                  <a:cubicBezTo>
                    <a:pt x="55104" y="20879"/>
                    <a:pt x="55320" y="20713"/>
                    <a:pt x="55523" y="20561"/>
                  </a:cubicBezTo>
                  <a:cubicBezTo>
                    <a:pt x="55955" y="20231"/>
                    <a:pt x="56349" y="19939"/>
                    <a:pt x="56666" y="19685"/>
                  </a:cubicBezTo>
                  <a:cubicBezTo>
                    <a:pt x="57428" y="19113"/>
                    <a:pt x="57530" y="18046"/>
                    <a:pt x="56933" y="17335"/>
                  </a:cubicBezTo>
                  <a:lnTo>
                    <a:pt x="42798" y="762"/>
                  </a:lnTo>
                  <a:cubicBezTo>
                    <a:pt x="42188" y="50"/>
                    <a:pt x="41109" y="0"/>
                    <a:pt x="40436" y="647"/>
                  </a:cubicBezTo>
                  <a:cubicBezTo>
                    <a:pt x="40144" y="940"/>
                    <a:pt x="39788" y="1270"/>
                    <a:pt x="39382" y="1663"/>
                  </a:cubicBezTo>
                  <a:cubicBezTo>
                    <a:pt x="39204" y="1828"/>
                    <a:pt x="39013" y="2019"/>
                    <a:pt x="38823" y="2209"/>
                  </a:cubicBezTo>
                  <a:cubicBezTo>
                    <a:pt x="38607" y="2413"/>
                    <a:pt x="38417" y="2591"/>
                    <a:pt x="38162" y="2857"/>
                  </a:cubicBezTo>
                  <a:cubicBezTo>
                    <a:pt x="37680" y="3340"/>
                    <a:pt x="37159" y="3873"/>
                    <a:pt x="36588" y="4432"/>
                  </a:cubicBezTo>
                  <a:cubicBezTo>
                    <a:pt x="36042" y="5003"/>
                    <a:pt x="35432" y="5600"/>
                    <a:pt x="34810" y="6235"/>
                  </a:cubicBezTo>
                  <a:cubicBezTo>
                    <a:pt x="34238" y="6858"/>
                    <a:pt x="33616" y="7531"/>
                    <a:pt x="32994" y="8217"/>
                  </a:cubicBezTo>
                  <a:cubicBezTo>
                    <a:pt x="32359" y="8915"/>
                    <a:pt x="31673" y="9614"/>
                    <a:pt x="31025" y="10388"/>
                  </a:cubicBezTo>
                  <a:cubicBezTo>
                    <a:pt x="30352" y="11150"/>
                    <a:pt x="29679" y="11938"/>
                    <a:pt x="28980" y="12750"/>
                  </a:cubicBezTo>
                  <a:cubicBezTo>
                    <a:pt x="28256" y="13551"/>
                    <a:pt x="27583" y="14414"/>
                    <a:pt x="26885" y="15290"/>
                  </a:cubicBezTo>
                  <a:cubicBezTo>
                    <a:pt x="26174" y="16167"/>
                    <a:pt x="25437" y="17043"/>
                    <a:pt x="24739" y="17970"/>
                  </a:cubicBezTo>
                  <a:cubicBezTo>
                    <a:pt x="24027" y="18910"/>
                    <a:pt x="23316" y="19850"/>
                    <a:pt x="22592" y="20815"/>
                  </a:cubicBezTo>
                  <a:cubicBezTo>
                    <a:pt x="22224" y="21285"/>
                    <a:pt x="21868" y="21780"/>
                    <a:pt x="21526" y="22275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3" name="Freeform 686"/>
            <p:cNvSpPr/>
            <p:nvPr/>
          </p:nvSpPr>
          <p:spPr>
            <a:xfrm>
              <a:off x="4116165" y="3181922"/>
              <a:ext cx="19745" cy="69737"/>
            </a:xfrm>
            <a:custGeom>
              <a:avLst/>
              <a:gdLst/>
              <a:ahLst/>
              <a:cxnLst/>
              <a:rect l="0" t="0" r="0" b="0"/>
              <a:pathLst>
                <a:path w="17741" h="62660">
                  <a:moveTo>
                    <a:pt x="3340" y="1485"/>
                  </a:moveTo>
                  <a:cubicBezTo>
                    <a:pt x="3252" y="1891"/>
                    <a:pt x="3163" y="2361"/>
                    <a:pt x="3048" y="2907"/>
                  </a:cubicBezTo>
                  <a:cubicBezTo>
                    <a:pt x="2947" y="3402"/>
                    <a:pt x="2833" y="3948"/>
                    <a:pt x="2718" y="4545"/>
                  </a:cubicBezTo>
                  <a:cubicBezTo>
                    <a:pt x="2591" y="5155"/>
                    <a:pt x="2490" y="5879"/>
                    <a:pt x="2350" y="6615"/>
                  </a:cubicBezTo>
                  <a:cubicBezTo>
                    <a:pt x="2223" y="7352"/>
                    <a:pt x="2083" y="8139"/>
                    <a:pt x="1944" y="8977"/>
                  </a:cubicBezTo>
                  <a:cubicBezTo>
                    <a:pt x="1880" y="9384"/>
                    <a:pt x="1791" y="9828"/>
                    <a:pt x="1740" y="10247"/>
                  </a:cubicBezTo>
                  <a:cubicBezTo>
                    <a:pt x="1664" y="10692"/>
                    <a:pt x="1613" y="11124"/>
                    <a:pt x="1562" y="11568"/>
                  </a:cubicBezTo>
                  <a:cubicBezTo>
                    <a:pt x="1321" y="13359"/>
                    <a:pt x="1004" y="15302"/>
                    <a:pt x="839" y="17360"/>
                  </a:cubicBezTo>
                  <a:cubicBezTo>
                    <a:pt x="724" y="18388"/>
                    <a:pt x="635" y="19442"/>
                    <a:pt x="534" y="20522"/>
                  </a:cubicBezTo>
                  <a:cubicBezTo>
                    <a:pt x="432" y="21601"/>
                    <a:pt x="369" y="22719"/>
                    <a:pt x="305" y="23836"/>
                  </a:cubicBezTo>
                  <a:cubicBezTo>
                    <a:pt x="115" y="26084"/>
                    <a:pt x="89" y="28408"/>
                    <a:pt x="13" y="30758"/>
                  </a:cubicBezTo>
                  <a:lnTo>
                    <a:pt x="0" y="31647"/>
                  </a:lnTo>
                  <a:lnTo>
                    <a:pt x="0" y="32523"/>
                  </a:lnTo>
                  <a:cubicBezTo>
                    <a:pt x="0" y="33120"/>
                    <a:pt x="13" y="33717"/>
                    <a:pt x="13" y="34314"/>
                  </a:cubicBezTo>
                  <a:cubicBezTo>
                    <a:pt x="13" y="34911"/>
                    <a:pt x="13" y="35508"/>
                    <a:pt x="13" y="36105"/>
                  </a:cubicBezTo>
                  <a:lnTo>
                    <a:pt x="26" y="36994"/>
                  </a:lnTo>
                  <a:lnTo>
                    <a:pt x="64" y="37895"/>
                  </a:lnTo>
                  <a:cubicBezTo>
                    <a:pt x="102" y="39089"/>
                    <a:pt x="165" y="40283"/>
                    <a:pt x="204" y="41464"/>
                  </a:cubicBezTo>
                  <a:lnTo>
                    <a:pt x="242" y="42340"/>
                  </a:lnTo>
                  <a:lnTo>
                    <a:pt x="254" y="42645"/>
                  </a:lnTo>
                  <a:lnTo>
                    <a:pt x="305" y="43280"/>
                  </a:lnTo>
                  <a:cubicBezTo>
                    <a:pt x="343" y="43852"/>
                    <a:pt x="381" y="44423"/>
                    <a:pt x="419" y="44982"/>
                  </a:cubicBezTo>
                  <a:cubicBezTo>
                    <a:pt x="470" y="45554"/>
                    <a:pt x="508" y="46112"/>
                    <a:pt x="547" y="46671"/>
                  </a:cubicBezTo>
                  <a:cubicBezTo>
                    <a:pt x="610" y="47255"/>
                    <a:pt x="661" y="47840"/>
                    <a:pt x="712" y="48424"/>
                  </a:cubicBezTo>
                  <a:cubicBezTo>
                    <a:pt x="775" y="49008"/>
                    <a:pt x="839" y="49579"/>
                    <a:pt x="889" y="50151"/>
                  </a:cubicBezTo>
                  <a:cubicBezTo>
                    <a:pt x="915" y="50443"/>
                    <a:pt x="953" y="50722"/>
                    <a:pt x="978" y="51002"/>
                  </a:cubicBezTo>
                  <a:cubicBezTo>
                    <a:pt x="1004" y="51281"/>
                    <a:pt x="1042" y="51561"/>
                    <a:pt x="1080" y="51840"/>
                  </a:cubicBezTo>
                  <a:cubicBezTo>
                    <a:pt x="1220" y="52932"/>
                    <a:pt x="1347" y="54024"/>
                    <a:pt x="1499" y="55091"/>
                  </a:cubicBezTo>
                  <a:cubicBezTo>
                    <a:pt x="1651" y="56145"/>
                    <a:pt x="1817" y="57174"/>
                    <a:pt x="1969" y="58190"/>
                  </a:cubicBezTo>
                  <a:cubicBezTo>
                    <a:pt x="2121" y="59193"/>
                    <a:pt x="2299" y="60158"/>
                    <a:pt x="2477" y="61111"/>
                  </a:cubicBezTo>
                  <a:cubicBezTo>
                    <a:pt x="2490" y="61187"/>
                    <a:pt x="2515" y="61263"/>
                    <a:pt x="2515" y="61340"/>
                  </a:cubicBezTo>
                  <a:cubicBezTo>
                    <a:pt x="2655" y="62102"/>
                    <a:pt x="3328" y="62660"/>
                    <a:pt x="4101" y="62660"/>
                  </a:cubicBezTo>
                  <a:lnTo>
                    <a:pt x="8483" y="62660"/>
                  </a:lnTo>
                  <a:cubicBezTo>
                    <a:pt x="9423" y="62660"/>
                    <a:pt x="10159" y="61873"/>
                    <a:pt x="10109" y="60933"/>
                  </a:cubicBezTo>
                  <a:cubicBezTo>
                    <a:pt x="10083" y="60692"/>
                    <a:pt x="10070" y="60438"/>
                    <a:pt x="10058" y="60184"/>
                  </a:cubicBezTo>
                  <a:cubicBezTo>
                    <a:pt x="10007" y="59282"/>
                    <a:pt x="9943" y="58342"/>
                    <a:pt x="9918" y="57377"/>
                  </a:cubicBezTo>
                  <a:cubicBezTo>
                    <a:pt x="9893" y="56412"/>
                    <a:pt x="9855" y="55421"/>
                    <a:pt x="9829" y="54405"/>
                  </a:cubicBezTo>
                  <a:cubicBezTo>
                    <a:pt x="9816" y="53402"/>
                    <a:pt x="9804" y="52361"/>
                    <a:pt x="9791" y="51307"/>
                  </a:cubicBezTo>
                  <a:lnTo>
                    <a:pt x="9791" y="50519"/>
                  </a:lnTo>
                  <a:cubicBezTo>
                    <a:pt x="9791" y="50252"/>
                    <a:pt x="9804" y="49998"/>
                    <a:pt x="9816" y="49732"/>
                  </a:cubicBezTo>
                  <a:cubicBezTo>
                    <a:pt x="9829" y="49211"/>
                    <a:pt x="9842" y="48690"/>
                    <a:pt x="9855" y="48144"/>
                  </a:cubicBezTo>
                  <a:cubicBezTo>
                    <a:pt x="9867" y="47624"/>
                    <a:pt x="9880" y="47090"/>
                    <a:pt x="9893" y="46544"/>
                  </a:cubicBezTo>
                  <a:cubicBezTo>
                    <a:pt x="9918" y="45985"/>
                    <a:pt x="9943" y="45427"/>
                    <a:pt x="9969" y="44855"/>
                  </a:cubicBezTo>
                  <a:cubicBezTo>
                    <a:pt x="9994" y="44296"/>
                    <a:pt x="10020" y="43725"/>
                    <a:pt x="10045" y="43153"/>
                  </a:cubicBezTo>
                  <a:lnTo>
                    <a:pt x="10070" y="42506"/>
                  </a:lnTo>
                  <a:lnTo>
                    <a:pt x="10070" y="42480"/>
                  </a:lnTo>
                  <a:lnTo>
                    <a:pt x="10070" y="42518"/>
                  </a:lnTo>
                  <a:lnTo>
                    <a:pt x="10083" y="42455"/>
                  </a:lnTo>
                  <a:lnTo>
                    <a:pt x="10083" y="42366"/>
                  </a:lnTo>
                  <a:lnTo>
                    <a:pt x="10159" y="41528"/>
                  </a:lnTo>
                  <a:cubicBezTo>
                    <a:pt x="10248" y="40423"/>
                    <a:pt x="10337" y="39305"/>
                    <a:pt x="10413" y="38200"/>
                  </a:cubicBezTo>
                  <a:lnTo>
                    <a:pt x="10490" y="37362"/>
                  </a:lnTo>
                  <a:lnTo>
                    <a:pt x="10591" y="36536"/>
                  </a:lnTo>
                  <a:cubicBezTo>
                    <a:pt x="10655" y="35978"/>
                    <a:pt x="10705" y="35432"/>
                    <a:pt x="10782" y="34873"/>
                  </a:cubicBezTo>
                  <a:cubicBezTo>
                    <a:pt x="10845" y="34327"/>
                    <a:pt x="10909" y="33781"/>
                    <a:pt x="10972" y="33235"/>
                  </a:cubicBezTo>
                  <a:lnTo>
                    <a:pt x="11061" y="32409"/>
                  </a:lnTo>
                  <a:lnTo>
                    <a:pt x="11188" y="31609"/>
                  </a:lnTo>
                  <a:cubicBezTo>
                    <a:pt x="11518" y="29437"/>
                    <a:pt x="11798" y="27316"/>
                    <a:pt x="12217" y="25272"/>
                  </a:cubicBezTo>
                  <a:cubicBezTo>
                    <a:pt x="12407" y="24256"/>
                    <a:pt x="12572" y="23252"/>
                    <a:pt x="12788" y="22262"/>
                  </a:cubicBezTo>
                  <a:cubicBezTo>
                    <a:pt x="13004" y="21296"/>
                    <a:pt x="13207" y="20344"/>
                    <a:pt x="13411" y="19417"/>
                  </a:cubicBezTo>
                  <a:cubicBezTo>
                    <a:pt x="13804" y="17563"/>
                    <a:pt x="14300" y="15835"/>
                    <a:pt x="14706" y="14223"/>
                  </a:cubicBezTo>
                  <a:cubicBezTo>
                    <a:pt x="14808" y="13829"/>
                    <a:pt x="14909" y="13435"/>
                    <a:pt x="15011" y="13054"/>
                  </a:cubicBezTo>
                  <a:cubicBezTo>
                    <a:pt x="15100" y="12673"/>
                    <a:pt x="15227" y="12318"/>
                    <a:pt x="15328" y="11975"/>
                  </a:cubicBezTo>
                  <a:cubicBezTo>
                    <a:pt x="15544" y="11263"/>
                    <a:pt x="15735" y="10603"/>
                    <a:pt x="15938" y="9968"/>
                  </a:cubicBezTo>
                  <a:cubicBezTo>
                    <a:pt x="16116" y="9346"/>
                    <a:pt x="16281" y="8774"/>
                    <a:pt x="16459" y="8215"/>
                  </a:cubicBezTo>
                  <a:cubicBezTo>
                    <a:pt x="16636" y="7631"/>
                    <a:pt x="16827" y="7098"/>
                    <a:pt x="16979" y="6628"/>
                  </a:cubicBezTo>
                  <a:cubicBezTo>
                    <a:pt x="17157" y="6107"/>
                    <a:pt x="17322" y="5637"/>
                    <a:pt x="17449" y="5244"/>
                  </a:cubicBezTo>
                  <a:cubicBezTo>
                    <a:pt x="17741" y="4355"/>
                    <a:pt x="17233" y="3415"/>
                    <a:pt x="16319" y="3161"/>
                  </a:cubicBezTo>
                  <a:lnTo>
                    <a:pt x="5346" y="241"/>
                  </a:lnTo>
                  <a:cubicBezTo>
                    <a:pt x="4432" y="0"/>
                    <a:pt x="3517" y="571"/>
                    <a:pt x="3340" y="1485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34" name="Picture 687"/>
            <p:cNvPicPr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209818" y="3054815"/>
              <a:ext cx="202844" cy="210163"/>
            </a:xfrm>
            <a:prstGeom prst="rect">
              <a:avLst/>
            </a:prstGeom>
            <a:noFill/>
            <a:extLst/>
          </p:spPr>
        </p:pic>
        <p:sp>
          <p:nvSpPr>
            <p:cNvPr id="435" name="Freeform 689"/>
            <p:cNvSpPr/>
            <p:nvPr/>
          </p:nvSpPr>
          <p:spPr>
            <a:xfrm>
              <a:off x="4183494" y="3050210"/>
              <a:ext cx="85993" cy="57441"/>
            </a:xfrm>
            <a:custGeom>
              <a:avLst/>
              <a:gdLst/>
              <a:ahLst/>
              <a:cxnLst/>
              <a:rect l="0" t="0" r="0" b="0"/>
              <a:pathLst>
                <a:path w="77266" h="51612">
                  <a:moveTo>
                    <a:pt x="59461" y="36461"/>
                  </a:moveTo>
                  <a:cubicBezTo>
                    <a:pt x="59918" y="36398"/>
                    <a:pt x="60350" y="36322"/>
                    <a:pt x="60794" y="36284"/>
                  </a:cubicBezTo>
                  <a:cubicBezTo>
                    <a:pt x="61239" y="36233"/>
                    <a:pt x="61683" y="36195"/>
                    <a:pt x="62115" y="36144"/>
                  </a:cubicBezTo>
                  <a:cubicBezTo>
                    <a:pt x="62966" y="36055"/>
                    <a:pt x="63817" y="35979"/>
                    <a:pt x="64629" y="35890"/>
                  </a:cubicBezTo>
                  <a:cubicBezTo>
                    <a:pt x="65429" y="35826"/>
                    <a:pt x="66217" y="35776"/>
                    <a:pt x="66979" y="35738"/>
                  </a:cubicBezTo>
                  <a:cubicBezTo>
                    <a:pt x="67347" y="35700"/>
                    <a:pt x="67715" y="35687"/>
                    <a:pt x="68071" y="35649"/>
                  </a:cubicBezTo>
                  <a:cubicBezTo>
                    <a:pt x="68439" y="35623"/>
                    <a:pt x="68795" y="35598"/>
                    <a:pt x="69100" y="35598"/>
                  </a:cubicBezTo>
                  <a:cubicBezTo>
                    <a:pt x="69748" y="35585"/>
                    <a:pt x="70344" y="35572"/>
                    <a:pt x="70903" y="35547"/>
                  </a:cubicBezTo>
                  <a:cubicBezTo>
                    <a:pt x="71475" y="35534"/>
                    <a:pt x="71995" y="35522"/>
                    <a:pt x="72491" y="35496"/>
                  </a:cubicBezTo>
                  <a:cubicBezTo>
                    <a:pt x="73088" y="35496"/>
                    <a:pt x="73646" y="35496"/>
                    <a:pt x="74142" y="35496"/>
                  </a:cubicBezTo>
                  <a:cubicBezTo>
                    <a:pt x="74688" y="35484"/>
                    <a:pt x="75183" y="35484"/>
                    <a:pt x="75589" y="35484"/>
                  </a:cubicBezTo>
                  <a:cubicBezTo>
                    <a:pt x="76529" y="35471"/>
                    <a:pt x="77266" y="34683"/>
                    <a:pt x="77202" y="33756"/>
                  </a:cubicBezTo>
                  <a:lnTo>
                    <a:pt x="75094" y="1625"/>
                  </a:lnTo>
                  <a:cubicBezTo>
                    <a:pt x="75043" y="686"/>
                    <a:pt x="74205" y="0"/>
                    <a:pt x="73278" y="114"/>
                  </a:cubicBezTo>
                  <a:cubicBezTo>
                    <a:pt x="72859" y="165"/>
                    <a:pt x="72376" y="228"/>
                    <a:pt x="71830" y="292"/>
                  </a:cubicBezTo>
                  <a:cubicBezTo>
                    <a:pt x="71335" y="355"/>
                    <a:pt x="70763" y="432"/>
                    <a:pt x="70167" y="508"/>
                  </a:cubicBezTo>
                  <a:cubicBezTo>
                    <a:pt x="69443" y="622"/>
                    <a:pt x="68668" y="736"/>
                    <a:pt x="67830" y="863"/>
                  </a:cubicBezTo>
                  <a:cubicBezTo>
                    <a:pt x="66992" y="978"/>
                    <a:pt x="66115" y="1117"/>
                    <a:pt x="65188" y="1257"/>
                  </a:cubicBezTo>
                  <a:cubicBezTo>
                    <a:pt x="64706" y="1321"/>
                    <a:pt x="64274" y="1410"/>
                    <a:pt x="63804" y="1511"/>
                  </a:cubicBezTo>
                  <a:cubicBezTo>
                    <a:pt x="63347" y="1587"/>
                    <a:pt x="62877" y="1676"/>
                    <a:pt x="62407" y="1778"/>
                  </a:cubicBezTo>
                  <a:cubicBezTo>
                    <a:pt x="61442" y="1956"/>
                    <a:pt x="60438" y="2146"/>
                    <a:pt x="59411" y="2349"/>
                  </a:cubicBezTo>
                  <a:cubicBezTo>
                    <a:pt x="58382" y="2591"/>
                    <a:pt x="57328" y="2819"/>
                    <a:pt x="56236" y="3073"/>
                  </a:cubicBezTo>
                  <a:cubicBezTo>
                    <a:pt x="55690" y="3200"/>
                    <a:pt x="55143" y="3327"/>
                    <a:pt x="54585" y="3454"/>
                  </a:cubicBezTo>
                  <a:cubicBezTo>
                    <a:pt x="54026" y="3581"/>
                    <a:pt x="53467" y="3734"/>
                    <a:pt x="52896" y="3886"/>
                  </a:cubicBezTo>
                  <a:cubicBezTo>
                    <a:pt x="51765" y="4191"/>
                    <a:pt x="50610" y="4496"/>
                    <a:pt x="49441" y="4813"/>
                  </a:cubicBezTo>
                  <a:cubicBezTo>
                    <a:pt x="48273" y="5169"/>
                    <a:pt x="47092" y="5524"/>
                    <a:pt x="45898" y="5880"/>
                  </a:cubicBezTo>
                  <a:cubicBezTo>
                    <a:pt x="45301" y="6070"/>
                    <a:pt x="44691" y="6235"/>
                    <a:pt x="44094" y="6426"/>
                  </a:cubicBezTo>
                  <a:cubicBezTo>
                    <a:pt x="43498" y="6642"/>
                    <a:pt x="42901" y="6845"/>
                    <a:pt x="42291" y="7048"/>
                  </a:cubicBezTo>
                  <a:cubicBezTo>
                    <a:pt x="41694" y="7264"/>
                    <a:pt x="41085" y="7455"/>
                    <a:pt x="40488" y="7671"/>
                  </a:cubicBezTo>
                  <a:cubicBezTo>
                    <a:pt x="39878" y="7886"/>
                    <a:pt x="39268" y="8077"/>
                    <a:pt x="38672" y="8318"/>
                  </a:cubicBezTo>
                  <a:cubicBezTo>
                    <a:pt x="37478" y="8775"/>
                    <a:pt x="36271" y="9233"/>
                    <a:pt x="35065" y="9690"/>
                  </a:cubicBezTo>
                  <a:cubicBezTo>
                    <a:pt x="33871" y="10173"/>
                    <a:pt x="32677" y="10681"/>
                    <a:pt x="31509" y="11176"/>
                  </a:cubicBezTo>
                  <a:cubicBezTo>
                    <a:pt x="30912" y="11430"/>
                    <a:pt x="30315" y="11671"/>
                    <a:pt x="29731" y="11925"/>
                  </a:cubicBezTo>
                  <a:cubicBezTo>
                    <a:pt x="29159" y="12205"/>
                    <a:pt x="28575" y="12459"/>
                    <a:pt x="28016" y="12738"/>
                  </a:cubicBezTo>
                  <a:cubicBezTo>
                    <a:pt x="27432" y="12992"/>
                    <a:pt x="26861" y="13259"/>
                    <a:pt x="26289" y="13525"/>
                  </a:cubicBezTo>
                  <a:cubicBezTo>
                    <a:pt x="25730" y="13792"/>
                    <a:pt x="25159" y="14046"/>
                    <a:pt x="24613" y="14325"/>
                  </a:cubicBezTo>
                  <a:cubicBezTo>
                    <a:pt x="23508" y="14897"/>
                    <a:pt x="22416" y="15443"/>
                    <a:pt x="21349" y="15976"/>
                  </a:cubicBezTo>
                  <a:cubicBezTo>
                    <a:pt x="20269" y="16522"/>
                    <a:pt x="19253" y="17107"/>
                    <a:pt x="18237" y="17653"/>
                  </a:cubicBezTo>
                  <a:cubicBezTo>
                    <a:pt x="17221" y="18212"/>
                    <a:pt x="16231" y="18745"/>
                    <a:pt x="15291" y="19316"/>
                  </a:cubicBezTo>
                  <a:cubicBezTo>
                    <a:pt x="14351" y="19875"/>
                    <a:pt x="13424" y="20421"/>
                    <a:pt x="12548" y="20942"/>
                  </a:cubicBezTo>
                  <a:cubicBezTo>
                    <a:pt x="11659" y="21476"/>
                    <a:pt x="10833" y="22022"/>
                    <a:pt x="10020" y="22530"/>
                  </a:cubicBezTo>
                  <a:cubicBezTo>
                    <a:pt x="9220" y="23050"/>
                    <a:pt x="8458" y="23533"/>
                    <a:pt x="7722" y="24015"/>
                  </a:cubicBezTo>
                  <a:cubicBezTo>
                    <a:pt x="6998" y="24498"/>
                    <a:pt x="6325" y="24968"/>
                    <a:pt x="5690" y="25400"/>
                  </a:cubicBezTo>
                  <a:cubicBezTo>
                    <a:pt x="5042" y="25844"/>
                    <a:pt x="4445" y="26251"/>
                    <a:pt x="3899" y="26632"/>
                  </a:cubicBezTo>
                  <a:cubicBezTo>
                    <a:pt x="3340" y="27013"/>
                    <a:pt x="2858" y="27394"/>
                    <a:pt x="2413" y="27711"/>
                  </a:cubicBezTo>
                  <a:cubicBezTo>
                    <a:pt x="1816" y="28168"/>
                    <a:pt x="1283" y="28549"/>
                    <a:pt x="864" y="28867"/>
                  </a:cubicBezTo>
                  <a:cubicBezTo>
                    <a:pt x="165" y="29375"/>
                    <a:pt x="0" y="30353"/>
                    <a:pt x="495" y="31077"/>
                  </a:cubicBezTo>
                  <a:lnTo>
                    <a:pt x="13830" y="50697"/>
                  </a:lnTo>
                  <a:cubicBezTo>
                    <a:pt x="14313" y="51383"/>
                    <a:pt x="15227" y="51612"/>
                    <a:pt x="15977" y="51192"/>
                  </a:cubicBezTo>
                  <a:cubicBezTo>
                    <a:pt x="16307" y="51002"/>
                    <a:pt x="16701" y="50773"/>
                    <a:pt x="17171" y="50519"/>
                  </a:cubicBezTo>
                  <a:cubicBezTo>
                    <a:pt x="17564" y="50304"/>
                    <a:pt x="17996" y="50037"/>
                    <a:pt x="18479" y="49783"/>
                  </a:cubicBezTo>
                  <a:cubicBezTo>
                    <a:pt x="18961" y="49529"/>
                    <a:pt x="19495" y="49262"/>
                    <a:pt x="20053" y="48970"/>
                  </a:cubicBezTo>
                  <a:cubicBezTo>
                    <a:pt x="20612" y="48678"/>
                    <a:pt x="21209" y="48360"/>
                    <a:pt x="21831" y="48030"/>
                  </a:cubicBezTo>
                  <a:cubicBezTo>
                    <a:pt x="22479" y="47725"/>
                    <a:pt x="23152" y="47408"/>
                    <a:pt x="23851" y="47078"/>
                  </a:cubicBezTo>
                  <a:cubicBezTo>
                    <a:pt x="24549" y="46735"/>
                    <a:pt x="25260" y="46366"/>
                    <a:pt x="26035" y="46036"/>
                  </a:cubicBezTo>
                  <a:cubicBezTo>
                    <a:pt x="26797" y="45706"/>
                    <a:pt x="27585" y="45350"/>
                    <a:pt x="28410" y="44995"/>
                  </a:cubicBezTo>
                  <a:cubicBezTo>
                    <a:pt x="29210" y="44627"/>
                    <a:pt x="30061" y="44309"/>
                    <a:pt x="30925" y="43953"/>
                  </a:cubicBezTo>
                  <a:cubicBezTo>
                    <a:pt x="31788" y="43623"/>
                    <a:pt x="32652" y="43242"/>
                    <a:pt x="33566" y="42925"/>
                  </a:cubicBezTo>
                  <a:cubicBezTo>
                    <a:pt x="34468" y="42595"/>
                    <a:pt x="35395" y="42264"/>
                    <a:pt x="36322" y="41922"/>
                  </a:cubicBezTo>
                  <a:cubicBezTo>
                    <a:pt x="36779" y="41756"/>
                    <a:pt x="37262" y="41604"/>
                    <a:pt x="37732" y="41452"/>
                  </a:cubicBezTo>
                  <a:cubicBezTo>
                    <a:pt x="38214" y="41299"/>
                    <a:pt x="38697" y="41147"/>
                    <a:pt x="39180" y="40994"/>
                  </a:cubicBezTo>
                  <a:cubicBezTo>
                    <a:pt x="39650" y="40842"/>
                    <a:pt x="40132" y="40677"/>
                    <a:pt x="40615" y="40524"/>
                  </a:cubicBezTo>
                  <a:cubicBezTo>
                    <a:pt x="41097" y="40385"/>
                    <a:pt x="41593" y="40245"/>
                    <a:pt x="42075" y="40105"/>
                  </a:cubicBezTo>
                  <a:cubicBezTo>
                    <a:pt x="43066" y="39839"/>
                    <a:pt x="44031" y="39534"/>
                    <a:pt x="45022" y="39280"/>
                  </a:cubicBezTo>
                  <a:cubicBezTo>
                    <a:pt x="46012" y="39039"/>
                    <a:pt x="47003" y="38797"/>
                    <a:pt x="47993" y="38543"/>
                  </a:cubicBezTo>
                  <a:cubicBezTo>
                    <a:pt x="48476" y="38416"/>
                    <a:pt x="48971" y="38315"/>
                    <a:pt x="49467" y="38213"/>
                  </a:cubicBezTo>
                  <a:cubicBezTo>
                    <a:pt x="49949" y="38111"/>
                    <a:pt x="50445" y="38010"/>
                    <a:pt x="50927" y="37908"/>
                  </a:cubicBezTo>
                  <a:cubicBezTo>
                    <a:pt x="51422" y="37794"/>
                    <a:pt x="51918" y="37692"/>
                    <a:pt x="52400" y="37591"/>
                  </a:cubicBezTo>
                  <a:cubicBezTo>
                    <a:pt x="52883" y="37489"/>
                    <a:pt x="53378" y="37426"/>
                    <a:pt x="53848" y="37337"/>
                  </a:cubicBezTo>
                  <a:cubicBezTo>
                    <a:pt x="54813" y="37172"/>
                    <a:pt x="55753" y="37007"/>
                    <a:pt x="56693" y="36841"/>
                  </a:cubicBezTo>
                  <a:cubicBezTo>
                    <a:pt x="57633" y="36714"/>
                    <a:pt x="58560" y="36587"/>
                    <a:pt x="59461" y="36461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4914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6" name="Freeform 679"/>
            <p:cNvSpPr/>
            <p:nvPr/>
          </p:nvSpPr>
          <p:spPr>
            <a:xfrm>
              <a:off x="4390201" y="3175273"/>
              <a:ext cx="74105" cy="76453"/>
            </a:xfrm>
            <a:custGeom>
              <a:avLst/>
              <a:gdLst/>
              <a:ahLst/>
              <a:cxnLst/>
              <a:rect l="0" t="0" r="0" b="0"/>
              <a:pathLst>
                <a:path w="66585" h="68694">
                  <a:moveTo>
                    <a:pt x="66522" y="53543"/>
                  </a:moveTo>
                  <a:cubicBezTo>
                    <a:pt x="66497" y="52858"/>
                    <a:pt x="66472" y="52172"/>
                    <a:pt x="66446" y="51499"/>
                  </a:cubicBezTo>
                  <a:cubicBezTo>
                    <a:pt x="66421" y="50813"/>
                    <a:pt x="66396" y="50127"/>
                    <a:pt x="66370" y="49429"/>
                  </a:cubicBezTo>
                  <a:lnTo>
                    <a:pt x="66357" y="48921"/>
                  </a:lnTo>
                  <a:cubicBezTo>
                    <a:pt x="66332" y="48565"/>
                    <a:pt x="66357" y="48222"/>
                    <a:pt x="66332" y="47879"/>
                  </a:cubicBezTo>
                  <a:lnTo>
                    <a:pt x="66256" y="47016"/>
                  </a:lnTo>
                  <a:cubicBezTo>
                    <a:pt x="66167" y="45873"/>
                    <a:pt x="66078" y="44717"/>
                    <a:pt x="65989" y="43574"/>
                  </a:cubicBezTo>
                  <a:lnTo>
                    <a:pt x="65926" y="42698"/>
                  </a:lnTo>
                  <a:lnTo>
                    <a:pt x="65811" y="41567"/>
                  </a:lnTo>
                  <a:cubicBezTo>
                    <a:pt x="65748" y="40818"/>
                    <a:pt x="65672" y="40069"/>
                    <a:pt x="65608" y="39319"/>
                  </a:cubicBezTo>
                  <a:cubicBezTo>
                    <a:pt x="65532" y="38570"/>
                    <a:pt x="65456" y="37821"/>
                    <a:pt x="65392" y="37072"/>
                  </a:cubicBezTo>
                  <a:cubicBezTo>
                    <a:pt x="65341" y="36703"/>
                    <a:pt x="65303" y="36335"/>
                    <a:pt x="65265" y="35967"/>
                  </a:cubicBezTo>
                  <a:cubicBezTo>
                    <a:pt x="65227" y="35624"/>
                    <a:pt x="65176" y="35281"/>
                    <a:pt x="65138" y="34938"/>
                  </a:cubicBezTo>
                  <a:cubicBezTo>
                    <a:pt x="64757" y="32220"/>
                    <a:pt x="64427" y="29553"/>
                    <a:pt x="63957" y="26988"/>
                  </a:cubicBezTo>
                  <a:cubicBezTo>
                    <a:pt x="63729" y="25705"/>
                    <a:pt x="63513" y="24448"/>
                    <a:pt x="63284" y="23216"/>
                  </a:cubicBezTo>
                  <a:cubicBezTo>
                    <a:pt x="63017" y="21997"/>
                    <a:pt x="62776" y="20790"/>
                    <a:pt x="62535" y="19622"/>
                  </a:cubicBezTo>
                  <a:cubicBezTo>
                    <a:pt x="62065" y="17285"/>
                    <a:pt x="61493" y="15101"/>
                    <a:pt x="60998" y="13081"/>
                  </a:cubicBezTo>
                  <a:cubicBezTo>
                    <a:pt x="60871" y="12586"/>
                    <a:pt x="60757" y="12091"/>
                    <a:pt x="60630" y="11608"/>
                  </a:cubicBezTo>
                  <a:cubicBezTo>
                    <a:pt x="60503" y="11126"/>
                    <a:pt x="60363" y="10656"/>
                    <a:pt x="60249" y="10211"/>
                  </a:cubicBezTo>
                  <a:cubicBezTo>
                    <a:pt x="59982" y="9297"/>
                    <a:pt x="59741" y="8420"/>
                    <a:pt x="59512" y="7620"/>
                  </a:cubicBezTo>
                  <a:cubicBezTo>
                    <a:pt x="59284" y="6795"/>
                    <a:pt x="59068" y="6045"/>
                    <a:pt x="58852" y="5347"/>
                  </a:cubicBezTo>
                  <a:cubicBezTo>
                    <a:pt x="58636" y="4649"/>
                    <a:pt x="58433" y="4013"/>
                    <a:pt x="58255" y="3429"/>
                  </a:cubicBezTo>
                  <a:cubicBezTo>
                    <a:pt x="57975" y="2591"/>
                    <a:pt x="57747" y="1867"/>
                    <a:pt x="57556" y="1308"/>
                  </a:cubicBezTo>
                  <a:cubicBezTo>
                    <a:pt x="57290" y="483"/>
                    <a:pt x="56413" y="0"/>
                    <a:pt x="55575" y="242"/>
                  </a:cubicBezTo>
                  <a:lnTo>
                    <a:pt x="2680" y="15317"/>
                  </a:lnTo>
                  <a:cubicBezTo>
                    <a:pt x="1867" y="15558"/>
                    <a:pt x="1384" y="16358"/>
                    <a:pt x="1524" y="17183"/>
                  </a:cubicBezTo>
                  <a:cubicBezTo>
                    <a:pt x="1587" y="17488"/>
                    <a:pt x="1651" y="17844"/>
                    <a:pt x="1727" y="18225"/>
                  </a:cubicBezTo>
                  <a:cubicBezTo>
                    <a:pt x="1803" y="18631"/>
                    <a:pt x="1892" y="19063"/>
                    <a:pt x="1981" y="19546"/>
                  </a:cubicBezTo>
                  <a:cubicBezTo>
                    <a:pt x="2057" y="20028"/>
                    <a:pt x="2133" y="20549"/>
                    <a:pt x="2210" y="21108"/>
                  </a:cubicBezTo>
                  <a:cubicBezTo>
                    <a:pt x="2299" y="21667"/>
                    <a:pt x="2387" y="22263"/>
                    <a:pt x="2489" y="22886"/>
                  </a:cubicBezTo>
                  <a:cubicBezTo>
                    <a:pt x="2527" y="23190"/>
                    <a:pt x="2591" y="23508"/>
                    <a:pt x="2629" y="23838"/>
                  </a:cubicBezTo>
                  <a:cubicBezTo>
                    <a:pt x="2667" y="24168"/>
                    <a:pt x="2705" y="24511"/>
                    <a:pt x="2743" y="24854"/>
                  </a:cubicBezTo>
                  <a:cubicBezTo>
                    <a:pt x="2895" y="26226"/>
                    <a:pt x="3111" y="27712"/>
                    <a:pt x="3213" y="29287"/>
                  </a:cubicBezTo>
                  <a:cubicBezTo>
                    <a:pt x="3276" y="30074"/>
                    <a:pt x="3340" y="30887"/>
                    <a:pt x="3404" y="31712"/>
                  </a:cubicBezTo>
                  <a:cubicBezTo>
                    <a:pt x="3454" y="32550"/>
                    <a:pt x="3492" y="33389"/>
                    <a:pt x="3530" y="34252"/>
                  </a:cubicBezTo>
                  <a:cubicBezTo>
                    <a:pt x="3645" y="35979"/>
                    <a:pt x="3619" y="37757"/>
                    <a:pt x="3658" y="39561"/>
                  </a:cubicBezTo>
                  <a:lnTo>
                    <a:pt x="3670" y="40234"/>
                  </a:lnTo>
                  <a:lnTo>
                    <a:pt x="3645" y="40831"/>
                  </a:lnTo>
                  <a:cubicBezTo>
                    <a:pt x="3619" y="41224"/>
                    <a:pt x="3607" y="41618"/>
                    <a:pt x="3607" y="42012"/>
                  </a:cubicBezTo>
                  <a:cubicBezTo>
                    <a:pt x="3594" y="42418"/>
                    <a:pt x="3581" y="42812"/>
                    <a:pt x="3569" y="43206"/>
                  </a:cubicBezTo>
                  <a:lnTo>
                    <a:pt x="3556" y="43803"/>
                  </a:lnTo>
                  <a:lnTo>
                    <a:pt x="3518" y="44654"/>
                  </a:lnTo>
                  <a:cubicBezTo>
                    <a:pt x="3467" y="45809"/>
                    <a:pt x="3429" y="46965"/>
                    <a:pt x="3378" y="48108"/>
                  </a:cubicBezTo>
                  <a:lnTo>
                    <a:pt x="3340" y="48971"/>
                  </a:lnTo>
                  <a:lnTo>
                    <a:pt x="3340" y="49086"/>
                  </a:lnTo>
                  <a:lnTo>
                    <a:pt x="3327" y="49111"/>
                  </a:lnTo>
                  <a:cubicBezTo>
                    <a:pt x="3340" y="49238"/>
                    <a:pt x="3315" y="48082"/>
                    <a:pt x="3315" y="48578"/>
                  </a:cubicBezTo>
                  <a:lnTo>
                    <a:pt x="3315" y="48629"/>
                  </a:lnTo>
                  <a:lnTo>
                    <a:pt x="3302" y="48794"/>
                  </a:lnTo>
                  <a:lnTo>
                    <a:pt x="3276" y="49137"/>
                  </a:lnTo>
                  <a:cubicBezTo>
                    <a:pt x="3226" y="49581"/>
                    <a:pt x="3188" y="50038"/>
                    <a:pt x="3150" y="50483"/>
                  </a:cubicBezTo>
                  <a:cubicBezTo>
                    <a:pt x="3111" y="50927"/>
                    <a:pt x="3073" y="51372"/>
                    <a:pt x="3035" y="51816"/>
                  </a:cubicBezTo>
                  <a:cubicBezTo>
                    <a:pt x="2984" y="52261"/>
                    <a:pt x="2934" y="52705"/>
                    <a:pt x="2883" y="53137"/>
                  </a:cubicBezTo>
                  <a:cubicBezTo>
                    <a:pt x="2769" y="54012"/>
                    <a:pt x="2692" y="54876"/>
                    <a:pt x="2553" y="55714"/>
                  </a:cubicBezTo>
                  <a:cubicBezTo>
                    <a:pt x="2438" y="56565"/>
                    <a:pt x="2324" y="57391"/>
                    <a:pt x="2197" y="58203"/>
                  </a:cubicBezTo>
                  <a:cubicBezTo>
                    <a:pt x="2057" y="59004"/>
                    <a:pt x="1918" y="59791"/>
                    <a:pt x="1791" y="60566"/>
                  </a:cubicBezTo>
                  <a:cubicBezTo>
                    <a:pt x="1664" y="61328"/>
                    <a:pt x="1499" y="62077"/>
                    <a:pt x="1359" y="62775"/>
                  </a:cubicBezTo>
                  <a:cubicBezTo>
                    <a:pt x="1206" y="63499"/>
                    <a:pt x="1092" y="64185"/>
                    <a:pt x="940" y="64845"/>
                  </a:cubicBezTo>
                  <a:cubicBezTo>
                    <a:pt x="787" y="65506"/>
                    <a:pt x="635" y="66141"/>
                    <a:pt x="495" y="66725"/>
                  </a:cubicBezTo>
                  <a:cubicBezTo>
                    <a:pt x="419" y="67030"/>
                    <a:pt x="368" y="67322"/>
                    <a:pt x="292" y="67601"/>
                  </a:cubicBezTo>
                  <a:cubicBezTo>
                    <a:pt x="229" y="67843"/>
                    <a:pt x="165" y="68071"/>
                    <a:pt x="101" y="68300"/>
                  </a:cubicBezTo>
                  <a:cubicBezTo>
                    <a:pt x="76" y="68440"/>
                    <a:pt x="38" y="68567"/>
                    <a:pt x="0" y="68694"/>
                  </a:cubicBezTo>
                  <a:lnTo>
                    <a:pt x="64681" y="68694"/>
                  </a:lnTo>
                  <a:cubicBezTo>
                    <a:pt x="65557" y="68694"/>
                    <a:pt x="66269" y="68020"/>
                    <a:pt x="66307" y="67157"/>
                  </a:cubicBezTo>
                  <a:cubicBezTo>
                    <a:pt x="66319" y="67144"/>
                    <a:pt x="66319" y="67144"/>
                    <a:pt x="66319" y="67132"/>
                  </a:cubicBezTo>
                  <a:cubicBezTo>
                    <a:pt x="66370" y="65925"/>
                    <a:pt x="66421" y="64693"/>
                    <a:pt x="66484" y="63436"/>
                  </a:cubicBezTo>
                  <a:cubicBezTo>
                    <a:pt x="66497" y="62166"/>
                    <a:pt x="66522" y="60870"/>
                    <a:pt x="66547" y="59562"/>
                  </a:cubicBezTo>
                  <a:cubicBezTo>
                    <a:pt x="66585" y="58254"/>
                    <a:pt x="66547" y="56921"/>
                    <a:pt x="66547" y="55574"/>
                  </a:cubicBezTo>
                  <a:cubicBezTo>
                    <a:pt x="66534" y="54901"/>
                    <a:pt x="66534" y="54228"/>
                    <a:pt x="66522" y="53543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7" name="Freeform 680"/>
            <p:cNvSpPr/>
            <p:nvPr/>
          </p:nvSpPr>
          <p:spPr>
            <a:xfrm>
              <a:off x="4354461" y="3084354"/>
              <a:ext cx="92452" cy="97343"/>
            </a:xfrm>
            <a:custGeom>
              <a:avLst/>
              <a:gdLst/>
              <a:ahLst/>
              <a:cxnLst/>
              <a:rect l="0" t="0" r="0" b="0"/>
              <a:pathLst>
                <a:path w="83070" h="87464">
                  <a:moveTo>
                    <a:pt x="81813" y="67335"/>
                  </a:moveTo>
                  <a:cubicBezTo>
                    <a:pt x="82676" y="66993"/>
                    <a:pt x="83070" y="65977"/>
                    <a:pt x="82676" y="65138"/>
                  </a:cubicBezTo>
                  <a:cubicBezTo>
                    <a:pt x="82498" y="64770"/>
                    <a:pt x="82295" y="64326"/>
                    <a:pt x="82054" y="63830"/>
                  </a:cubicBezTo>
                  <a:cubicBezTo>
                    <a:pt x="81825" y="63360"/>
                    <a:pt x="81585" y="62840"/>
                    <a:pt x="81331" y="62281"/>
                  </a:cubicBezTo>
                  <a:cubicBezTo>
                    <a:pt x="80975" y="61570"/>
                    <a:pt x="80594" y="60808"/>
                    <a:pt x="80201" y="59995"/>
                  </a:cubicBezTo>
                  <a:cubicBezTo>
                    <a:pt x="79807" y="59195"/>
                    <a:pt x="79362" y="58331"/>
                    <a:pt x="78918" y="57430"/>
                  </a:cubicBezTo>
                  <a:cubicBezTo>
                    <a:pt x="78689" y="56947"/>
                    <a:pt x="78461" y="56553"/>
                    <a:pt x="78232" y="56121"/>
                  </a:cubicBezTo>
                  <a:cubicBezTo>
                    <a:pt x="77991" y="55677"/>
                    <a:pt x="77762" y="55245"/>
                    <a:pt x="77508" y="54788"/>
                  </a:cubicBezTo>
                  <a:cubicBezTo>
                    <a:pt x="77026" y="53886"/>
                    <a:pt x="76518" y="52934"/>
                    <a:pt x="75971" y="51968"/>
                  </a:cubicBezTo>
                  <a:cubicBezTo>
                    <a:pt x="75413" y="51016"/>
                    <a:pt x="74841" y="50025"/>
                    <a:pt x="74232" y="49009"/>
                  </a:cubicBezTo>
                  <a:cubicBezTo>
                    <a:pt x="73952" y="48501"/>
                    <a:pt x="73635" y="47993"/>
                    <a:pt x="73343" y="47460"/>
                  </a:cubicBezTo>
                  <a:cubicBezTo>
                    <a:pt x="73012" y="46952"/>
                    <a:pt x="72695" y="46431"/>
                    <a:pt x="72365" y="45911"/>
                  </a:cubicBezTo>
                  <a:cubicBezTo>
                    <a:pt x="71704" y="44869"/>
                    <a:pt x="71044" y="43790"/>
                    <a:pt x="70358" y="42723"/>
                  </a:cubicBezTo>
                  <a:cubicBezTo>
                    <a:pt x="68910" y="40589"/>
                    <a:pt x="67475" y="38367"/>
                    <a:pt x="65875" y="36208"/>
                  </a:cubicBezTo>
                  <a:cubicBezTo>
                    <a:pt x="65481" y="35662"/>
                    <a:pt x="65088" y="35116"/>
                    <a:pt x="64694" y="34557"/>
                  </a:cubicBezTo>
                  <a:lnTo>
                    <a:pt x="64097" y="33744"/>
                  </a:lnTo>
                  <a:lnTo>
                    <a:pt x="63475" y="32931"/>
                  </a:lnTo>
                  <a:cubicBezTo>
                    <a:pt x="62649" y="31864"/>
                    <a:pt x="61811" y="30785"/>
                    <a:pt x="60986" y="29705"/>
                  </a:cubicBezTo>
                  <a:cubicBezTo>
                    <a:pt x="60135" y="28639"/>
                    <a:pt x="59258" y="27597"/>
                    <a:pt x="58395" y="26543"/>
                  </a:cubicBezTo>
                  <a:cubicBezTo>
                    <a:pt x="57963" y="26035"/>
                    <a:pt x="57544" y="25502"/>
                    <a:pt x="57099" y="24994"/>
                  </a:cubicBezTo>
                  <a:cubicBezTo>
                    <a:pt x="56655" y="24486"/>
                    <a:pt x="56198" y="23990"/>
                    <a:pt x="55766" y="23482"/>
                  </a:cubicBezTo>
                  <a:cubicBezTo>
                    <a:pt x="55321" y="22974"/>
                    <a:pt x="54890" y="22479"/>
                    <a:pt x="54445" y="21984"/>
                  </a:cubicBezTo>
                  <a:cubicBezTo>
                    <a:pt x="54000" y="21476"/>
                    <a:pt x="53569" y="20993"/>
                    <a:pt x="53112" y="20511"/>
                  </a:cubicBezTo>
                  <a:cubicBezTo>
                    <a:pt x="52223" y="19558"/>
                    <a:pt x="51333" y="18618"/>
                    <a:pt x="50457" y="17678"/>
                  </a:cubicBezTo>
                  <a:cubicBezTo>
                    <a:pt x="49594" y="16764"/>
                    <a:pt x="48692" y="15888"/>
                    <a:pt x="47828" y="15024"/>
                  </a:cubicBezTo>
                  <a:cubicBezTo>
                    <a:pt x="46965" y="14161"/>
                    <a:pt x="46114" y="13297"/>
                    <a:pt x="45250" y="12510"/>
                  </a:cubicBezTo>
                  <a:cubicBezTo>
                    <a:pt x="44412" y="11722"/>
                    <a:pt x="43587" y="10947"/>
                    <a:pt x="42774" y="10198"/>
                  </a:cubicBezTo>
                  <a:cubicBezTo>
                    <a:pt x="41986" y="9449"/>
                    <a:pt x="41173" y="8763"/>
                    <a:pt x="40412" y="8090"/>
                  </a:cubicBezTo>
                  <a:cubicBezTo>
                    <a:pt x="39650" y="7430"/>
                    <a:pt x="38913" y="6795"/>
                    <a:pt x="38227" y="6185"/>
                  </a:cubicBezTo>
                  <a:cubicBezTo>
                    <a:pt x="37503" y="5588"/>
                    <a:pt x="36830" y="5029"/>
                    <a:pt x="36195" y="4509"/>
                  </a:cubicBezTo>
                  <a:cubicBezTo>
                    <a:pt x="35560" y="3988"/>
                    <a:pt x="34963" y="3493"/>
                    <a:pt x="34417" y="3048"/>
                  </a:cubicBezTo>
                  <a:cubicBezTo>
                    <a:pt x="33858" y="2591"/>
                    <a:pt x="33338" y="2210"/>
                    <a:pt x="32880" y="1842"/>
                  </a:cubicBezTo>
                  <a:cubicBezTo>
                    <a:pt x="32195" y="1321"/>
                    <a:pt x="31623" y="876"/>
                    <a:pt x="31166" y="533"/>
                  </a:cubicBezTo>
                  <a:cubicBezTo>
                    <a:pt x="30467" y="0"/>
                    <a:pt x="29477" y="114"/>
                    <a:pt x="28918" y="788"/>
                  </a:cubicBezTo>
                  <a:lnTo>
                    <a:pt x="533" y="35154"/>
                  </a:lnTo>
                  <a:cubicBezTo>
                    <a:pt x="0" y="35789"/>
                    <a:pt x="64" y="36741"/>
                    <a:pt x="635" y="37325"/>
                  </a:cubicBezTo>
                  <a:cubicBezTo>
                    <a:pt x="876" y="37567"/>
                    <a:pt x="1156" y="37846"/>
                    <a:pt x="1461" y="38151"/>
                  </a:cubicBezTo>
                  <a:cubicBezTo>
                    <a:pt x="1765" y="38443"/>
                    <a:pt x="2096" y="38760"/>
                    <a:pt x="2438" y="39116"/>
                  </a:cubicBezTo>
                  <a:cubicBezTo>
                    <a:pt x="2781" y="39497"/>
                    <a:pt x="3162" y="39891"/>
                    <a:pt x="3569" y="40310"/>
                  </a:cubicBezTo>
                  <a:cubicBezTo>
                    <a:pt x="3962" y="40729"/>
                    <a:pt x="4394" y="41174"/>
                    <a:pt x="4839" y="41656"/>
                  </a:cubicBezTo>
                  <a:cubicBezTo>
                    <a:pt x="5271" y="42139"/>
                    <a:pt x="5728" y="42659"/>
                    <a:pt x="6210" y="43193"/>
                  </a:cubicBezTo>
                  <a:cubicBezTo>
                    <a:pt x="6680" y="43726"/>
                    <a:pt x="7188" y="44272"/>
                    <a:pt x="7684" y="44869"/>
                  </a:cubicBezTo>
                  <a:cubicBezTo>
                    <a:pt x="8192" y="45466"/>
                    <a:pt x="8687" y="46063"/>
                    <a:pt x="9208" y="46698"/>
                  </a:cubicBezTo>
                  <a:cubicBezTo>
                    <a:pt x="9754" y="47320"/>
                    <a:pt x="10249" y="47993"/>
                    <a:pt x="10782" y="48666"/>
                  </a:cubicBezTo>
                  <a:cubicBezTo>
                    <a:pt x="11303" y="49352"/>
                    <a:pt x="11862" y="50025"/>
                    <a:pt x="12383" y="50749"/>
                  </a:cubicBezTo>
                  <a:cubicBezTo>
                    <a:pt x="12916" y="51473"/>
                    <a:pt x="13437" y="52197"/>
                    <a:pt x="13983" y="52946"/>
                  </a:cubicBezTo>
                  <a:cubicBezTo>
                    <a:pt x="14262" y="53302"/>
                    <a:pt x="14516" y="53683"/>
                    <a:pt x="14783" y="54064"/>
                  </a:cubicBezTo>
                  <a:cubicBezTo>
                    <a:pt x="15037" y="54458"/>
                    <a:pt x="15291" y="54839"/>
                    <a:pt x="15558" y="55232"/>
                  </a:cubicBezTo>
                  <a:cubicBezTo>
                    <a:pt x="15824" y="55613"/>
                    <a:pt x="16078" y="55994"/>
                    <a:pt x="16358" y="56388"/>
                  </a:cubicBezTo>
                  <a:cubicBezTo>
                    <a:pt x="16624" y="56782"/>
                    <a:pt x="16853" y="57188"/>
                    <a:pt x="17107" y="57582"/>
                  </a:cubicBezTo>
                  <a:cubicBezTo>
                    <a:pt x="17615" y="58369"/>
                    <a:pt x="18123" y="59169"/>
                    <a:pt x="18618" y="59970"/>
                  </a:cubicBezTo>
                  <a:cubicBezTo>
                    <a:pt x="19101" y="60782"/>
                    <a:pt x="19583" y="61595"/>
                    <a:pt x="20079" y="62408"/>
                  </a:cubicBezTo>
                  <a:lnTo>
                    <a:pt x="20422" y="63017"/>
                  </a:lnTo>
                  <a:lnTo>
                    <a:pt x="20765" y="63640"/>
                  </a:lnTo>
                  <a:cubicBezTo>
                    <a:pt x="20981" y="64046"/>
                    <a:pt x="21209" y="64453"/>
                    <a:pt x="21425" y="64859"/>
                  </a:cubicBezTo>
                  <a:cubicBezTo>
                    <a:pt x="22352" y="66472"/>
                    <a:pt x="23127" y="68135"/>
                    <a:pt x="23940" y="69684"/>
                  </a:cubicBezTo>
                  <a:cubicBezTo>
                    <a:pt x="24308" y="70497"/>
                    <a:pt x="24676" y="71284"/>
                    <a:pt x="25045" y="72046"/>
                  </a:cubicBezTo>
                  <a:cubicBezTo>
                    <a:pt x="25222" y="72440"/>
                    <a:pt x="25400" y="72808"/>
                    <a:pt x="25565" y="73189"/>
                  </a:cubicBezTo>
                  <a:cubicBezTo>
                    <a:pt x="25730" y="73570"/>
                    <a:pt x="25895" y="73938"/>
                    <a:pt x="26048" y="74320"/>
                  </a:cubicBezTo>
                  <a:cubicBezTo>
                    <a:pt x="26378" y="75056"/>
                    <a:pt x="26670" y="75767"/>
                    <a:pt x="26975" y="76466"/>
                  </a:cubicBezTo>
                  <a:cubicBezTo>
                    <a:pt x="27254" y="77177"/>
                    <a:pt x="27521" y="77850"/>
                    <a:pt x="27775" y="78510"/>
                  </a:cubicBezTo>
                  <a:cubicBezTo>
                    <a:pt x="27915" y="78841"/>
                    <a:pt x="28029" y="79158"/>
                    <a:pt x="28143" y="79463"/>
                  </a:cubicBezTo>
                  <a:cubicBezTo>
                    <a:pt x="28258" y="79781"/>
                    <a:pt x="28410" y="80111"/>
                    <a:pt x="28486" y="80365"/>
                  </a:cubicBezTo>
                  <a:cubicBezTo>
                    <a:pt x="28664" y="80898"/>
                    <a:pt x="28842" y="81393"/>
                    <a:pt x="29007" y="81876"/>
                  </a:cubicBezTo>
                  <a:cubicBezTo>
                    <a:pt x="29172" y="82346"/>
                    <a:pt x="29324" y="82790"/>
                    <a:pt x="29477" y="83197"/>
                  </a:cubicBezTo>
                  <a:cubicBezTo>
                    <a:pt x="29655" y="83756"/>
                    <a:pt x="29832" y="84276"/>
                    <a:pt x="29985" y="84734"/>
                  </a:cubicBezTo>
                  <a:cubicBezTo>
                    <a:pt x="30163" y="85267"/>
                    <a:pt x="30315" y="85737"/>
                    <a:pt x="30442" y="86118"/>
                  </a:cubicBezTo>
                  <a:cubicBezTo>
                    <a:pt x="30747" y="87007"/>
                    <a:pt x="31725" y="87464"/>
                    <a:pt x="32601" y="87108"/>
                  </a:cubicBezTo>
                  <a:close/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8" name="Freeform 682"/>
            <p:cNvSpPr/>
            <p:nvPr/>
          </p:nvSpPr>
          <p:spPr>
            <a:xfrm>
              <a:off x="4183494" y="3050210"/>
              <a:ext cx="85993" cy="57441"/>
            </a:xfrm>
            <a:custGeom>
              <a:avLst/>
              <a:gdLst/>
              <a:ahLst/>
              <a:cxnLst/>
              <a:rect l="0" t="0" r="0" b="0"/>
              <a:pathLst>
                <a:path w="77266" h="51612">
                  <a:moveTo>
                    <a:pt x="59461" y="36461"/>
                  </a:moveTo>
                  <a:cubicBezTo>
                    <a:pt x="59918" y="36398"/>
                    <a:pt x="60350" y="36322"/>
                    <a:pt x="60794" y="36284"/>
                  </a:cubicBezTo>
                  <a:cubicBezTo>
                    <a:pt x="61239" y="36233"/>
                    <a:pt x="61683" y="36195"/>
                    <a:pt x="62115" y="36144"/>
                  </a:cubicBezTo>
                  <a:cubicBezTo>
                    <a:pt x="62966" y="36055"/>
                    <a:pt x="63817" y="35979"/>
                    <a:pt x="64629" y="35890"/>
                  </a:cubicBezTo>
                  <a:cubicBezTo>
                    <a:pt x="65429" y="35826"/>
                    <a:pt x="66217" y="35776"/>
                    <a:pt x="66979" y="35738"/>
                  </a:cubicBezTo>
                  <a:cubicBezTo>
                    <a:pt x="67347" y="35700"/>
                    <a:pt x="67715" y="35687"/>
                    <a:pt x="68071" y="35649"/>
                  </a:cubicBezTo>
                  <a:cubicBezTo>
                    <a:pt x="68439" y="35623"/>
                    <a:pt x="68795" y="35598"/>
                    <a:pt x="69100" y="35598"/>
                  </a:cubicBezTo>
                  <a:cubicBezTo>
                    <a:pt x="69748" y="35585"/>
                    <a:pt x="70344" y="35572"/>
                    <a:pt x="70903" y="35547"/>
                  </a:cubicBezTo>
                  <a:cubicBezTo>
                    <a:pt x="71475" y="35534"/>
                    <a:pt x="71995" y="35522"/>
                    <a:pt x="72491" y="35496"/>
                  </a:cubicBezTo>
                  <a:cubicBezTo>
                    <a:pt x="73088" y="35496"/>
                    <a:pt x="73646" y="35496"/>
                    <a:pt x="74142" y="35496"/>
                  </a:cubicBezTo>
                  <a:cubicBezTo>
                    <a:pt x="74688" y="35484"/>
                    <a:pt x="75183" y="35484"/>
                    <a:pt x="75589" y="35484"/>
                  </a:cubicBezTo>
                  <a:cubicBezTo>
                    <a:pt x="76529" y="35471"/>
                    <a:pt x="77266" y="34683"/>
                    <a:pt x="77202" y="33756"/>
                  </a:cubicBezTo>
                  <a:lnTo>
                    <a:pt x="75094" y="1625"/>
                  </a:lnTo>
                  <a:cubicBezTo>
                    <a:pt x="75043" y="686"/>
                    <a:pt x="74205" y="0"/>
                    <a:pt x="73278" y="114"/>
                  </a:cubicBezTo>
                  <a:cubicBezTo>
                    <a:pt x="72859" y="165"/>
                    <a:pt x="72376" y="228"/>
                    <a:pt x="71830" y="292"/>
                  </a:cubicBezTo>
                  <a:cubicBezTo>
                    <a:pt x="71335" y="355"/>
                    <a:pt x="70763" y="432"/>
                    <a:pt x="70167" y="508"/>
                  </a:cubicBezTo>
                  <a:cubicBezTo>
                    <a:pt x="69443" y="622"/>
                    <a:pt x="68668" y="736"/>
                    <a:pt x="67830" y="863"/>
                  </a:cubicBezTo>
                  <a:cubicBezTo>
                    <a:pt x="66992" y="978"/>
                    <a:pt x="66115" y="1117"/>
                    <a:pt x="65188" y="1257"/>
                  </a:cubicBezTo>
                  <a:cubicBezTo>
                    <a:pt x="64706" y="1321"/>
                    <a:pt x="64274" y="1410"/>
                    <a:pt x="63804" y="1511"/>
                  </a:cubicBezTo>
                  <a:cubicBezTo>
                    <a:pt x="63347" y="1587"/>
                    <a:pt x="62877" y="1676"/>
                    <a:pt x="62407" y="1778"/>
                  </a:cubicBezTo>
                  <a:cubicBezTo>
                    <a:pt x="61442" y="1956"/>
                    <a:pt x="60438" y="2146"/>
                    <a:pt x="59411" y="2349"/>
                  </a:cubicBezTo>
                  <a:cubicBezTo>
                    <a:pt x="58382" y="2591"/>
                    <a:pt x="57328" y="2819"/>
                    <a:pt x="56236" y="3073"/>
                  </a:cubicBezTo>
                  <a:cubicBezTo>
                    <a:pt x="55690" y="3200"/>
                    <a:pt x="55143" y="3327"/>
                    <a:pt x="54585" y="3454"/>
                  </a:cubicBezTo>
                  <a:cubicBezTo>
                    <a:pt x="54026" y="3581"/>
                    <a:pt x="53467" y="3734"/>
                    <a:pt x="52896" y="3886"/>
                  </a:cubicBezTo>
                  <a:cubicBezTo>
                    <a:pt x="51765" y="4191"/>
                    <a:pt x="50610" y="4496"/>
                    <a:pt x="49441" y="4813"/>
                  </a:cubicBezTo>
                  <a:cubicBezTo>
                    <a:pt x="48273" y="5169"/>
                    <a:pt x="47092" y="5524"/>
                    <a:pt x="45898" y="5880"/>
                  </a:cubicBezTo>
                  <a:cubicBezTo>
                    <a:pt x="45301" y="6070"/>
                    <a:pt x="44691" y="6235"/>
                    <a:pt x="44094" y="6426"/>
                  </a:cubicBezTo>
                  <a:cubicBezTo>
                    <a:pt x="43498" y="6642"/>
                    <a:pt x="42901" y="6845"/>
                    <a:pt x="42291" y="7048"/>
                  </a:cubicBezTo>
                  <a:cubicBezTo>
                    <a:pt x="41694" y="7264"/>
                    <a:pt x="41085" y="7455"/>
                    <a:pt x="40488" y="7671"/>
                  </a:cubicBezTo>
                  <a:cubicBezTo>
                    <a:pt x="39878" y="7886"/>
                    <a:pt x="39268" y="8077"/>
                    <a:pt x="38672" y="8318"/>
                  </a:cubicBezTo>
                  <a:cubicBezTo>
                    <a:pt x="37478" y="8775"/>
                    <a:pt x="36271" y="9233"/>
                    <a:pt x="35065" y="9690"/>
                  </a:cubicBezTo>
                  <a:cubicBezTo>
                    <a:pt x="33871" y="10173"/>
                    <a:pt x="32677" y="10681"/>
                    <a:pt x="31509" y="11176"/>
                  </a:cubicBezTo>
                  <a:cubicBezTo>
                    <a:pt x="30912" y="11430"/>
                    <a:pt x="30315" y="11671"/>
                    <a:pt x="29731" y="11925"/>
                  </a:cubicBezTo>
                  <a:cubicBezTo>
                    <a:pt x="29159" y="12205"/>
                    <a:pt x="28575" y="12459"/>
                    <a:pt x="28016" y="12738"/>
                  </a:cubicBezTo>
                  <a:cubicBezTo>
                    <a:pt x="27432" y="12992"/>
                    <a:pt x="26861" y="13259"/>
                    <a:pt x="26289" y="13525"/>
                  </a:cubicBezTo>
                  <a:cubicBezTo>
                    <a:pt x="25730" y="13792"/>
                    <a:pt x="25159" y="14046"/>
                    <a:pt x="24613" y="14325"/>
                  </a:cubicBezTo>
                  <a:cubicBezTo>
                    <a:pt x="23508" y="14897"/>
                    <a:pt x="22416" y="15443"/>
                    <a:pt x="21349" y="15976"/>
                  </a:cubicBezTo>
                  <a:cubicBezTo>
                    <a:pt x="20269" y="16522"/>
                    <a:pt x="19253" y="17107"/>
                    <a:pt x="18237" y="17653"/>
                  </a:cubicBezTo>
                  <a:cubicBezTo>
                    <a:pt x="17221" y="18212"/>
                    <a:pt x="16231" y="18745"/>
                    <a:pt x="15291" y="19316"/>
                  </a:cubicBezTo>
                  <a:cubicBezTo>
                    <a:pt x="14351" y="19875"/>
                    <a:pt x="13424" y="20421"/>
                    <a:pt x="12548" y="20942"/>
                  </a:cubicBezTo>
                  <a:cubicBezTo>
                    <a:pt x="11659" y="21476"/>
                    <a:pt x="10833" y="22022"/>
                    <a:pt x="10020" y="22530"/>
                  </a:cubicBezTo>
                  <a:cubicBezTo>
                    <a:pt x="9220" y="23050"/>
                    <a:pt x="8458" y="23533"/>
                    <a:pt x="7722" y="24015"/>
                  </a:cubicBezTo>
                  <a:cubicBezTo>
                    <a:pt x="6998" y="24498"/>
                    <a:pt x="6325" y="24968"/>
                    <a:pt x="5690" y="25400"/>
                  </a:cubicBezTo>
                  <a:cubicBezTo>
                    <a:pt x="5042" y="25844"/>
                    <a:pt x="4445" y="26251"/>
                    <a:pt x="3899" y="26632"/>
                  </a:cubicBezTo>
                  <a:cubicBezTo>
                    <a:pt x="3340" y="27013"/>
                    <a:pt x="2858" y="27394"/>
                    <a:pt x="2413" y="27711"/>
                  </a:cubicBezTo>
                  <a:cubicBezTo>
                    <a:pt x="1816" y="28168"/>
                    <a:pt x="1283" y="28549"/>
                    <a:pt x="864" y="28867"/>
                  </a:cubicBezTo>
                  <a:cubicBezTo>
                    <a:pt x="165" y="29375"/>
                    <a:pt x="0" y="30353"/>
                    <a:pt x="495" y="31077"/>
                  </a:cubicBezTo>
                  <a:lnTo>
                    <a:pt x="13830" y="50697"/>
                  </a:lnTo>
                  <a:cubicBezTo>
                    <a:pt x="14313" y="51383"/>
                    <a:pt x="15227" y="51612"/>
                    <a:pt x="15977" y="51192"/>
                  </a:cubicBezTo>
                  <a:cubicBezTo>
                    <a:pt x="16307" y="51002"/>
                    <a:pt x="16701" y="50773"/>
                    <a:pt x="17171" y="50519"/>
                  </a:cubicBezTo>
                  <a:cubicBezTo>
                    <a:pt x="17564" y="50304"/>
                    <a:pt x="17996" y="50037"/>
                    <a:pt x="18479" y="49783"/>
                  </a:cubicBezTo>
                  <a:cubicBezTo>
                    <a:pt x="18961" y="49529"/>
                    <a:pt x="19495" y="49262"/>
                    <a:pt x="20053" y="48970"/>
                  </a:cubicBezTo>
                  <a:cubicBezTo>
                    <a:pt x="20612" y="48678"/>
                    <a:pt x="21209" y="48360"/>
                    <a:pt x="21831" y="48030"/>
                  </a:cubicBezTo>
                  <a:cubicBezTo>
                    <a:pt x="22479" y="47725"/>
                    <a:pt x="23152" y="47408"/>
                    <a:pt x="23851" y="47078"/>
                  </a:cubicBezTo>
                  <a:cubicBezTo>
                    <a:pt x="24549" y="46735"/>
                    <a:pt x="25260" y="46366"/>
                    <a:pt x="26035" y="46036"/>
                  </a:cubicBezTo>
                  <a:cubicBezTo>
                    <a:pt x="26797" y="45706"/>
                    <a:pt x="27585" y="45350"/>
                    <a:pt x="28410" y="44995"/>
                  </a:cubicBezTo>
                  <a:cubicBezTo>
                    <a:pt x="29210" y="44627"/>
                    <a:pt x="30061" y="44309"/>
                    <a:pt x="30925" y="43953"/>
                  </a:cubicBezTo>
                  <a:cubicBezTo>
                    <a:pt x="31788" y="43623"/>
                    <a:pt x="32652" y="43242"/>
                    <a:pt x="33566" y="42925"/>
                  </a:cubicBezTo>
                  <a:cubicBezTo>
                    <a:pt x="34468" y="42595"/>
                    <a:pt x="35395" y="42264"/>
                    <a:pt x="36322" y="41922"/>
                  </a:cubicBezTo>
                  <a:cubicBezTo>
                    <a:pt x="36779" y="41756"/>
                    <a:pt x="37262" y="41604"/>
                    <a:pt x="37732" y="41452"/>
                  </a:cubicBezTo>
                  <a:cubicBezTo>
                    <a:pt x="38214" y="41299"/>
                    <a:pt x="38697" y="41147"/>
                    <a:pt x="39180" y="40994"/>
                  </a:cubicBezTo>
                  <a:cubicBezTo>
                    <a:pt x="39650" y="40842"/>
                    <a:pt x="40132" y="40677"/>
                    <a:pt x="40615" y="40524"/>
                  </a:cubicBezTo>
                  <a:cubicBezTo>
                    <a:pt x="41097" y="40385"/>
                    <a:pt x="41593" y="40245"/>
                    <a:pt x="42075" y="40105"/>
                  </a:cubicBezTo>
                  <a:cubicBezTo>
                    <a:pt x="43066" y="39839"/>
                    <a:pt x="44031" y="39534"/>
                    <a:pt x="45022" y="39280"/>
                  </a:cubicBezTo>
                  <a:cubicBezTo>
                    <a:pt x="46012" y="39039"/>
                    <a:pt x="47003" y="38797"/>
                    <a:pt x="47993" y="38543"/>
                  </a:cubicBezTo>
                  <a:cubicBezTo>
                    <a:pt x="48476" y="38416"/>
                    <a:pt x="48971" y="38315"/>
                    <a:pt x="49467" y="38213"/>
                  </a:cubicBezTo>
                  <a:cubicBezTo>
                    <a:pt x="49949" y="38111"/>
                    <a:pt x="50445" y="38010"/>
                    <a:pt x="50927" y="37908"/>
                  </a:cubicBezTo>
                  <a:cubicBezTo>
                    <a:pt x="51422" y="37794"/>
                    <a:pt x="51918" y="37692"/>
                    <a:pt x="52400" y="37591"/>
                  </a:cubicBezTo>
                  <a:cubicBezTo>
                    <a:pt x="52883" y="37489"/>
                    <a:pt x="53378" y="37426"/>
                    <a:pt x="53848" y="37337"/>
                  </a:cubicBezTo>
                  <a:cubicBezTo>
                    <a:pt x="54813" y="37172"/>
                    <a:pt x="55753" y="37007"/>
                    <a:pt x="56693" y="36841"/>
                  </a:cubicBezTo>
                  <a:cubicBezTo>
                    <a:pt x="57633" y="36714"/>
                    <a:pt x="58560" y="36587"/>
                    <a:pt x="59461" y="36461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39" name="Picture 684"/>
            <p:cNvPicPr>
              <a:picLocks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101966" y="3168066"/>
              <a:ext cx="47794" cy="97801"/>
            </a:xfrm>
            <a:prstGeom prst="rect">
              <a:avLst/>
            </a:prstGeom>
            <a:noFill/>
            <a:extLst/>
          </p:spPr>
        </p:pic>
        <p:sp>
          <p:nvSpPr>
            <p:cNvPr id="440" name="Freeform 685"/>
            <p:cNvSpPr/>
            <p:nvPr/>
          </p:nvSpPr>
          <p:spPr>
            <a:xfrm>
              <a:off x="4124516" y="3094163"/>
              <a:ext cx="64042" cy="79039"/>
            </a:xfrm>
            <a:custGeom>
              <a:avLst/>
              <a:gdLst/>
              <a:ahLst/>
              <a:cxnLst/>
              <a:rect l="0" t="0" r="0" b="0"/>
              <a:pathLst>
                <a:path w="57543" h="71018">
                  <a:moveTo>
                    <a:pt x="21526" y="22263"/>
                  </a:moveTo>
                  <a:cubicBezTo>
                    <a:pt x="21171" y="22758"/>
                    <a:pt x="20815" y="23253"/>
                    <a:pt x="20472" y="23748"/>
                  </a:cubicBezTo>
                  <a:cubicBezTo>
                    <a:pt x="20130" y="24256"/>
                    <a:pt x="19774" y="24752"/>
                    <a:pt x="19406" y="25260"/>
                  </a:cubicBezTo>
                  <a:cubicBezTo>
                    <a:pt x="19063" y="25755"/>
                    <a:pt x="18733" y="26288"/>
                    <a:pt x="18390" y="26796"/>
                  </a:cubicBezTo>
                  <a:cubicBezTo>
                    <a:pt x="17716" y="27825"/>
                    <a:pt x="17018" y="28854"/>
                    <a:pt x="16358" y="29895"/>
                  </a:cubicBezTo>
                  <a:cubicBezTo>
                    <a:pt x="15710" y="30949"/>
                    <a:pt x="15062" y="32003"/>
                    <a:pt x="14414" y="33058"/>
                  </a:cubicBezTo>
                  <a:lnTo>
                    <a:pt x="13932" y="33845"/>
                  </a:lnTo>
                  <a:lnTo>
                    <a:pt x="13487" y="34632"/>
                  </a:lnTo>
                  <a:cubicBezTo>
                    <a:pt x="13183" y="35166"/>
                    <a:pt x="12878" y="35699"/>
                    <a:pt x="12573" y="36220"/>
                  </a:cubicBezTo>
                  <a:cubicBezTo>
                    <a:pt x="11341" y="38315"/>
                    <a:pt x="10274" y="40449"/>
                    <a:pt x="9182" y="42481"/>
                  </a:cubicBezTo>
                  <a:cubicBezTo>
                    <a:pt x="8687" y="43522"/>
                    <a:pt x="8192" y="44538"/>
                    <a:pt x="7696" y="45542"/>
                  </a:cubicBezTo>
                  <a:cubicBezTo>
                    <a:pt x="7455" y="46037"/>
                    <a:pt x="7214" y="46532"/>
                    <a:pt x="6985" y="47015"/>
                  </a:cubicBezTo>
                  <a:cubicBezTo>
                    <a:pt x="6756" y="47497"/>
                    <a:pt x="6541" y="48005"/>
                    <a:pt x="6325" y="48475"/>
                  </a:cubicBezTo>
                  <a:cubicBezTo>
                    <a:pt x="5893" y="49441"/>
                    <a:pt x="5474" y="50380"/>
                    <a:pt x="5055" y="51282"/>
                  </a:cubicBezTo>
                  <a:cubicBezTo>
                    <a:pt x="4686" y="52184"/>
                    <a:pt x="4318" y="53073"/>
                    <a:pt x="3962" y="53924"/>
                  </a:cubicBezTo>
                  <a:cubicBezTo>
                    <a:pt x="3620" y="54774"/>
                    <a:pt x="3277" y="55587"/>
                    <a:pt x="2972" y="56375"/>
                  </a:cubicBezTo>
                  <a:cubicBezTo>
                    <a:pt x="2680" y="57149"/>
                    <a:pt x="2400" y="57886"/>
                    <a:pt x="2146" y="58584"/>
                  </a:cubicBezTo>
                  <a:cubicBezTo>
                    <a:pt x="1880" y="59283"/>
                    <a:pt x="1638" y="59943"/>
                    <a:pt x="1410" y="60540"/>
                  </a:cubicBezTo>
                  <a:cubicBezTo>
                    <a:pt x="1206" y="61150"/>
                    <a:pt x="1016" y="61709"/>
                    <a:pt x="851" y="62217"/>
                  </a:cubicBezTo>
                  <a:cubicBezTo>
                    <a:pt x="622" y="62877"/>
                    <a:pt x="432" y="63449"/>
                    <a:pt x="279" y="63918"/>
                  </a:cubicBezTo>
                  <a:cubicBezTo>
                    <a:pt x="0" y="64744"/>
                    <a:pt x="419" y="65633"/>
                    <a:pt x="1232" y="65951"/>
                  </a:cubicBezTo>
                  <a:lnTo>
                    <a:pt x="13652" y="70713"/>
                  </a:lnTo>
                  <a:cubicBezTo>
                    <a:pt x="14440" y="71018"/>
                    <a:pt x="15329" y="70662"/>
                    <a:pt x="15697" y="69900"/>
                  </a:cubicBezTo>
                  <a:cubicBezTo>
                    <a:pt x="15875" y="69519"/>
                    <a:pt x="16091" y="69062"/>
                    <a:pt x="16332" y="68541"/>
                  </a:cubicBezTo>
                  <a:cubicBezTo>
                    <a:pt x="16548" y="68122"/>
                    <a:pt x="16777" y="67652"/>
                    <a:pt x="17018" y="67132"/>
                  </a:cubicBezTo>
                  <a:cubicBezTo>
                    <a:pt x="17285" y="66624"/>
                    <a:pt x="17577" y="66065"/>
                    <a:pt x="17882" y="65481"/>
                  </a:cubicBezTo>
                  <a:cubicBezTo>
                    <a:pt x="18186" y="64896"/>
                    <a:pt x="18504" y="64274"/>
                    <a:pt x="18847" y="63614"/>
                  </a:cubicBezTo>
                  <a:cubicBezTo>
                    <a:pt x="19190" y="62953"/>
                    <a:pt x="19583" y="62280"/>
                    <a:pt x="19977" y="61569"/>
                  </a:cubicBezTo>
                  <a:cubicBezTo>
                    <a:pt x="20383" y="60858"/>
                    <a:pt x="20790" y="60121"/>
                    <a:pt x="21222" y="59359"/>
                  </a:cubicBezTo>
                  <a:cubicBezTo>
                    <a:pt x="21678" y="58610"/>
                    <a:pt x="22135" y="57835"/>
                    <a:pt x="22630" y="57048"/>
                  </a:cubicBezTo>
                  <a:cubicBezTo>
                    <a:pt x="22859" y="56641"/>
                    <a:pt x="23100" y="56235"/>
                    <a:pt x="23354" y="55841"/>
                  </a:cubicBezTo>
                  <a:cubicBezTo>
                    <a:pt x="23596" y="55435"/>
                    <a:pt x="23862" y="55028"/>
                    <a:pt x="24142" y="54622"/>
                  </a:cubicBezTo>
                  <a:cubicBezTo>
                    <a:pt x="24662" y="53809"/>
                    <a:pt x="25196" y="52971"/>
                    <a:pt x="25755" y="52120"/>
                  </a:cubicBezTo>
                  <a:cubicBezTo>
                    <a:pt x="26923" y="50469"/>
                    <a:pt x="28053" y="48729"/>
                    <a:pt x="29349" y="47053"/>
                  </a:cubicBezTo>
                  <a:cubicBezTo>
                    <a:pt x="29666" y="46621"/>
                    <a:pt x="29984" y="46189"/>
                    <a:pt x="30301" y="45770"/>
                  </a:cubicBezTo>
                  <a:lnTo>
                    <a:pt x="30784" y="45122"/>
                  </a:lnTo>
                  <a:lnTo>
                    <a:pt x="31279" y="44500"/>
                  </a:lnTo>
                  <a:cubicBezTo>
                    <a:pt x="31939" y="43662"/>
                    <a:pt x="32600" y="42824"/>
                    <a:pt x="33273" y="41986"/>
                  </a:cubicBezTo>
                  <a:cubicBezTo>
                    <a:pt x="33959" y="41160"/>
                    <a:pt x="34657" y="40347"/>
                    <a:pt x="35343" y="39535"/>
                  </a:cubicBezTo>
                  <a:cubicBezTo>
                    <a:pt x="35686" y="39141"/>
                    <a:pt x="36016" y="38722"/>
                    <a:pt x="36372" y="38328"/>
                  </a:cubicBezTo>
                  <a:cubicBezTo>
                    <a:pt x="36727" y="37934"/>
                    <a:pt x="37083" y="37541"/>
                    <a:pt x="37439" y="37160"/>
                  </a:cubicBezTo>
                  <a:cubicBezTo>
                    <a:pt x="37794" y="36766"/>
                    <a:pt x="38137" y="36372"/>
                    <a:pt x="38493" y="35991"/>
                  </a:cubicBezTo>
                  <a:cubicBezTo>
                    <a:pt x="38836" y="35597"/>
                    <a:pt x="39191" y="35216"/>
                    <a:pt x="39547" y="34861"/>
                  </a:cubicBezTo>
                  <a:cubicBezTo>
                    <a:pt x="40258" y="34124"/>
                    <a:pt x="40956" y="33388"/>
                    <a:pt x="41668" y="32664"/>
                  </a:cubicBezTo>
                  <a:cubicBezTo>
                    <a:pt x="42353" y="31953"/>
                    <a:pt x="43065" y="31292"/>
                    <a:pt x="43751" y="30619"/>
                  </a:cubicBezTo>
                  <a:cubicBezTo>
                    <a:pt x="44449" y="29946"/>
                    <a:pt x="45097" y="29286"/>
                    <a:pt x="45782" y="28689"/>
                  </a:cubicBezTo>
                  <a:cubicBezTo>
                    <a:pt x="46468" y="28079"/>
                    <a:pt x="47116" y="27482"/>
                    <a:pt x="47751" y="26911"/>
                  </a:cubicBezTo>
                  <a:cubicBezTo>
                    <a:pt x="48386" y="26314"/>
                    <a:pt x="49021" y="25806"/>
                    <a:pt x="49631" y="25285"/>
                  </a:cubicBezTo>
                  <a:cubicBezTo>
                    <a:pt x="50227" y="24777"/>
                    <a:pt x="50799" y="24282"/>
                    <a:pt x="51345" y="23812"/>
                  </a:cubicBezTo>
                  <a:cubicBezTo>
                    <a:pt x="51891" y="23393"/>
                    <a:pt x="52399" y="22986"/>
                    <a:pt x="52882" y="22605"/>
                  </a:cubicBezTo>
                  <a:cubicBezTo>
                    <a:pt x="53364" y="22225"/>
                    <a:pt x="53809" y="21870"/>
                    <a:pt x="54215" y="21540"/>
                  </a:cubicBezTo>
                  <a:cubicBezTo>
                    <a:pt x="54406" y="21374"/>
                    <a:pt x="54660" y="21184"/>
                    <a:pt x="54888" y="21032"/>
                  </a:cubicBezTo>
                  <a:cubicBezTo>
                    <a:pt x="55104" y="20867"/>
                    <a:pt x="55320" y="20701"/>
                    <a:pt x="55523" y="20549"/>
                  </a:cubicBezTo>
                  <a:cubicBezTo>
                    <a:pt x="55955" y="20219"/>
                    <a:pt x="56349" y="19927"/>
                    <a:pt x="56692" y="19673"/>
                  </a:cubicBezTo>
                  <a:cubicBezTo>
                    <a:pt x="57428" y="19114"/>
                    <a:pt x="57543" y="18034"/>
                    <a:pt x="56933" y="17323"/>
                  </a:cubicBezTo>
                  <a:lnTo>
                    <a:pt x="42798" y="762"/>
                  </a:lnTo>
                  <a:cubicBezTo>
                    <a:pt x="42188" y="51"/>
                    <a:pt x="41109" y="0"/>
                    <a:pt x="40436" y="635"/>
                  </a:cubicBezTo>
                  <a:cubicBezTo>
                    <a:pt x="40144" y="940"/>
                    <a:pt x="39788" y="1270"/>
                    <a:pt x="39382" y="1651"/>
                  </a:cubicBezTo>
                  <a:cubicBezTo>
                    <a:pt x="39204" y="1829"/>
                    <a:pt x="39013" y="2007"/>
                    <a:pt x="38823" y="2197"/>
                  </a:cubicBezTo>
                  <a:cubicBezTo>
                    <a:pt x="38607" y="2401"/>
                    <a:pt x="38417" y="2591"/>
                    <a:pt x="38162" y="2833"/>
                  </a:cubicBezTo>
                  <a:cubicBezTo>
                    <a:pt x="37680" y="3340"/>
                    <a:pt x="37159" y="3861"/>
                    <a:pt x="36588" y="4420"/>
                  </a:cubicBezTo>
                  <a:cubicBezTo>
                    <a:pt x="36042" y="4991"/>
                    <a:pt x="35445" y="5588"/>
                    <a:pt x="34822" y="6223"/>
                  </a:cubicBezTo>
                  <a:cubicBezTo>
                    <a:pt x="34238" y="6858"/>
                    <a:pt x="33616" y="7519"/>
                    <a:pt x="32994" y="8205"/>
                  </a:cubicBezTo>
                  <a:cubicBezTo>
                    <a:pt x="32359" y="8903"/>
                    <a:pt x="31686" y="9602"/>
                    <a:pt x="31025" y="10376"/>
                  </a:cubicBezTo>
                  <a:cubicBezTo>
                    <a:pt x="30365" y="11138"/>
                    <a:pt x="29679" y="11926"/>
                    <a:pt x="28980" y="12738"/>
                  </a:cubicBezTo>
                  <a:cubicBezTo>
                    <a:pt x="28269" y="13551"/>
                    <a:pt x="27583" y="14415"/>
                    <a:pt x="26885" y="15278"/>
                  </a:cubicBezTo>
                  <a:cubicBezTo>
                    <a:pt x="26174" y="16155"/>
                    <a:pt x="25437" y="17044"/>
                    <a:pt x="24739" y="17971"/>
                  </a:cubicBezTo>
                  <a:cubicBezTo>
                    <a:pt x="24027" y="18898"/>
                    <a:pt x="23316" y="19851"/>
                    <a:pt x="22592" y="20803"/>
                  </a:cubicBezTo>
                  <a:cubicBezTo>
                    <a:pt x="22224" y="21286"/>
                    <a:pt x="21868" y="21768"/>
                    <a:pt x="21526" y="22263"/>
                  </a:cubicBezTo>
                </a:path>
              </a:pathLst>
            </a:custGeom>
            <a:solidFill>
              <a:srgbClr val="979693">
                <a:alpha val="10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1" name="Freeform 688"/>
            <p:cNvSpPr/>
            <p:nvPr/>
          </p:nvSpPr>
          <p:spPr>
            <a:xfrm>
              <a:off x="4231801" y="3067889"/>
              <a:ext cx="166982" cy="184779"/>
            </a:xfrm>
            <a:custGeom>
              <a:avLst/>
              <a:gdLst/>
              <a:ahLst/>
              <a:cxnLst/>
              <a:rect l="0" t="0" r="0" b="0"/>
              <a:pathLst>
                <a:path w="150036" h="166027">
                  <a:moveTo>
                    <a:pt x="36448" y="131483"/>
                  </a:moveTo>
                  <a:cubicBezTo>
                    <a:pt x="33299" y="125667"/>
                    <a:pt x="26022" y="123508"/>
                    <a:pt x="20193" y="126670"/>
                  </a:cubicBezTo>
                  <a:cubicBezTo>
                    <a:pt x="14389" y="129820"/>
                    <a:pt x="12242" y="137096"/>
                    <a:pt x="15392" y="142912"/>
                  </a:cubicBezTo>
                  <a:cubicBezTo>
                    <a:pt x="18554" y="148729"/>
                    <a:pt x="25819" y="150888"/>
                    <a:pt x="31635" y="147738"/>
                  </a:cubicBezTo>
                  <a:cubicBezTo>
                    <a:pt x="37451" y="144576"/>
                    <a:pt x="39610" y="137299"/>
                    <a:pt x="36448" y="131483"/>
                  </a:cubicBezTo>
                  <a:close/>
                  <a:moveTo>
                    <a:pt x="11620" y="158191"/>
                  </a:moveTo>
                  <a:cubicBezTo>
                    <a:pt x="8496" y="155968"/>
                    <a:pt x="6032" y="153136"/>
                    <a:pt x="4318" y="149961"/>
                  </a:cubicBezTo>
                  <a:cubicBezTo>
                    <a:pt x="0" y="142011"/>
                    <a:pt x="292" y="131965"/>
                    <a:pt x="5880" y="124092"/>
                  </a:cubicBezTo>
                  <a:cubicBezTo>
                    <a:pt x="6959" y="122581"/>
                    <a:pt x="8280" y="121146"/>
                    <a:pt x="9601" y="119952"/>
                  </a:cubicBezTo>
                  <a:lnTo>
                    <a:pt x="143051" y="2007"/>
                  </a:lnTo>
                  <a:cubicBezTo>
                    <a:pt x="145325" y="0"/>
                    <a:pt x="148195" y="1105"/>
                    <a:pt x="149325" y="3175"/>
                  </a:cubicBezTo>
                  <a:cubicBezTo>
                    <a:pt x="149985" y="4395"/>
                    <a:pt x="150036" y="5919"/>
                    <a:pt x="149008" y="7366"/>
                  </a:cubicBezTo>
                  <a:lnTo>
                    <a:pt x="45719" y="152463"/>
                  </a:lnTo>
                  <a:cubicBezTo>
                    <a:pt x="37883" y="163461"/>
                    <a:pt x="22631" y="166027"/>
                    <a:pt x="11620" y="158191"/>
                  </a:cubicBezTo>
                  <a:close/>
                </a:path>
              </a:pathLst>
            </a:custGeom>
            <a:noFill/>
            <a:ln w="4914" cap="flat" cmpd="sng" algn="ctr">
              <a:solidFill>
                <a:srgbClr val="FFFFFF">
                  <a:alpha val="100000"/>
                </a:srgbClr>
              </a:solidFill>
              <a:prstDash val="solid"/>
              <a:miter lim="127000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2" name="Freeform 37"/>
            <p:cNvSpPr>
              <a:spLocks noEditPoints="1"/>
            </p:cNvSpPr>
            <p:nvPr/>
          </p:nvSpPr>
          <p:spPr bwMode="auto">
            <a:xfrm>
              <a:off x="4516841" y="4667894"/>
              <a:ext cx="361732" cy="361732"/>
            </a:xfrm>
            <a:custGeom>
              <a:avLst/>
              <a:gdLst>
                <a:gd name="T0" fmla="*/ 2147483647 w 423"/>
                <a:gd name="T1" fmla="*/ 2147483647 h 413"/>
                <a:gd name="T2" fmla="*/ 2147483647 w 423"/>
                <a:gd name="T3" fmla="*/ 2147483647 h 413"/>
                <a:gd name="T4" fmla="*/ 2147483647 w 423"/>
                <a:gd name="T5" fmla="*/ 2147483647 h 413"/>
                <a:gd name="T6" fmla="*/ 2147483647 w 423"/>
                <a:gd name="T7" fmla="*/ 2147483647 h 413"/>
                <a:gd name="T8" fmla="*/ 2147483647 w 423"/>
                <a:gd name="T9" fmla="*/ 2147483647 h 413"/>
                <a:gd name="T10" fmla="*/ 2147483647 w 423"/>
                <a:gd name="T11" fmla="*/ 2147483647 h 413"/>
                <a:gd name="T12" fmla="*/ 2147483647 w 423"/>
                <a:gd name="T13" fmla="*/ 2147483647 h 413"/>
                <a:gd name="T14" fmla="*/ 2147483647 w 423"/>
                <a:gd name="T15" fmla="*/ 2147483647 h 413"/>
                <a:gd name="T16" fmla="*/ 2147483647 w 423"/>
                <a:gd name="T17" fmla="*/ 2147483647 h 413"/>
                <a:gd name="T18" fmla="*/ 2147483647 w 423"/>
                <a:gd name="T19" fmla="*/ 2147483647 h 413"/>
                <a:gd name="T20" fmla="*/ 2147483647 w 423"/>
                <a:gd name="T21" fmla="*/ 2147483647 h 413"/>
                <a:gd name="T22" fmla="*/ 2147483647 w 423"/>
                <a:gd name="T23" fmla="*/ 2147483647 h 413"/>
                <a:gd name="T24" fmla="*/ 2147483647 w 423"/>
                <a:gd name="T25" fmla="*/ 2147483647 h 413"/>
                <a:gd name="T26" fmla="*/ 2147483647 w 423"/>
                <a:gd name="T27" fmla="*/ 2147483647 h 413"/>
                <a:gd name="T28" fmla="*/ 2147483647 w 423"/>
                <a:gd name="T29" fmla="*/ 2147483647 h 413"/>
                <a:gd name="T30" fmla="*/ 2147483647 w 423"/>
                <a:gd name="T31" fmla="*/ 2147483647 h 413"/>
                <a:gd name="T32" fmla="*/ 2147483647 w 423"/>
                <a:gd name="T33" fmla="*/ 2147483647 h 413"/>
                <a:gd name="T34" fmla="*/ 2147483647 w 423"/>
                <a:gd name="T35" fmla="*/ 2147483647 h 413"/>
                <a:gd name="T36" fmla="*/ 2147483647 w 423"/>
                <a:gd name="T37" fmla="*/ 2147483647 h 413"/>
                <a:gd name="T38" fmla="*/ 2147483647 w 423"/>
                <a:gd name="T39" fmla="*/ 2147483647 h 413"/>
                <a:gd name="T40" fmla="*/ 2147483647 w 423"/>
                <a:gd name="T41" fmla="*/ 2147483647 h 413"/>
                <a:gd name="T42" fmla="*/ 2147483647 w 423"/>
                <a:gd name="T43" fmla="*/ 2147483647 h 413"/>
                <a:gd name="T44" fmla="*/ 2147483647 w 423"/>
                <a:gd name="T45" fmla="*/ 2147483647 h 413"/>
                <a:gd name="T46" fmla="*/ 2147483647 w 423"/>
                <a:gd name="T47" fmla="*/ 2147483647 h 413"/>
                <a:gd name="T48" fmla="*/ 2147483647 w 423"/>
                <a:gd name="T49" fmla="*/ 2147483647 h 413"/>
                <a:gd name="T50" fmla="*/ 2147483647 w 423"/>
                <a:gd name="T51" fmla="*/ 2147483647 h 413"/>
                <a:gd name="T52" fmla="*/ 2147483647 w 423"/>
                <a:gd name="T53" fmla="*/ 2147483647 h 413"/>
                <a:gd name="T54" fmla="*/ 2147483647 w 423"/>
                <a:gd name="T55" fmla="*/ 2147483647 h 413"/>
                <a:gd name="T56" fmla="*/ 2147483647 w 423"/>
                <a:gd name="T57" fmla="*/ 2147483647 h 413"/>
                <a:gd name="T58" fmla="*/ 2147483647 w 423"/>
                <a:gd name="T59" fmla="*/ 2147483647 h 413"/>
                <a:gd name="T60" fmla="*/ 2147483647 w 423"/>
                <a:gd name="T61" fmla="*/ 2147483647 h 413"/>
                <a:gd name="T62" fmla="*/ 2147483647 w 423"/>
                <a:gd name="T63" fmla="*/ 2147483647 h 413"/>
                <a:gd name="T64" fmla="*/ 2147483647 w 423"/>
                <a:gd name="T65" fmla="*/ 2147483647 h 413"/>
                <a:gd name="T66" fmla="*/ 2147483647 w 423"/>
                <a:gd name="T67" fmla="*/ 2147483647 h 413"/>
                <a:gd name="T68" fmla="*/ 2147483647 w 423"/>
                <a:gd name="T69" fmla="*/ 2147483647 h 413"/>
                <a:gd name="T70" fmla="*/ 2147483647 w 423"/>
                <a:gd name="T71" fmla="*/ 2147483647 h 413"/>
                <a:gd name="T72" fmla="*/ 2147483647 w 423"/>
                <a:gd name="T73" fmla="*/ 2147483647 h 413"/>
                <a:gd name="T74" fmla="*/ 2147483647 w 423"/>
                <a:gd name="T75" fmla="*/ 2147483647 h 413"/>
                <a:gd name="T76" fmla="*/ 2147483647 w 423"/>
                <a:gd name="T77" fmla="*/ 2147483647 h 413"/>
                <a:gd name="T78" fmla="*/ 2147483647 w 423"/>
                <a:gd name="T79" fmla="*/ 2147483647 h 413"/>
                <a:gd name="T80" fmla="*/ 2147483647 w 423"/>
                <a:gd name="T81" fmla="*/ 2147483647 h 413"/>
                <a:gd name="T82" fmla="*/ 2147483647 w 423"/>
                <a:gd name="T83" fmla="*/ 2147483647 h 413"/>
                <a:gd name="T84" fmla="*/ 2147483647 w 423"/>
                <a:gd name="T85" fmla="*/ 2147483647 h 413"/>
                <a:gd name="T86" fmla="*/ 2147483647 w 423"/>
                <a:gd name="T87" fmla="*/ 2147483647 h 413"/>
                <a:gd name="T88" fmla="*/ 2147483647 w 423"/>
                <a:gd name="T89" fmla="*/ 2147483647 h 413"/>
                <a:gd name="T90" fmla="*/ 2147483647 w 423"/>
                <a:gd name="T91" fmla="*/ 2147483647 h 413"/>
                <a:gd name="T92" fmla="*/ 2147483647 w 423"/>
                <a:gd name="T93" fmla="*/ 2147483647 h 413"/>
                <a:gd name="T94" fmla="*/ 2147483647 w 423"/>
                <a:gd name="T95" fmla="*/ 2147483647 h 413"/>
                <a:gd name="T96" fmla="*/ 2147483647 w 423"/>
                <a:gd name="T97" fmla="*/ 2147483647 h 413"/>
                <a:gd name="T98" fmla="*/ 2147483647 w 423"/>
                <a:gd name="T99" fmla="*/ 2147483647 h 413"/>
                <a:gd name="T100" fmla="*/ 2147483647 w 423"/>
                <a:gd name="T101" fmla="*/ 2147483647 h 413"/>
                <a:gd name="T102" fmla="*/ 2147483647 w 423"/>
                <a:gd name="T103" fmla="*/ 2147483647 h 413"/>
                <a:gd name="T104" fmla="*/ 2147483647 w 423"/>
                <a:gd name="T105" fmla="*/ 2147483647 h 413"/>
                <a:gd name="T106" fmla="*/ 2147483647 w 423"/>
                <a:gd name="T107" fmla="*/ 2147483647 h 413"/>
                <a:gd name="T108" fmla="*/ 2147483647 w 423"/>
                <a:gd name="T109" fmla="*/ 2147483647 h 413"/>
                <a:gd name="T110" fmla="*/ 2147483647 w 423"/>
                <a:gd name="T111" fmla="*/ 2147483647 h 413"/>
                <a:gd name="T112" fmla="*/ 2147483647 w 423"/>
                <a:gd name="T113" fmla="*/ 2147483647 h 413"/>
                <a:gd name="T114" fmla="*/ 2147483647 w 423"/>
                <a:gd name="T115" fmla="*/ 2147483647 h 413"/>
                <a:gd name="T116" fmla="*/ 2147483647 w 423"/>
                <a:gd name="T117" fmla="*/ 2147483647 h 413"/>
                <a:gd name="T118" fmla="*/ 2147483647 w 423"/>
                <a:gd name="T119" fmla="*/ 2147483647 h 413"/>
                <a:gd name="T120" fmla="*/ 2147483647 w 423"/>
                <a:gd name="T121" fmla="*/ 2147483647 h 41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23" h="413">
                  <a:moveTo>
                    <a:pt x="143" y="351"/>
                  </a:moveTo>
                  <a:lnTo>
                    <a:pt x="146" y="349"/>
                  </a:lnTo>
                  <a:lnTo>
                    <a:pt x="151" y="348"/>
                  </a:lnTo>
                  <a:lnTo>
                    <a:pt x="152" y="344"/>
                  </a:lnTo>
                  <a:lnTo>
                    <a:pt x="153" y="339"/>
                  </a:lnTo>
                  <a:lnTo>
                    <a:pt x="152" y="336"/>
                  </a:lnTo>
                  <a:lnTo>
                    <a:pt x="151" y="332"/>
                  </a:lnTo>
                  <a:lnTo>
                    <a:pt x="146" y="331"/>
                  </a:lnTo>
                  <a:lnTo>
                    <a:pt x="143" y="329"/>
                  </a:lnTo>
                  <a:lnTo>
                    <a:pt x="139" y="331"/>
                  </a:lnTo>
                  <a:lnTo>
                    <a:pt x="135" y="332"/>
                  </a:lnTo>
                  <a:lnTo>
                    <a:pt x="133" y="336"/>
                  </a:lnTo>
                  <a:lnTo>
                    <a:pt x="132" y="339"/>
                  </a:lnTo>
                  <a:lnTo>
                    <a:pt x="133" y="344"/>
                  </a:lnTo>
                  <a:lnTo>
                    <a:pt x="135" y="348"/>
                  </a:lnTo>
                  <a:lnTo>
                    <a:pt x="139" y="349"/>
                  </a:lnTo>
                  <a:lnTo>
                    <a:pt x="143" y="351"/>
                  </a:lnTo>
                  <a:close/>
                  <a:moveTo>
                    <a:pt x="138" y="306"/>
                  </a:moveTo>
                  <a:lnTo>
                    <a:pt x="122" y="267"/>
                  </a:lnTo>
                  <a:lnTo>
                    <a:pt x="145" y="271"/>
                  </a:lnTo>
                  <a:lnTo>
                    <a:pt x="161" y="225"/>
                  </a:lnTo>
                  <a:lnTo>
                    <a:pt x="182" y="178"/>
                  </a:lnTo>
                  <a:lnTo>
                    <a:pt x="179" y="173"/>
                  </a:lnTo>
                  <a:lnTo>
                    <a:pt x="177" y="168"/>
                  </a:lnTo>
                  <a:lnTo>
                    <a:pt x="175" y="160"/>
                  </a:lnTo>
                  <a:lnTo>
                    <a:pt x="136" y="152"/>
                  </a:lnTo>
                  <a:lnTo>
                    <a:pt x="96" y="150"/>
                  </a:lnTo>
                  <a:lnTo>
                    <a:pt x="93" y="156"/>
                  </a:lnTo>
                  <a:lnTo>
                    <a:pt x="90" y="162"/>
                  </a:lnTo>
                  <a:lnTo>
                    <a:pt x="89" y="163"/>
                  </a:lnTo>
                  <a:lnTo>
                    <a:pt x="86" y="166"/>
                  </a:lnTo>
                  <a:lnTo>
                    <a:pt x="81" y="168"/>
                  </a:lnTo>
                  <a:lnTo>
                    <a:pt x="81" y="172"/>
                  </a:lnTo>
                  <a:lnTo>
                    <a:pt x="112" y="204"/>
                  </a:lnTo>
                  <a:lnTo>
                    <a:pt x="89" y="208"/>
                  </a:lnTo>
                  <a:lnTo>
                    <a:pt x="102" y="245"/>
                  </a:lnTo>
                  <a:lnTo>
                    <a:pt x="117" y="280"/>
                  </a:lnTo>
                  <a:lnTo>
                    <a:pt x="136" y="313"/>
                  </a:lnTo>
                  <a:lnTo>
                    <a:pt x="138" y="306"/>
                  </a:lnTo>
                  <a:close/>
                  <a:moveTo>
                    <a:pt x="159" y="274"/>
                  </a:moveTo>
                  <a:lnTo>
                    <a:pt x="179" y="279"/>
                  </a:lnTo>
                  <a:lnTo>
                    <a:pt x="151" y="309"/>
                  </a:lnTo>
                  <a:lnTo>
                    <a:pt x="149" y="315"/>
                  </a:lnTo>
                  <a:lnTo>
                    <a:pt x="155" y="318"/>
                  </a:lnTo>
                  <a:lnTo>
                    <a:pt x="161" y="322"/>
                  </a:lnTo>
                  <a:lnTo>
                    <a:pt x="165" y="326"/>
                  </a:lnTo>
                  <a:lnTo>
                    <a:pt x="166" y="332"/>
                  </a:lnTo>
                  <a:lnTo>
                    <a:pt x="201" y="322"/>
                  </a:lnTo>
                  <a:lnTo>
                    <a:pt x="233" y="309"/>
                  </a:lnTo>
                  <a:lnTo>
                    <a:pt x="272" y="289"/>
                  </a:lnTo>
                  <a:lnTo>
                    <a:pt x="308" y="263"/>
                  </a:lnTo>
                  <a:lnTo>
                    <a:pt x="305" y="258"/>
                  </a:lnTo>
                  <a:lnTo>
                    <a:pt x="305" y="253"/>
                  </a:lnTo>
                  <a:lnTo>
                    <a:pt x="306" y="245"/>
                  </a:lnTo>
                  <a:lnTo>
                    <a:pt x="309" y="238"/>
                  </a:lnTo>
                  <a:lnTo>
                    <a:pt x="283" y="214"/>
                  </a:lnTo>
                  <a:lnTo>
                    <a:pt x="255" y="193"/>
                  </a:lnTo>
                  <a:lnTo>
                    <a:pt x="244" y="214"/>
                  </a:lnTo>
                  <a:lnTo>
                    <a:pt x="223" y="176"/>
                  </a:lnTo>
                  <a:lnTo>
                    <a:pt x="221" y="176"/>
                  </a:lnTo>
                  <a:lnTo>
                    <a:pt x="220" y="178"/>
                  </a:lnTo>
                  <a:lnTo>
                    <a:pt x="214" y="182"/>
                  </a:lnTo>
                  <a:lnTo>
                    <a:pt x="208" y="185"/>
                  </a:lnTo>
                  <a:lnTo>
                    <a:pt x="201" y="186"/>
                  </a:lnTo>
                  <a:lnTo>
                    <a:pt x="195" y="185"/>
                  </a:lnTo>
                  <a:lnTo>
                    <a:pt x="174" y="230"/>
                  </a:lnTo>
                  <a:lnTo>
                    <a:pt x="159" y="274"/>
                  </a:lnTo>
                  <a:close/>
                  <a:moveTo>
                    <a:pt x="76" y="211"/>
                  </a:moveTo>
                  <a:lnTo>
                    <a:pt x="54" y="215"/>
                  </a:lnTo>
                  <a:lnTo>
                    <a:pt x="68" y="176"/>
                  </a:lnTo>
                  <a:lnTo>
                    <a:pt x="67" y="170"/>
                  </a:lnTo>
                  <a:lnTo>
                    <a:pt x="61" y="169"/>
                  </a:lnTo>
                  <a:lnTo>
                    <a:pt x="57" y="166"/>
                  </a:lnTo>
                  <a:lnTo>
                    <a:pt x="52" y="163"/>
                  </a:lnTo>
                  <a:lnTo>
                    <a:pt x="50" y="159"/>
                  </a:lnTo>
                  <a:lnTo>
                    <a:pt x="47" y="155"/>
                  </a:lnTo>
                  <a:lnTo>
                    <a:pt x="38" y="155"/>
                  </a:lnTo>
                  <a:lnTo>
                    <a:pt x="31" y="156"/>
                  </a:lnTo>
                  <a:lnTo>
                    <a:pt x="26" y="181"/>
                  </a:lnTo>
                  <a:lnTo>
                    <a:pt x="24" y="206"/>
                  </a:lnTo>
                  <a:lnTo>
                    <a:pt x="28" y="244"/>
                  </a:lnTo>
                  <a:lnTo>
                    <a:pt x="38" y="277"/>
                  </a:lnTo>
                  <a:lnTo>
                    <a:pt x="55" y="309"/>
                  </a:lnTo>
                  <a:lnTo>
                    <a:pt x="78" y="336"/>
                  </a:lnTo>
                  <a:lnTo>
                    <a:pt x="83" y="339"/>
                  </a:lnTo>
                  <a:lnTo>
                    <a:pt x="117" y="339"/>
                  </a:lnTo>
                  <a:lnTo>
                    <a:pt x="117" y="333"/>
                  </a:lnTo>
                  <a:lnTo>
                    <a:pt x="120" y="326"/>
                  </a:lnTo>
                  <a:lnTo>
                    <a:pt x="125" y="322"/>
                  </a:lnTo>
                  <a:lnTo>
                    <a:pt x="104" y="287"/>
                  </a:lnTo>
                  <a:lnTo>
                    <a:pt x="89" y="250"/>
                  </a:lnTo>
                  <a:lnTo>
                    <a:pt x="76" y="211"/>
                  </a:lnTo>
                  <a:close/>
                  <a:moveTo>
                    <a:pt x="231" y="165"/>
                  </a:moveTo>
                  <a:lnTo>
                    <a:pt x="272" y="162"/>
                  </a:lnTo>
                  <a:lnTo>
                    <a:pt x="262" y="181"/>
                  </a:lnTo>
                  <a:lnTo>
                    <a:pt x="292" y="204"/>
                  </a:lnTo>
                  <a:lnTo>
                    <a:pt x="319" y="230"/>
                  </a:lnTo>
                  <a:lnTo>
                    <a:pt x="325" y="227"/>
                  </a:lnTo>
                  <a:lnTo>
                    <a:pt x="331" y="227"/>
                  </a:lnTo>
                  <a:lnTo>
                    <a:pt x="337" y="227"/>
                  </a:lnTo>
                  <a:lnTo>
                    <a:pt x="343" y="230"/>
                  </a:lnTo>
                  <a:lnTo>
                    <a:pt x="356" y="212"/>
                  </a:lnTo>
                  <a:lnTo>
                    <a:pt x="337" y="199"/>
                  </a:lnTo>
                  <a:lnTo>
                    <a:pt x="389" y="179"/>
                  </a:lnTo>
                  <a:lnTo>
                    <a:pt x="384" y="234"/>
                  </a:lnTo>
                  <a:lnTo>
                    <a:pt x="367" y="221"/>
                  </a:lnTo>
                  <a:lnTo>
                    <a:pt x="353" y="240"/>
                  </a:lnTo>
                  <a:lnTo>
                    <a:pt x="356" y="245"/>
                  </a:lnTo>
                  <a:lnTo>
                    <a:pt x="356" y="253"/>
                  </a:lnTo>
                  <a:lnTo>
                    <a:pt x="356" y="258"/>
                  </a:lnTo>
                  <a:lnTo>
                    <a:pt x="353" y="264"/>
                  </a:lnTo>
                  <a:lnTo>
                    <a:pt x="348" y="270"/>
                  </a:lnTo>
                  <a:lnTo>
                    <a:pt x="358" y="287"/>
                  </a:lnTo>
                  <a:lnTo>
                    <a:pt x="363" y="299"/>
                  </a:lnTo>
                  <a:lnTo>
                    <a:pt x="367" y="310"/>
                  </a:lnTo>
                  <a:lnTo>
                    <a:pt x="384" y="279"/>
                  </a:lnTo>
                  <a:lnTo>
                    <a:pt x="396" y="244"/>
                  </a:lnTo>
                  <a:lnTo>
                    <a:pt x="400" y="206"/>
                  </a:lnTo>
                  <a:lnTo>
                    <a:pt x="396" y="169"/>
                  </a:lnTo>
                  <a:lnTo>
                    <a:pt x="386" y="136"/>
                  </a:lnTo>
                  <a:lnTo>
                    <a:pt x="369" y="104"/>
                  </a:lnTo>
                  <a:lnTo>
                    <a:pt x="345" y="77"/>
                  </a:lnTo>
                  <a:lnTo>
                    <a:pt x="321" y="58"/>
                  </a:lnTo>
                  <a:lnTo>
                    <a:pt x="315" y="59"/>
                  </a:lnTo>
                  <a:lnTo>
                    <a:pt x="302" y="67"/>
                  </a:lnTo>
                  <a:lnTo>
                    <a:pt x="285" y="105"/>
                  </a:lnTo>
                  <a:lnTo>
                    <a:pt x="272" y="87"/>
                  </a:lnTo>
                  <a:lnTo>
                    <a:pt x="244" y="113"/>
                  </a:lnTo>
                  <a:lnTo>
                    <a:pt x="220" y="143"/>
                  </a:lnTo>
                  <a:lnTo>
                    <a:pt x="224" y="149"/>
                  </a:lnTo>
                  <a:lnTo>
                    <a:pt x="226" y="155"/>
                  </a:lnTo>
                  <a:lnTo>
                    <a:pt x="227" y="160"/>
                  </a:lnTo>
                  <a:lnTo>
                    <a:pt x="227" y="163"/>
                  </a:lnTo>
                  <a:lnTo>
                    <a:pt x="231" y="165"/>
                  </a:lnTo>
                  <a:close/>
                  <a:moveTo>
                    <a:pt x="265" y="75"/>
                  </a:moveTo>
                  <a:lnTo>
                    <a:pt x="252" y="58"/>
                  </a:lnTo>
                  <a:lnTo>
                    <a:pt x="292" y="56"/>
                  </a:lnTo>
                  <a:lnTo>
                    <a:pt x="308" y="48"/>
                  </a:lnTo>
                  <a:lnTo>
                    <a:pt x="278" y="35"/>
                  </a:lnTo>
                  <a:lnTo>
                    <a:pt x="246" y="26"/>
                  </a:lnTo>
                  <a:lnTo>
                    <a:pt x="213" y="23"/>
                  </a:lnTo>
                  <a:lnTo>
                    <a:pt x="174" y="28"/>
                  </a:lnTo>
                  <a:lnTo>
                    <a:pt x="139" y="38"/>
                  </a:lnTo>
                  <a:lnTo>
                    <a:pt x="107" y="55"/>
                  </a:lnTo>
                  <a:lnTo>
                    <a:pt x="78" y="77"/>
                  </a:lnTo>
                  <a:lnTo>
                    <a:pt x="77" y="120"/>
                  </a:lnTo>
                  <a:lnTo>
                    <a:pt x="83" y="123"/>
                  </a:lnTo>
                  <a:lnTo>
                    <a:pt x="89" y="126"/>
                  </a:lnTo>
                  <a:lnTo>
                    <a:pt x="93" y="131"/>
                  </a:lnTo>
                  <a:lnTo>
                    <a:pt x="96" y="136"/>
                  </a:lnTo>
                  <a:lnTo>
                    <a:pt x="139" y="139"/>
                  </a:lnTo>
                  <a:lnTo>
                    <a:pt x="179" y="146"/>
                  </a:lnTo>
                  <a:lnTo>
                    <a:pt x="182" y="143"/>
                  </a:lnTo>
                  <a:lnTo>
                    <a:pt x="184" y="142"/>
                  </a:lnTo>
                  <a:lnTo>
                    <a:pt x="188" y="139"/>
                  </a:lnTo>
                  <a:lnTo>
                    <a:pt x="194" y="136"/>
                  </a:lnTo>
                  <a:lnTo>
                    <a:pt x="201" y="134"/>
                  </a:lnTo>
                  <a:lnTo>
                    <a:pt x="205" y="134"/>
                  </a:lnTo>
                  <a:lnTo>
                    <a:pt x="208" y="136"/>
                  </a:lnTo>
                  <a:lnTo>
                    <a:pt x="236" y="104"/>
                  </a:lnTo>
                  <a:lnTo>
                    <a:pt x="265" y="75"/>
                  </a:lnTo>
                  <a:close/>
                  <a:moveTo>
                    <a:pt x="331" y="263"/>
                  </a:moveTo>
                  <a:lnTo>
                    <a:pt x="334" y="261"/>
                  </a:lnTo>
                  <a:lnTo>
                    <a:pt x="338" y="260"/>
                  </a:lnTo>
                  <a:lnTo>
                    <a:pt x="340" y="257"/>
                  </a:lnTo>
                  <a:lnTo>
                    <a:pt x="341" y="253"/>
                  </a:lnTo>
                  <a:lnTo>
                    <a:pt x="340" y="248"/>
                  </a:lnTo>
                  <a:lnTo>
                    <a:pt x="338" y="244"/>
                  </a:lnTo>
                  <a:lnTo>
                    <a:pt x="334" y="243"/>
                  </a:lnTo>
                  <a:lnTo>
                    <a:pt x="331" y="241"/>
                  </a:lnTo>
                  <a:lnTo>
                    <a:pt x="327" y="243"/>
                  </a:lnTo>
                  <a:lnTo>
                    <a:pt x="322" y="244"/>
                  </a:lnTo>
                  <a:lnTo>
                    <a:pt x="321" y="248"/>
                  </a:lnTo>
                  <a:lnTo>
                    <a:pt x="319" y="253"/>
                  </a:lnTo>
                  <a:lnTo>
                    <a:pt x="321" y="257"/>
                  </a:lnTo>
                  <a:lnTo>
                    <a:pt x="322" y="260"/>
                  </a:lnTo>
                  <a:lnTo>
                    <a:pt x="327" y="261"/>
                  </a:lnTo>
                  <a:lnTo>
                    <a:pt x="331" y="263"/>
                  </a:lnTo>
                  <a:close/>
                  <a:moveTo>
                    <a:pt x="337" y="277"/>
                  </a:moveTo>
                  <a:lnTo>
                    <a:pt x="331" y="277"/>
                  </a:lnTo>
                  <a:lnTo>
                    <a:pt x="324" y="277"/>
                  </a:lnTo>
                  <a:lnTo>
                    <a:pt x="317" y="274"/>
                  </a:lnTo>
                  <a:lnTo>
                    <a:pt x="279" y="300"/>
                  </a:lnTo>
                  <a:lnTo>
                    <a:pt x="239" y="322"/>
                  </a:lnTo>
                  <a:lnTo>
                    <a:pt x="204" y="336"/>
                  </a:lnTo>
                  <a:lnTo>
                    <a:pt x="168" y="346"/>
                  </a:lnTo>
                  <a:lnTo>
                    <a:pt x="165" y="351"/>
                  </a:lnTo>
                  <a:lnTo>
                    <a:pt x="174" y="359"/>
                  </a:lnTo>
                  <a:lnTo>
                    <a:pt x="182" y="368"/>
                  </a:lnTo>
                  <a:lnTo>
                    <a:pt x="210" y="390"/>
                  </a:lnTo>
                  <a:lnTo>
                    <a:pt x="213" y="390"/>
                  </a:lnTo>
                  <a:lnTo>
                    <a:pt x="250" y="385"/>
                  </a:lnTo>
                  <a:lnTo>
                    <a:pt x="285" y="375"/>
                  </a:lnTo>
                  <a:lnTo>
                    <a:pt x="317" y="358"/>
                  </a:lnTo>
                  <a:lnTo>
                    <a:pt x="345" y="336"/>
                  </a:lnTo>
                  <a:lnTo>
                    <a:pt x="357" y="323"/>
                  </a:lnTo>
                  <a:lnTo>
                    <a:pt x="345" y="293"/>
                  </a:lnTo>
                  <a:lnTo>
                    <a:pt x="337" y="277"/>
                  </a:lnTo>
                  <a:close/>
                  <a:moveTo>
                    <a:pt x="71" y="155"/>
                  </a:moveTo>
                  <a:lnTo>
                    <a:pt x="76" y="155"/>
                  </a:lnTo>
                  <a:lnTo>
                    <a:pt x="78" y="152"/>
                  </a:lnTo>
                  <a:lnTo>
                    <a:pt x="81" y="149"/>
                  </a:lnTo>
                  <a:lnTo>
                    <a:pt x="81" y="144"/>
                  </a:lnTo>
                  <a:lnTo>
                    <a:pt x="81" y="140"/>
                  </a:lnTo>
                  <a:lnTo>
                    <a:pt x="78" y="137"/>
                  </a:lnTo>
                  <a:lnTo>
                    <a:pt x="76" y="134"/>
                  </a:lnTo>
                  <a:lnTo>
                    <a:pt x="71" y="134"/>
                  </a:lnTo>
                  <a:lnTo>
                    <a:pt x="67" y="134"/>
                  </a:lnTo>
                  <a:lnTo>
                    <a:pt x="64" y="137"/>
                  </a:lnTo>
                  <a:lnTo>
                    <a:pt x="61" y="140"/>
                  </a:lnTo>
                  <a:lnTo>
                    <a:pt x="60" y="144"/>
                  </a:lnTo>
                  <a:lnTo>
                    <a:pt x="61" y="149"/>
                  </a:lnTo>
                  <a:lnTo>
                    <a:pt x="64" y="152"/>
                  </a:lnTo>
                  <a:lnTo>
                    <a:pt x="67" y="155"/>
                  </a:lnTo>
                  <a:lnTo>
                    <a:pt x="71" y="155"/>
                  </a:lnTo>
                  <a:close/>
                  <a:moveTo>
                    <a:pt x="45" y="140"/>
                  </a:moveTo>
                  <a:lnTo>
                    <a:pt x="47" y="134"/>
                  </a:lnTo>
                  <a:lnTo>
                    <a:pt x="50" y="130"/>
                  </a:lnTo>
                  <a:lnTo>
                    <a:pt x="52" y="126"/>
                  </a:lnTo>
                  <a:lnTo>
                    <a:pt x="52" y="127"/>
                  </a:lnTo>
                  <a:lnTo>
                    <a:pt x="52" y="126"/>
                  </a:lnTo>
                  <a:lnTo>
                    <a:pt x="57" y="123"/>
                  </a:lnTo>
                  <a:lnTo>
                    <a:pt x="63" y="120"/>
                  </a:lnTo>
                  <a:lnTo>
                    <a:pt x="64" y="94"/>
                  </a:lnTo>
                  <a:lnTo>
                    <a:pt x="48" y="117"/>
                  </a:lnTo>
                  <a:lnTo>
                    <a:pt x="37" y="142"/>
                  </a:lnTo>
                  <a:lnTo>
                    <a:pt x="45" y="140"/>
                  </a:lnTo>
                  <a:close/>
                  <a:moveTo>
                    <a:pt x="201" y="170"/>
                  </a:moveTo>
                  <a:lnTo>
                    <a:pt x="205" y="170"/>
                  </a:lnTo>
                  <a:lnTo>
                    <a:pt x="208" y="168"/>
                  </a:lnTo>
                  <a:lnTo>
                    <a:pt x="211" y="165"/>
                  </a:lnTo>
                  <a:lnTo>
                    <a:pt x="211" y="160"/>
                  </a:lnTo>
                  <a:lnTo>
                    <a:pt x="211" y="156"/>
                  </a:lnTo>
                  <a:lnTo>
                    <a:pt x="208" y="153"/>
                  </a:lnTo>
                  <a:lnTo>
                    <a:pt x="205" y="150"/>
                  </a:lnTo>
                  <a:lnTo>
                    <a:pt x="201" y="149"/>
                  </a:lnTo>
                  <a:lnTo>
                    <a:pt x="197" y="150"/>
                  </a:lnTo>
                  <a:lnTo>
                    <a:pt x="194" y="153"/>
                  </a:lnTo>
                  <a:lnTo>
                    <a:pt x="191" y="156"/>
                  </a:lnTo>
                  <a:lnTo>
                    <a:pt x="191" y="160"/>
                  </a:lnTo>
                  <a:lnTo>
                    <a:pt x="191" y="165"/>
                  </a:lnTo>
                  <a:lnTo>
                    <a:pt x="194" y="168"/>
                  </a:lnTo>
                  <a:lnTo>
                    <a:pt x="197" y="170"/>
                  </a:lnTo>
                  <a:lnTo>
                    <a:pt x="201" y="170"/>
                  </a:lnTo>
                  <a:close/>
                  <a:moveTo>
                    <a:pt x="156" y="362"/>
                  </a:moveTo>
                  <a:lnTo>
                    <a:pt x="151" y="364"/>
                  </a:lnTo>
                  <a:lnTo>
                    <a:pt x="145" y="365"/>
                  </a:lnTo>
                  <a:lnTo>
                    <a:pt x="145" y="377"/>
                  </a:lnTo>
                  <a:lnTo>
                    <a:pt x="184" y="388"/>
                  </a:lnTo>
                  <a:lnTo>
                    <a:pt x="172" y="378"/>
                  </a:lnTo>
                  <a:lnTo>
                    <a:pt x="165" y="370"/>
                  </a:lnTo>
                  <a:lnTo>
                    <a:pt x="156" y="362"/>
                  </a:lnTo>
                  <a:close/>
                  <a:moveTo>
                    <a:pt x="130" y="362"/>
                  </a:moveTo>
                  <a:lnTo>
                    <a:pt x="128" y="361"/>
                  </a:lnTo>
                  <a:lnTo>
                    <a:pt x="125" y="358"/>
                  </a:lnTo>
                  <a:lnTo>
                    <a:pt x="120" y="354"/>
                  </a:lnTo>
                  <a:lnTo>
                    <a:pt x="100" y="354"/>
                  </a:lnTo>
                  <a:lnTo>
                    <a:pt x="130" y="371"/>
                  </a:lnTo>
                  <a:lnTo>
                    <a:pt x="130" y="365"/>
                  </a:lnTo>
                  <a:lnTo>
                    <a:pt x="130" y="362"/>
                  </a:lnTo>
                  <a:close/>
                  <a:moveTo>
                    <a:pt x="361" y="352"/>
                  </a:moveTo>
                  <a:lnTo>
                    <a:pt x="330" y="377"/>
                  </a:lnTo>
                  <a:lnTo>
                    <a:pt x="293" y="397"/>
                  </a:lnTo>
                  <a:lnTo>
                    <a:pt x="255" y="409"/>
                  </a:lnTo>
                  <a:lnTo>
                    <a:pt x="213" y="413"/>
                  </a:lnTo>
                  <a:lnTo>
                    <a:pt x="169" y="409"/>
                  </a:lnTo>
                  <a:lnTo>
                    <a:pt x="130" y="397"/>
                  </a:lnTo>
                  <a:lnTo>
                    <a:pt x="94" y="377"/>
                  </a:lnTo>
                  <a:lnTo>
                    <a:pt x="63" y="352"/>
                  </a:lnTo>
                  <a:lnTo>
                    <a:pt x="37" y="322"/>
                  </a:lnTo>
                  <a:lnTo>
                    <a:pt x="18" y="287"/>
                  </a:lnTo>
                  <a:lnTo>
                    <a:pt x="5" y="248"/>
                  </a:lnTo>
                  <a:lnTo>
                    <a:pt x="0" y="206"/>
                  </a:lnTo>
                  <a:lnTo>
                    <a:pt x="5" y="165"/>
                  </a:lnTo>
                  <a:lnTo>
                    <a:pt x="18" y="126"/>
                  </a:lnTo>
                  <a:lnTo>
                    <a:pt x="37" y="91"/>
                  </a:lnTo>
                  <a:lnTo>
                    <a:pt x="63" y="61"/>
                  </a:lnTo>
                  <a:lnTo>
                    <a:pt x="94" y="36"/>
                  </a:lnTo>
                  <a:lnTo>
                    <a:pt x="130" y="16"/>
                  </a:lnTo>
                  <a:lnTo>
                    <a:pt x="169" y="4"/>
                  </a:lnTo>
                  <a:lnTo>
                    <a:pt x="213" y="0"/>
                  </a:lnTo>
                  <a:lnTo>
                    <a:pt x="255" y="4"/>
                  </a:lnTo>
                  <a:lnTo>
                    <a:pt x="293" y="16"/>
                  </a:lnTo>
                  <a:lnTo>
                    <a:pt x="330" y="36"/>
                  </a:lnTo>
                  <a:lnTo>
                    <a:pt x="361" y="61"/>
                  </a:lnTo>
                  <a:lnTo>
                    <a:pt x="387" y="91"/>
                  </a:lnTo>
                  <a:lnTo>
                    <a:pt x="406" y="126"/>
                  </a:lnTo>
                  <a:lnTo>
                    <a:pt x="419" y="165"/>
                  </a:lnTo>
                  <a:lnTo>
                    <a:pt x="423" y="206"/>
                  </a:lnTo>
                  <a:lnTo>
                    <a:pt x="419" y="248"/>
                  </a:lnTo>
                  <a:lnTo>
                    <a:pt x="406" y="287"/>
                  </a:lnTo>
                  <a:lnTo>
                    <a:pt x="387" y="322"/>
                  </a:lnTo>
                  <a:lnTo>
                    <a:pt x="361" y="352"/>
                  </a:lnTo>
                  <a:close/>
                </a:path>
              </a:pathLst>
            </a:custGeom>
            <a:solidFill>
              <a:srgbClr val="333333">
                <a:lumMod val="60000"/>
                <a:lumOff val="40000"/>
              </a:srgbClr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endParaRPr kumimoji="0" lang="tr-TR" sz="1600" b="0" i="0" u="none" strike="noStrike" kern="0" cap="none" spc="0" normalizeH="0" baseline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sp>
          <p:nvSpPr>
            <p:cNvPr id="443" name="Freeform 27"/>
            <p:cNvSpPr>
              <a:spLocks noChangeArrowheads="1"/>
            </p:cNvSpPr>
            <p:nvPr/>
          </p:nvSpPr>
          <p:spPr bwMode="auto">
            <a:xfrm>
              <a:off x="3687520" y="4667724"/>
              <a:ext cx="361732" cy="361732"/>
            </a:xfrm>
            <a:custGeom>
              <a:avLst/>
              <a:gdLst>
                <a:gd name="T0" fmla="*/ 2147483647 w 1001"/>
                <a:gd name="T1" fmla="*/ 2147483647 h 960"/>
                <a:gd name="T2" fmla="*/ 2147483647 w 1001"/>
                <a:gd name="T3" fmla="*/ 2147483647 h 960"/>
                <a:gd name="T4" fmla="*/ 2147483647 w 1001"/>
                <a:gd name="T5" fmla="*/ 2147483647 h 960"/>
                <a:gd name="T6" fmla="*/ 2147483647 w 1001"/>
                <a:gd name="T7" fmla="*/ 2147483647 h 960"/>
                <a:gd name="T8" fmla="*/ 2147483647 w 1001"/>
                <a:gd name="T9" fmla="*/ 2147483647 h 960"/>
                <a:gd name="T10" fmla="*/ 2147483647 w 1001"/>
                <a:gd name="T11" fmla="*/ 2147483647 h 960"/>
                <a:gd name="T12" fmla="*/ 2147483647 w 1001"/>
                <a:gd name="T13" fmla="*/ 2147483647 h 960"/>
                <a:gd name="T14" fmla="*/ 2147483647 w 1001"/>
                <a:gd name="T15" fmla="*/ 2147483647 h 960"/>
                <a:gd name="T16" fmla="*/ 2147483647 w 1001"/>
                <a:gd name="T17" fmla="*/ 2147483647 h 960"/>
                <a:gd name="T18" fmla="*/ 2147483647 w 1001"/>
                <a:gd name="T19" fmla="*/ 2147483647 h 960"/>
                <a:gd name="T20" fmla="*/ 2147483647 w 1001"/>
                <a:gd name="T21" fmla="*/ 2147483647 h 960"/>
                <a:gd name="T22" fmla="*/ 2147483647 w 1001"/>
                <a:gd name="T23" fmla="*/ 2147483647 h 960"/>
                <a:gd name="T24" fmla="*/ 2147483647 w 1001"/>
                <a:gd name="T25" fmla="*/ 2147483647 h 960"/>
                <a:gd name="T26" fmla="*/ 2147483647 w 1001"/>
                <a:gd name="T27" fmla="*/ 2147483647 h 960"/>
                <a:gd name="T28" fmla="*/ 2147483647 w 1001"/>
                <a:gd name="T29" fmla="*/ 2147483647 h 960"/>
                <a:gd name="T30" fmla="*/ 2147483647 w 1001"/>
                <a:gd name="T31" fmla="*/ 2147483647 h 960"/>
                <a:gd name="T32" fmla="*/ 2147483647 w 1001"/>
                <a:gd name="T33" fmla="*/ 2147483647 h 960"/>
                <a:gd name="T34" fmla="*/ 2147483647 w 1001"/>
                <a:gd name="T35" fmla="*/ 2147483647 h 960"/>
                <a:gd name="T36" fmla="*/ 2147483647 w 1001"/>
                <a:gd name="T37" fmla="*/ 2147483647 h 960"/>
                <a:gd name="T38" fmla="*/ 2147483647 w 1001"/>
                <a:gd name="T39" fmla="*/ 2147483647 h 960"/>
                <a:gd name="T40" fmla="*/ 2147483647 w 1001"/>
                <a:gd name="T41" fmla="*/ 2147483647 h 960"/>
                <a:gd name="T42" fmla="*/ 2147483647 w 1001"/>
                <a:gd name="T43" fmla="*/ 2147483647 h 960"/>
                <a:gd name="T44" fmla="*/ 2147483647 w 1001"/>
                <a:gd name="T45" fmla="*/ 2147483647 h 960"/>
                <a:gd name="T46" fmla="*/ 2147483647 w 1001"/>
                <a:gd name="T47" fmla="*/ 2147483647 h 960"/>
                <a:gd name="T48" fmla="*/ 2147483647 w 1001"/>
                <a:gd name="T49" fmla="*/ 2147483647 h 960"/>
                <a:gd name="T50" fmla="*/ 2147483647 w 1001"/>
                <a:gd name="T51" fmla="*/ 2147483647 h 960"/>
                <a:gd name="T52" fmla="*/ 2147483647 w 1001"/>
                <a:gd name="T53" fmla="*/ 0 h 960"/>
                <a:gd name="T54" fmla="*/ 2147483647 w 1001"/>
                <a:gd name="T55" fmla="*/ 2147483647 h 960"/>
                <a:gd name="T56" fmla="*/ 2147483647 w 1001"/>
                <a:gd name="T57" fmla="*/ 2147483647 h 960"/>
                <a:gd name="T58" fmla="*/ 2147483647 w 1001"/>
                <a:gd name="T59" fmla="*/ 2147483647 h 960"/>
                <a:gd name="T60" fmla="*/ 2147483647 w 1001"/>
                <a:gd name="T61" fmla="*/ 2147483647 h 960"/>
                <a:gd name="T62" fmla="*/ 2147483647 w 1001"/>
                <a:gd name="T63" fmla="*/ 2147483647 h 960"/>
                <a:gd name="T64" fmla="*/ 2147483647 w 1001"/>
                <a:gd name="T65" fmla="*/ 2147483647 h 960"/>
                <a:gd name="T66" fmla="*/ 2147483647 w 1001"/>
                <a:gd name="T67" fmla="*/ 2147483647 h 960"/>
                <a:gd name="T68" fmla="*/ 2147483647 w 1001"/>
                <a:gd name="T69" fmla="*/ 2147483647 h 960"/>
                <a:gd name="T70" fmla="*/ 2147483647 w 1001"/>
                <a:gd name="T71" fmla="*/ 2147483647 h 960"/>
                <a:gd name="T72" fmla="*/ 2147483647 w 1001"/>
                <a:gd name="T73" fmla="*/ 2147483647 h 960"/>
                <a:gd name="T74" fmla="*/ 2147483647 w 1001"/>
                <a:gd name="T75" fmla="*/ 2147483647 h 960"/>
                <a:gd name="T76" fmla="*/ 2147483647 w 1001"/>
                <a:gd name="T77" fmla="*/ 2147483647 h 960"/>
                <a:gd name="T78" fmla="*/ 2147483647 w 1001"/>
                <a:gd name="T79" fmla="*/ 2147483647 h 960"/>
                <a:gd name="T80" fmla="*/ 2147483647 w 1001"/>
                <a:gd name="T81" fmla="*/ 2147483647 h 960"/>
                <a:gd name="T82" fmla="*/ 2147483647 w 1001"/>
                <a:gd name="T83" fmla="*/ 2147483647 h 960"/>
                <a:gd name="T84" fmla="*/ 2147483647 w 1001"/>
                <a:gd name="T85" fmla="*/ 2147483647 h 960"/>
                <a:gd name="T86" fmla="*/ 2147483647 w 1001"/>
                <a:gd name="T87" fmla="*/ 2147483647 h 960"/>
                <a:gd name="T88" fmla="*/ 2147483647 w 1001"/>
                <a:gd name="T89" fmla="*/ 2147483647 h 9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001" h="960">
                  <a:moveTo>
                    <a:pt x="875" y="667"/>
                  </a:moveTo>
                  <a:lnTo>
                    <a:pt x="875" y="667"/>
                  </a:lnTo>
                  <a:cubicBezTo>
                    <a:pt x="771" y="667"/>
                    <a:pt x="771" y="667"/>
                    <a:pt x="771" y="667"/>
                  </a:cubicBezTo>
                  <a:cubicBezTo>
                    <a:pt x="771" y="657"/>
                    <a:pt x="771" y="657"/>
                    <a:pt x="771" y="646"/>
                  </a:cubicBezTo>
                  <a:cubicBezTo>
                    <a:pt x="750" y="667"/>
                    <a:pt x="718" y="688"/>
                    <a:pt x="677" y="709"/>
                  </a:cubicBezTo>
                  <a:cubicBezTo>
                    <a:pt x="718" y="709"/>
                    <a:pt x="718" y="709"/>
                    <a:pt x="718" y="709"/>
                  </a:cubicBezTo>
                  <a:cubicBezTo>
                    <a:pt x="698" y="771"/>
                    <a:pt x="666" y="823"/>
                    <a:pt x="635" y="865"/>
                  </a:cubicBezTo>
                  <a:cubicBezTo>
                    <a:pt x="604" y="875"/>
                    <a:pt x="573" y="875"/>
                    <a:pt x="541" y="875"/>
                  </a:cubicBezTo>
                  <a:cubicBezTo>
                    <a:pt x="541" y="771"/>
                    <a:pt x="541" y="771"/>
                    <a:pt x="541" y="771"/>
                  </a:cubicBezTo>
                  <a:cubicBezTo>
                    <a:pt x="531" y="782"/>
                    <a:pt x="510" y="782"/>
                    <a:pt x="500" y="792"/>
                  </a:cubicBezTo>
                  <a:cubicBezTo>
                    <a:pt x="500" y="875"/>
                    <a:pt x="500" y="875"/>
                    <a:pt x="500" y="875"/>
                  </a:cubicBezTo>
                  <a:cubicBezTo>
                    <a:pt x="468" y="875"/>
                    <a:pt x="437" y="875"/>
                    <a:pt x="406" y="865"/>
                  </a:cubicBezTo>
                  <a:cubicBezTo>
                    <a:pt x="396" y="855"/>
                    <a:pt x="385" y="834"/>
                    <a:pt x="375" y="823"/>
                  </a:cubicBezTo>
                  <a:cubicBezTo>
                    <a:pt x="364" y="823"/>
                    <a:pt x="343" y="823"/>
                    <a:pt x="333" y="823"/>
                  </a:cubicBezTo>
                  <a:cubicBezTo>
                    <a:pt x="333" y="834"/>
                    <a:pt x="343" y="834"/>
                    <a:pt x="343" y="834"/>
                  </a:cubicBezTo>
                  <a:cubicBezTo>
                    <a:pt x="333" y="834"/>
                    <a:pt x="333" y="834"/>
                    <a:pt x="323" y="823"/>
                  </a:cubicBezTo>
                  <a:cubicBezTo>
                    <a:pt x="302" y="834"/>
                    <a:pt x="271" y="834"/>
                    <a:pt x="239" y="834"/>
                  </a:cubicBezTo>
                  <a:cubicBezTo>
                    <a:pt x="229" y="834"/>
                    <a:pt x="208" y="834"/>
                    <a:pt x="198" y="834"/>
                  </a:cubicBezTo>
                  <a:cubicBezTo>
                    <a:pt x="281" y="907"/>
                    <a:pt x="396" y="959"/>
                    <a:pt x="521" y="959"/>
                  </a:cubicBezTo>
                  <a:cubicBezTo>
                    <a:pt x="739" y="959"/>
                    <a:pt x="927" y="813"/>
                    <a:pt x="979" y="604"/>
                  </a:cubicBezTo>
                  <a:cubicBezTo>
                    <a:pt x="916" y="542"/>
                    <a:pt x="916" y="542"/>
                    <a:pt x="916" y="542"/>
                  </a:cubicBezTo>
                  <a:cubicBezTo>
                    <a:pt x="906" y="584"/>
                    <a:pt x="896" y="625"/>
                    <a:pt x="875" y="667"/>
                  </a:cubicBezTo>
                  <a:close/>
                  <a:moveTo>
                    <a:pt x="698" y="834"/>
                  </a:moveTo>
                  <a:lnTo>
                    <a:pt x="698" y="834"/>
                  </a:lnTo>
                  <a:cubicBezTo>
                    <a:pt x="718" y="802"/>
                    <a:pt x="739" y="761"/>
                    <a:pt x="760" y="709"/>
                  </a:cubicBezTo>
                  <a:cubicBezTo>
                    <a:pt x="854" y="709"/>
                    <a:pt x="854" y="709"/>
                    <a:pt x="854" y="709"/>
                  </a:cubicBezTo>
                  <a:cubicBezTo>
                    <a:pt x="812" y="761"/>
                    <a:pt x="760" y="802"/>
                    <a:pt x="698" y="834"/>
                  </a:cubicBezTo>
                  <a:close/>
                  <a:moveTo>
                    <a:pt x="156" y="646"/>
                  </a:moveTo>
                  <a:lnTo>
                    <a:pt x="156" y="646"/>
                  </a:lnTo>
                  <a:cubicBezTo>
                    <a:pt x="135" y="594"/>
                    <a:pt x="125" y="552"/>
                    <a:pt x="125" y="500"/>
                  </a:cubicBezTo>
                  <a:cubicBezTo>
                    <a:pt x="250" y="500"/>
                    <a:pt x="250" y="500"/>
                    <a:pt x="250" y="500"/>
                  </a:cubicBezTo>
                  <a:cubicBezTo>
                    <a:pt x="250" y="552"/>
                    <a:pt x="260" y="594"/>
                    <a:pt x="271" y="636"/>
                  </a:cubicBezTo>
                  <a:cubicBezTo>
                    <a:pt x="281" y="636"/>
                    <a:pt x="291" y="625"/>
                    <a:pt x="302" y="625"/>
                  </a:cubicBezTo>
                  <a:cubicBezTo>
                    <a:pt x="291" y="584"/>
                    <a:pt x="291" y="542"/>
                    <a:pt x="291" y="500"/>
                  </a:cubicBezTo>
                  <a:cubicBezTo>
                    <a:pt x="500" y="500"/>
                    <a:pt x="500" y="500"/>
                    <a:pt x="500" y="500"/>
                  </a:cubicBezTo>
                  <a:cubicBezTo>
                    <a:pt x="500" y="532"/>
                    <a:pt x="500" y="532"/>
                    <a:pt x="500" y="532"/>
                  </a:cubicBezTo>
                  <a:lnTo>
                    <a:pt x="510" y="521"/>
                  </a:lnTo>
                  <a:cubicBezTo>
                    <a:pt x="521" y="521"/>
                    <a:pt x="531" y="511"/>
                    <a:pt x="541" y="500"/>
                  </a:cubicBezTo>
                  <a:cubicBezTo>
                    <a:pt x="562" y="490"/>
                    <a:pt x="583" y="469"/>
                    <a:pt x="593" y="459"/>
                  </a:cubicBezTo>
                  <a:cubicBezTo>
                    <a:pt x="541" y="459"/>
                    <a:pt x="541" y="459"/>
                    <a:pt x="541" y="459"/>
                  </a:cubicBezTo>
                  <a:cubicBezTo>
                    <a:pt x="541" y="292"/>
                    <a:pt x="541" y="292"/>
                    <a:pt x="541" y="292"/>
                  </a:cubicBezTo>
                  <a:cubicBezTo>
                    <a:pt x="583" y="292"/>
                    <a:pt x="583" y="292"/>
                    <a:pt x="583" y="292"/>
                  </a:cubicBezTo>
                  <a:cubicBezTo>
                    <a:pt x="625" y="250"/>
                    <a:pt x="625" y="250"/>
                    <a:pt x="625" y="250"/>
                  </a:cubicBezTo>
                  <a:cubicBezTo>
                    <a:pt x="541" y="250"/>
                    <a:pt x="541" y="250"/>
                    <a:pt x="541" y="250"/>
                  </a:cubicBezTo>
                  <a:cubicBezTo>
                    <a:pt x="541" y="84"/>
                    <a:pt x="541" y="84"/>
                    <a:pt x="541" y="84"/>
                  </a:cubicBezTo>
                  <a:cubicBezTo>
                    <a:pt x="573" y="84"/>
                    <a:pt x="604" y="84"/>
                    <a:pt x="635" y="94"/>
                  </a:cubicBezTo>
                  <a:cubicBezTo>
                    <a:pt x="666" y="125"/>
                    <a:pt x="687" y="167"/>
                    <a:pt x="708" y="209"/>
                  </a:cubicBezTo>
                  <a:cubicBezTo>
                    <a:pt x="739" y="198"/>
                    <a:pt x="739" y="198"/>
                    <a:pt x="739" y="198"/>
                  </a:cubicBezTo>
                  <a:cubicBezTo>
                    <a:pt x="729" y="167"/>
                    <a:pt x="718" y="146"/>
                    <a:pt x="698" y="125"/>
                  </a:cubicBezTo>
                  <a:cubicBezTo>
                    <a:pt x="729" y="136"/>
                    <a:pt x="760" y="157"/>
                    <a:pt x="781" y="177"/>
                  </a:cubicBezTo>
                  <a:cubicBezTo>
                    <a:pt x="864" y="146"/>
                    <a:pt x="864" y="146"/>
                    <a:pt x="864" y="146"/>
                  </a:cubicBezTo>
                  <a:cubicBezTo>
                    <a:pt x="781" y="63"/>
                    <a:pt x="656" y="0"/>
                    <a:pt x="521" y="0"/>
                  </a:cubicBezTo>
                  <a:cubicBezTo>
                    <a:pt x="260" y="0"/>
                    <a:pt x="41" y="219"/>
                    <a:pt x="41" y="479"/>
                  </a:cubicBezTo>
                  <a:cubicBezTo>
                    <a:pt x="41" y="490"/>
                    <a:pt x="41" y="500"/>
                    <a:pt x="41" y="500"/>
                  </a:cubicBezTo>
                  <a:cubicBezTo>
                    <a:pt x="62" y="584"/>
                    <a:pt x="114" y="625"/>
                    <a:pt x="156" y="646"/>
                  </a:cubicBezTo>
                  <a:close/>
                  <a:moveTo>
                    <a:pt x="500" y="459"/>
                  </a:moveTo>
                  <a:lnTo>
                    <a:pt x="500" y="459"/>
                  </a:lnTo>
                  <a:cubicBezTo>
                    <a:pt x="291" y="459"/>
                    <a:pt x="291" y="459"/>
                    <a:pt x="291" y="459"/>
                  </a:cubicBezTo>
                  <a:cubicBezTo>
                    <a:pt x="291" y="396"/>
                    <a:pt x="291" y="344"/>
                    <a:pt x="312" y="292"/>
                  </a:cubicBezTo>
                  <a:cubicBezTo>
                    <a:pt x="500" y="292"/>
                    <a:pt x="500" y="292"/>
                    <a:pt x="500" y="292"/>
                  </a:cubicBezTo>
                  <a:lnTo>
                    <a:pt x="500" y="459"/>
                  </a:lnTo>
                  <a:close/>
                  <a:moveTo>
                    <a:pt x="500" y="84"/>
                  </a:moveTo>
                  <a:lnTo>
                    <a:pt x="500" y="84"/>
                  </a:lnTo>
                  <a:cubicBezTo>
                    <a:pt x="500" y="250"/>
                    <a:pt x="500" y="250"/>
                    <a:pt x="500" y="250"/>
                  </a:cubicBezTo>
                  <a:cubicBezTo>
                    <a:pt x="323" y="250"/>
                    <a:pt x="323" y="250"/>
                    <a:pt x="323" y="250"/>
                  </a:cubicBezTo>
                  <a:cubicBezTo>
                    <a:pt x="343" y="188"/>
                    <a:pt x="375" y="136"/>
                    <a:pt x="406" y="94"/>
                  </a:cubicBezTo>
                  <a:cubicBezTo>
                    <a:pt x="437" y="84"/>
                    <a:pt x="468" y="84"/>
                    <a:pt x="500" y="84"/>
                  </a:cubicBezTo>
                  <a:close/>
                  <a:moveTo>
                    <a:pt x="343" y="125"/>
                  </a:moveTo>
                  <a:lnTo>
                    <a:pt x="343" y="125"/>
                  </a:lnTo>
                  <a:cubicBezTo>
                    <a:pt x="323" y="157"/>
                    <a:pt x="302" y="198"/>
                    <a:pt x="281" y="250"/>
                  </a:cubicBezTo>
                  <a:cubicBezTo>
                    <a:pt x="187" y="250"/>
                    <a:pt x="187" y="250"/>
                    <a:pt x="187" y="250"/>
                  </a:cubicBezTo>
                  <a:cubicBezTo>
                    <a:pt x="229" y="198"/>
                    <a:pt x="281" y="157"/>
                    <a:pt x="343" y="125"/>
                  </a:cubicBezTo>
                  <a:close/>
                  <a:moveTo>
                    <a:pt x="166" y="292"/>
                  </a:moveTo>
                  <a:lnTo>
                    <a:pt x="166" y="292"/>
                  </a:lnTo>
                  <a:cubicBezTo>
                    <a:pt x="271" y="292"/>
                    <a:pt x="271" y="292"/>
                    <a:pt x="271" y="292"/>
                  </a:cubicBezTo>
                  <a:cubicBezTo>
                    <a:pt x="260" y="344"/>
                    <a:pt x="250" y="396"/>
                    <a:pt x="250" y="459"/>
                  </a:cubicBezTo>
                  <a:cubicBezTo>
                    <a:pt x="125" y="459"/>
                    <a:pt x="125" y="459"/>
                    <a:pt x="125" y="459"/>
                  </a:cubicBezTo>
                  <a:cubicBezTo>
                    <a:pt x="125" y="396"/>
                    <a:pt x="135" y="344"/>
                    <a:pt x="166" y="292"/>
                  </a:cubicBezTo>
                  <a:close/>
                  <a:moveTo>
                    <a:pt x="677" y="282"/>
                  </a:moveTo>
                  <a:lnTo>
                    <a:pt x="677" y="282"/>
                  </a:lnTo>
                  <a:cubicBezTo>
                    <a:pt x="791" y="354"/>
                    <a:pt x="791" y="354"/>
                    <a:pt x="791" y="354"/>
                  </a:cubicBezTo>
                  <a:cubicBezTo>
                    <a:pt x="791" y="354"/>
                    <a:pt x="677" y="500"/>
                    <a:pt x="541" y="573"/>
                  </a:cubicBezTo>
                  <a:cubicBezTo>
                    <a:pt x="416" y="646"/>
                    <a:pt x="62" y="855"/>
                    <a:pt x="0" y="542"/>
                  </a:cubicBezTo>
                  <a:cubicBezTo>
                    <a:pt x="0" y="886"/>
                    <a:pt x="427" y="771"/>
                    <a:pt x="604" y="677"/>
                  </a:cubicBezTo>
                  <a:cubicBezTo>
                    <a:pt x="760" y="604"/>
                    <a:pt x="906" y="438"/>
                    <a:pt x="906" y="438"/>
                  </a:cubicBezTo>
                  <a:cubicBezTo>
                    <a:pt x="1000" y="532"/>
                    <a:pt x="1000" y="532"/>
                    <a:pt x="1000" y="532"/>
                  </a:cubicBezTo>
                  <a:cubicBezTo>
                    <a:pt x="1000" y="167"/>
                    <a:pt x="1000" y="167"/>
                    <a:pt x="1000" y="167"/>
                  </a:cubicBezTo>
                  <a:lnTo>
                    <a:pt x="677" y="282"/>
                  </a:lnTo>
                  <a:close/>
                </a:path>
              </a:pathLst>
            </a:custGeom>
            <a:solidFill>
              <a:srgbClr val="333333">
                <a:lumMod val="60000"/>
                <a:lumOff val="40000"/>
              </a:srgbClr>
            </a:solidFill>
            <a:ln>
              <a:noFill/>
            </a:ln>
            <a:extLst/>
          </p:spPr>
          <p:txBody>
            <a:bodyPr wrap="none" anchor="ctr"/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80000"/>
                <a:buFont typeface="Arial" charset="0"/>
                <a:buNone/>
                <a:tabLst/>
                <a:defRPr/>
              </a:pPr>
              <a:endParaRPr kumimoji="0" lang="tr-TR" sz="1600" b="0" i="0" u="none" strike="noStrike" kern="0" cap="none" spc="0" normalizeH="0" baseline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sp>
          <p:nvSpPr>
            <p:cNvPr id="444" name="Freeform 690"/>
            <p:cNvSpPr/>
            <p:nvPr/>
          </p:nvSpPr>
          <p:spPr>
            <a:xfrm>
              <a:off x="4281648" y="3049227"/>
              <a:ext cx="91335" cy="63180"/>
            </a:xfrm>
            <a:custGeom>
              <a:avLst/>
              <a:gdLst/>
              <a:ahLst/>
              <a:cxnLst/>
              <a:rect l="0" t="0" r="0" b="0"/>
              <a:pathLst>
                <a:path w="82066" h="56768">
                  <a:moveTo>
                    <a:pt x="81559" y="23939"/>
                  </a:moveTo>
                  <a:cubicBezTo>
                    <a:pt x="82066" y="23165"/>
                    <a:pt x="81825" y="22111"/>
                    <a:pt x="81013" y="21641"/>
                  </a:cubicBezTo>
                  <a:cubicBezTo>
                    <a:pt x="80645" y="21425"/>
                    <a:pt x="80226" y="21196"/>
                    <a:pt x="79756" y="20917"/>
                  </a:cubicBezTo>
                  <a:cubicBezTo>
                    <a:pt x="79540" y="20803"/>
                    <a:pt x="79299" y="20663"/>
                    <a:pt x="79058" y="20523"/>
                  </a:cubicBezTo>
                  <a:cubicBezTo>
                    <a:pt x="78804" y="20371"/>
                    <a:pt x="78524" y="20218"/>
                    <a:pt x="78245" y="20053"/>
                  </a:cubicBezTo>
                  <a:cubicBezTo>
                    <a:pt x="77572" y="19685"/>
                    <a:pt x="76848" y="19291"/>
                    <a:pt x="76086" y="18872"/>
                  </a:cubicBezTo>
                  <a:cubicBezTo>
                    <a:pt x="75311" y="18440"/>
                    <a:pt x="74498" y="18009"/>
                    <a:pt x="73635" y="17539"/>
                  </a:cubicBezTo>
                  <a:cubicBezTo>
                    <a:pt x="72809" y="17120"/>
                    <a:pt x="71946" y="16688"/>
                    <a:pt x="71044" y="16243"/>
                  </a:cubicBezTo>
                  <a:cubicBezTo>
                    <a:pt x="70142" y="15786"/>
                    <a:pt x="69215" y="15303"/>
                    <a:pt x="68225" y="14846"/>
                  </a:cubicBezTo>
                  <a:cubicBezTo>
                    <a:pt x="67234" y="14402"/>
                    <a:pt x="66218" y="13932"/>
                    <a:pt x="65177" y="13449"/>
                  </a:cubicBezTo>
                  <a:cubicBezTo>
                    <a:pt x="64135" y="12967"/>
                    <a:pt x="63030" y="12522"/>
                    <a:pt x="61913" y="12040"/>
                  </a:cubicBezTo>
                  <a:cubicBezTo>
                    <a:pt x="60808" y="11582"/>
                    <a:pt x="59665" y="11100"/>
                    <a:pt x="58496" y="10643"/>
                  </a:cubicBezTo>
                  <a:cubicBezTo>
                    <a:pt x="58331" y="10579"/>
                    <a:pt x="58153" y="10528"/>
                    <a:pt x="57988" y="10465"/>
                  </a:cubicBezTo>
                  <a:lnTo>
                    <a:pt x="58014" y="10312"/>
                  </a:lnTo>
                  <a:cubicBezTo>
                    <a:pt x="57137" y="10160"/>
                    <a:pt x="34061" y="2705"/>
                    <a:pt x="24740" y="1638"/>
                  </a:cubicBezTo>
                  <a:cubicBezTo>
                    <a:pt x="24156" y="1549"/>
                    <a:pt x="23571" y="1461"/>
                    <a:pt x="22987" y="1384"/>
                  </a:cubicBezTo>
                  <a:cubicBezTo>
                    <a:pt x="22416" y="1308"/>
                    <a:pt x="21831" y="1245"/>
                    <a:pt x="21273" y="1181"/>
                  </a:cubicBezTo>
                  <a:cubicBezTo>
                    <a:pt x="20142" y="1041"/>
                    <a:pt x="19050" y="914"/>
                    <a:pt x="17983" y="787"/>
                  </a:cubicBezTo>
                  <a:cubicBezTo>
                    <a:pt x="16916" y="686"/>
                    <a:pt x="15888" y="610"/>
                    <a:pt x="14897" y="521"/>
                  </a:cubicBezTo>
                  <a:cubicBezTo>
                    <a:pt x="13919" y="444"/>
                    <a:pt x="12967" y="343"/>
                    <a:pt x="12065" y="305"/>
                  </a:cubicBezTo>
                  <a:cubicBezTo>
                    <a:pt x="11176" y="254"/>
                    <a:pt x="10312" y="216"/>
                    <a:pt x="9512" y="178"/>
                  </a:cubicBezTo>
                  <a:cubicBezTo>
                    <a:pt x="8712" y="140"/>
                    <a:pt x="7963" y="114"/>
                    <a:pt x="7265" y="64"/>
                  </a:cubicBezTo>
                  <a:cubicBezTo>
                    <a:pt x="6579" y="64"/>
                    <a:pt x="5931" y="51"/>
                    <a:pt x="5359" y="38"/>
                  </a:cubicBezTo>
                  <a:cubicBezTo>
                    <a:pt x="4559" y="25"/>
                    <a:pt x="3861" y="13"/>
                    <a:pt x="3315" y="13"/>
                  </a:cubicBezTo>
                  <a:cubicBezTo>
                    <a:pt x="2438" y="0"/>
                    <a:pt x="1715" y="686"/>
                    <a:pt x="1677" y="1562"/>
                  </a:cubicBezTo>
                  <a:lnTo>
                    <a:pt x="38" y="35661"/>
                  </a:lnTo>
                  <a:cubicBezTo>
                    <a:pt x="0" y="36512"/>
                    <a:pt x="610" y="37235"/>
                    <a:pt x="1435" y="37350"/>
                  </a:cubicBezTo>
                  <a:cubicBezTo>
                    <a:pt x="1791" y="37400"/>
                    <a:pt x="2210" y="37464"/>
                    <a:pt x="2680" y="37515"/>
                  </a:cubicBezTo>
                  <a:cubicBezTo>
                    <a:pt x="3099" y="37591"/>
                    <a:pt x="3582" y="37642"/>
                    <a:pt x="4102" y="37718"/>
                  </a:cubicBezTo>
                  <a:cubicBezTo>
                    <a:pt x="4610" y="37807"/>
                    <a:pt x="5182" y="37909"/>
                    <a:pt x="5766" y="38010"/>
                  </a:cubicBezTo>
                  <a:cubicBezTo>
                    <a:pt x="21501" y="40550"/>
                    <a:pt x="42177" y="51371"/>
                    <a:pt x="47574" y="54165"/>
                  </a:cubicBezTo>
                  <a:cubicBezTo>
                    <a:pt x="47993" y="54419"/>
                    <a:pt x="51499" y="56501"/>
                    <a:pt x="51892" y="56768"/>
                  </a:cubicBezTo>
                  <a:lnTo>
                    <a:pt x="71869" y="38683"/>
                  </a:lnTo>
                  <a:close/>
                </a:path>
              </a:pathLst>
            </a:custGeom>
            <a:solidFill>
              <a:srgbClr val="979693">
                <a:alpha val="100000"/>
              </a:srgbClr>
            </a:solidFill>
            <a:ln w="4914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45" name="Gruppieren 1"/>
            <p:cNvGrpSpPr>
              <a:grpSpLocks/>
            </p:cNvGrpSpPr>
            <p:nvPr/>
          </p:nvGrpSpPr>
          <p:grpSpPr bwMode="auto">
            <a:xfrm>
              <a:off x="3239732" y="3629591"/>
              <a:ext cx="361732" cy="361732"/>
              <a:chOff x="8236903" y="2735263"/>
              <a:chExt cx="1252538" cy="1252537"/>
            </a:xfrm>
            <a:solidFill>
              <a:srgbClr val="333333">
                <a:lumMod val="60000"/>
                <a:lumOff val="40000"/>
              </a:srgbClr>
            </a:solidFill>
          </p:grpSpPr>
          <p:sp>
            <p:nvSpPr>
              <p:cNvPr id="455" name="Freeform 8"/>
              <p:cNvSpPr>
                <a:spLocks noChangeArrowheads="1"/>
              </p:cNvSpPr>
              <p:nvPr/>
            </p:nvSpPr>
            <p:spPr bwMode="auto">
              <a:xfrm>
                <a:off x="8236903" y="3282950"/>
                <a:ext cx="704850" cy="704850"/>
              </a:xfrm>
              <a:custGeom>
                <a:avLst/>
                <a:gdLst>
                  <a:gd name="T0" fmla="*/ 2147483647 w 1960"/>
                  <a:gd name="T1" fmla="*/ 2147483647 h 1958"/>
                  <a:gd name="T2" fmla="*/ 2147483647 w 1960"/>
                  <a:gd name="T3" fmla="*/ 2147483647 h 1958"/>
                  <a:gd name="T4" fmla="*/ 2147483647 w 1960"/>
                  <a:gd name="T5" fmla="*/ 2147483647 h 1958"/>
                  <a:gd name="T6" fmla="*/ 2147483647 w 1960"/>
                  <a:gd name="T7" fmla="*/ 2147483647 h 1958"/>
                  <a:gd name="T8" fmla="*/ 2147483647 w 1960"/>
                  <a:gd name="T9" fmla="*/ 2147483647 h 1958"/>
                  <a:gd name="T10" fmla="*/ 2147483647 w 1960"/>
                  <a:gd name="T11" fmla="*/ 2147483647 h 1958"/>
                  <a:gd name="T12" fmla="*/ 2147483647 w 1960"/>
                  <a:gd name="T13" fmla="*/ 2147483647 h 1958"/>
                  <a:gd name="T14" fmla="*/ 2147483647 w 1960"/>
                  <a:gd name="T15" fmla="*/ 2147483647 h 1958"/>
                  <a:gd name="T16" fmla="*/ 2147483647 w 1960"/>
                  <a:gd name="T17" fmla="*/ 2147483647 h 1958"/>
                  <a:gd name="T18" fmla="*/ 2147483647 w 1960"/>
                  <a:gd name="T19" fmla="*/ 2147483647 h 1958"/>
                  <a:gd name="T20" fmla="*/ 2147483647 w 1960"/>
                  <a:gd name="T21" fmla="*/ 2147483647 h 1958"/>
                  <a:gd name="T22" fmla="*/ 2147483647 w 1960"/>
                  <a:gd name="T23" fmla="*/ 2147483647 h 1958"/>
                  <a:gd name="T24" fmla="*/ 2147483647 w 1960"/>
                  <a:gd name="T25" fmla="*/ 2147483647 h 1958"/>
                  <a:gd name="T26" fmla="*/ 2147483647 w 1960"/>
                  <a:gd name="T27" fmla="*/ 2147483647 h 1958"/>
                  <a:gd name="T28" fmla="*/ 2147483647 w 1960"/>
                  <a:gd name="T29" fmla="*/ 2147483647 h 1958"/>
                  <a:gd name="T30" fmla="*/ 2147483647 w 1960"/>
                  <a:gd name="T31" fmla="*/ 2147483647 h 1958"/>
                  <a:gd name="T32" fmla="*/ 2147483647 w 1960"/>
                  <a:gd name="T33" fmla="*/ 0 h 1958"/>
                  <a:gd name="T34" fmla="*/ 2147483647 w 1960"/>
                  <a:gd name="T35" fmla="*/ 2147483647 h 1958"/>
                  <a:gd name="T36" fmla="*/ 2147483647 w 1960"/>
                  <a:gd name="T37" fmla="*/ 2147483647 h 1958"/>
                  <a:gd name="T38" fmla="*/ 2147483647 w 1960"/>
                  <a:gd name="T39" fmla="*/ 2147483647 h 1958"/>
                  <a:gd name="T40" fmla="*/ 2147483647 w 1960"/>
                  <a:gd name="T41" fmla="*/ 2147483647 h 1958"/>
                  <a:gd name="T42" fmla="*/ 2147483647 w 1960"/>
                  <a:gd name="T43" fmla="*/ 2147483647 h 1958"/>
                  <a:gd name="T44" fmla="*/ 0 w 1960"/>
                  <a:gd name="T45" fmla="*/ 2147483647 h 1958"/>
                  <a:gd name="T46" fmla="*/ 0 w 1960"/>
                  <a:gd name="T47" fmla="*/ 2147483647 h 1958"/>
                  <a:gd name="T48" fmla="*/ 2147483647 w 1960"/>
                  <a:gd name="T49" fmla="*/ 2147483647 h 1958"/>
                  <a:gd name="T50" fmla="*/ 2147483647 w 1960"/>
                  <a:gd name="T51" fmla="*/ 2147483647 h 1958"/>
                  <a:gd name="T52" fmla="*/ 2147483647 w 1960"/>
                  <a:gd name="T53" fmla="*/ 2147483647 h 1958"/>
                  <a:gd name="T54" fmla="*/ 2147483647 w 1960"/>
                  <a:gd name="T55" fmla="*/ 2147483647 h 1958"/>
                  <a:gd name="T56" fmla="*/ 2147483647 w 1960"/>
                  <a:gd name="T57" fmla="*/ 2147483647 h 1958"/>
                  <a:gd name="T58" fmla="*/ 2147483647 w 1960"/>
                  <a:gd name="T59" fmla="*/ 2147483647 h 1958"/>
                  <a:gd name="T60" fmla="*/ 2147483647 w 1960"/>
                  <a:gd name="T61" fmla="*/ 2147483647 h 1958"/>
                  <a:gd name="T62" fmla="*/ 2147483647 w 1960"/>
                  <a:gd name="T63" fmla="*/ 2147483647 h 1958"/>
                  <a:gd name="T64" fmla="*/ 2147483647 w 1960"/>
                  <a:gd name="T65" fmla="*/ 2147483647 h 1958"/>
                  <a:gd name="T66" fmla="*/ 0 w 1960"/>
                  <a:gd name="T67" fmla="*/ 2147483647 h 1958"/>
                  <a:gd name="T68" fmla="*/ 0 w 1960"/>
                  <a:gd name="T69" fmla="*/ 2147483647 h 1958"/>
                  <a:gd name="T70" fmla="*/ 2147483647 w 1960"/>
                  <a:gd name="T71" fmla="*/ 2147483647 h 1958"/>
                  <a:gd name="T72" fmla="*/ 2147483647 w 1960"/>
                  <a:gd name="T73" fmla="*/ 2147483647 h 1958"/>
                  <a:gd name="T74" fmla="*/ 2147483647 w 1960"/>
                  <a:gd name="T75" fmla="*/ 2147483647 h 1958"/>
                  <a:gd name="T76" fmla="*/ 2147483647 w 1960"/>
                  <a:gd name="T77" fmla="*/ 2147483647 h 1958"/>
                  <a:gd name="T78" fmla="*/ 2147483647 w 1960"/>
                  <a:gd name="T79" fmla="*/ 2147483647 h 1958"/>
                  <a:gd name="T80" fmla="*/ 2147483647 w 1960"/>
                  <a:gd name="T81" fmla="*/ 2147483647 h 1958"/>
                  <a:gd name="T82" fmla="*/ 2147483647 w 1960"/>
                  <a:gd name="T83" fmla="*/ 2147483647 h 1958"/>
                  <a:gd name="T84" fmla="*/ 2147483647 w 1960"/>
                  <a:gd name="T85" fmla="*/ 2147483647 h 1958"/>
                  <a:gd name="T86" fmla="*/ 2147483647 w 1960"/>
                  <a:gd name="T87" fmla="*/ 2147483647 h 1958"/>
                  <a:gd name="T88" fmla="*/ 2147483647 w 1960"/>
                  <a:gd name="T89" fmla="*/ 2147483647 h 1958"/>
                  <a:gd name="T90" fmla="*/ 2147483647 w 1960"/>
                  <a:gd name="T91" fmla="*/ 2147483647 h 1958"/>
                  <a:gd name="T92" fmla="*/ 2147483647 w 1960"/>
                  <a:gd name="T93" fmla="*/ 2147483647 h 1958"/>
                  <a:gd name="T94" fmla="*/ 2147483647 w 1960"/>
                  <a:gd name="T95" fmla="*/ 2147483647 h 19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60" h="1958">
                    <a:moveTo>
                      <a:pt x="1500" y="1406"/>
                    </a:moveTo>
                    <a:lnTo>
                      <a:pt x="1500" y="1406"/>
                    </a:lnTo>
                    <a:cubicBezTo>
                      <a:pt x="1500" y="1385"/>
                      <a:pt x="1511" y="1375"/>
                      <a:pt x="1521" y="1364"/>
                    </a:cubicBezTo>
                    <a:cubicBezTo>
                      <a:pt x="1532" y="1364"/>
                      <a:pt x="1552" y="1364"/>
                      <a:pt x="1563" y="1375"/>
                    </a:cubicBezTo>
                    <a:cubicBezTo>
                      <a:pt x="1604" y="1406"/>
                      <a:pt x="1657" y="1415"/>
                      <a:pt x="1709" y="1415"/>
                    </a:cubicBezTo>
                    <a:cubicBezTo>
                      <a:pt x="1844" y="1415"/>
                      <a:pt x="1959" y="1302"/>
                      <a:pt x="1959" y="1166"/>
                    </a:cubicBezTo>
                    <a:cubicBezTo>
                      <a:pt x="1959" y="1031"/>
                      <a:pt x="1844" y="916"/>
                      <a:pt x="1709" y="916"/>
                    </a:cubicBezTo>
                    <a:cubicBezTo>
                      <a:pt x="1657" y="916"/>
                      <a:pt x="1604" y="927"/>
                      <a:pt x="1563" y="958"/>
                    </a:cubicBezTo>
                    <a:cubicBezTo>
                      <a:pt x="1552" y="968"/>
                      <a:pt x="1532" y="968"/>
                      <a:pt x="1521" y="968"/>
                    </a:cubicBezTo>
                    <a:cubicBezTo>
                      <a:pt x="1511" y="958"/>
                      <a:pt x="1500" y="948"/>
                      <a:pt x="1500" y="927"/>
                    </a:cubicBezTo>
                    <a:cubicBezTo>
                      <a:pt x="1500" y="583"/>
                      <a:pt x="1500" y="583"/>
                      <a:pt x="1500" y="583"/>
                    </a:cubicBezTo>
                    <a:cubicBezTo>
                      <a:pt x="1500" y="510"/>
                      <a:pt x="1448" y="458"/>
                      <a:pt x="1375" y="458"/>
                    </a:cubicBezTo>
                    <a:cubicBezTo>
                      <a:pt x="990" y="458"/>
                      <a:pt x="990" y="458"/>
                      <a:pt x="990" y="458"/>
                    </a:cubicBezTo>
                    <a:cubicBezTo>
                      <a:pt x="969" y="458"/>
                      <a:pt x="959" y="448"/>
                      <a:pt x="948" y="437"/>
                    </a:cubicBezTo>
                    <a:cubicBezTo>
                      <a:pt x="948" y="427"/>
                      <a:pt x="948" y="406"/>
                      <a:pt x="959" y="395"/>
                    </a:cubicBezTo>
                    <a:cubicBezTo>
                      <a:pt x="990" y="354"/>
                      <a:pt x="1000" y="302"/>
                      <a:pt x="1000" y="250"/>
                    </a:cubicBezTo>
                    <a:cubicBezTo>
                      <a:pt x="1000" y="114"/>
                      <a:pt x="886" y="0"/>
                      <a:pt x="750" y="0"/>
                    </a:cubicBezTo>
                    <a:cubicBezTo>
                      <a:pt x="615" y="0"/>
                      <a:pt x="500" y="114"/>
                      <a:pt x="500" y="250"/>
                    </a:cubicBezTo>
                    <a:cubicBezTo>
                      <a:pt x="500" y="302"/>
                      <a:pt x="511" y="354"/>
                      <a:pt x="542" y="395"/>
                    </a:cubicBezTo>
                    <a:cubicBezTo>
                      <a:pt x="552" y="406"/>
                      <a:pt x="552" y="427"/>
                      <a:pt x="552" y="437"/>
                    </a:cubicBezTo>
                    <a:cubicBezTo>
                      <a:pt x="542" y="448"/>
                      <a:pt x="532" y="458"/>
                      <a:pt x="511" y="458"/>
                    </a:cubicBezTo>
                    <a:cubicBezTo>
                      <a:pt x="125" y="458"/>
                      <a:pt x="125" y="458"/>
                      <a:pt x="125" y="458"/>
                    </a:cubicBezTo>
                    <a:cubicBezTo>
                      <a:pt x="52" y="458"/>
                      <a:pt x="0" y="510"/>
                      <a:pt x="0" y="583"/>
                    </a:cubicBezTo>
                    <a:cubicBezTo>
                      <a:pt x="0" y="916"/>
                      <a:pt x="0" y="916"/>
                      <a:pt x="0" y="916"/>
                    </a:cubicBezTo>
                    <a:cubicBezTo>
                      <a:pt x="0" y="927"/>
                      <a:pt x="11" y="948"/>
                      <a:pt x="21" y="948"/>
                    </a:cubicBezTo>
                    <a:cubicBezTo>
                      <a:pt x="32" y="958"/>
                      <a:pt x="32" y="958"/>
                      <a:pt x="42" y="958"/>
                    </a:cubicBezTo>
                    <a:cubicBezTo>
                      <a:pt x="52" y="958"/>
                      <a:pt x="63" y="958"/>
                      <a:pt x="63" y="948"/>
                    </a:cubicBezTo>
                    <a:cubicBezTo>
                      <a:pt x="105" y="916"/>
                      <a:pt x="157" y="906"/>
                      <a:pt x="209" y="906"/>
                    </a:cubicBezTo>
                    <a:cubicBezTo>
                      <a:pt x="355" y="906"/>
                      <a:pt x="469" y="1021"/>
                      <a:pt x="469" y="1166"/>
                    </a:cubicBezTo>
                    <a:cubicBezTo>
                      <a:pt x="469" y="1312"/>
                      <a:pt x="355" y="1426"/>
                      <a:pt x="209" y="1426"/>
                    </a:cubicBezTo>
                    <a:cubicBezTo>
                      <a:pt x="157" y="1426"/>
                      <a:pt x="105" y="1415"/>
                      <a:pt x="63" y="1385"/>
                    </a:cubicBezTo>
                    <a:cubicBezTo>
                      <a:pt x="63" y="1375"/>
                      <a:pt x="52" y="1375"/>
                      <a:pt x="42" y="1375"/>
                    </a:cubicBezTo>
                    <a:cubicBezTo>
                      <a:pt x="32" y="1375"/>
                      <a:pt x="32" y="1375"/>
                      <a:pt x="21" y="1385"/>
                    </a:cubicBezTo>
                    <a:cubicBezTo>
                      <a:pt x="11" y="1385"/>
                      <a:pt x="0" y="1406"/>
                      <a:pt x="0" y="1415"/>
                    </a:cubicBezTo>
                    <a:cubicBezTo>
                      <a:pt x="0" y="1832"/>
                      <a:pt x="0" y="1832"/>
                      <a:pt x="0" y="1832"/>
                    </a:cubicBezTo>
                    <a:cubicBezTo>
                      <a:pt x="0" y="1905"/>
                      <a:pt x="52" y="1957"/>
                      <a:pt x="125" y="1957"/>
                    </a:cubicBezTo>
                    <a:cubicBezTo>
                      <a:pt x="500" y="1957"/>
                      <a:pt x="500" y="1957"/>
                      <a:pt x="500" y="1957"/>
                    </a:cubicBezTo>
                    <a:cubicBezTo>
                      <a:pt x="511" y="1957"/>
                      <a:pt x="532" y="1947"/>
                      <a:pt x="532" y="1936"/>
                    </a:cubicBezTo>
                    <a:cubicBezTo>
                      <a:pt x="542" y="1926"/>
                      <a:pt x="542" y="1905"/>
                      <a:pt x="532" y="1895"/>
                    </a:cubicBezTo>
                    <a:cubicBezTo>
                      <a:pt x="500" y="1853"/>
                      <a:pt x="490" y="1801"/>
                      <a:pt x="490" y="1749"/>
                    </a:cubicBezTo>
                    <a:cubicBezTo>
                      <a:pt x="490" y="1603"/>
                      <a:pt x="605" y="1488"/>
                      <a:pt x="750" y="1488"/>
                    </a:cubicBezTo>
                    <a:cubicBezTo>
                      <a:pt x="896" y="1488"/>
                      <a:pt x="1011" y="1603"/>
                      <a:pt x="1011" y="1749"/>
                    </a:cubicBezTo>
                    <a:cubicBezTo>
                      <a:pt x="1011" y="1801"/>
                      <a:pt x="1000" y="1853"/>
                      <a:pt x="969" y="1895"/>
                    </a:cubicBezTo>
                    <a:cubicBezTo>
                      <a:pt x="959" y="1905"/>
                      <a:pt x="959" y="1926"/>
                      <a:pt x="969" y="1936"/>
                    </a:cubicBezTo>
                    <a:cubicBezTo>
                      <a:pt x="969" y="1947"/>
                      <a:pt x="990" y="1957"/>
                      <a:pt x="1000" y="1957"/>
                    </a:cubicBezTo>
                    <a:cubicBezTo>
                      <a:pt x="1375" y="1957"/>
                      <a:pt x="1375" y="1957"/>
                      <a:pt x="1375" y="1957"/>
                    </a:cubicBezTo>
                    <a:cubicBezTo>
                      <a:pt x="1448" y="1957"/>
                      <a:pt x="1500" y="1905"/>
                      <a:pt x="1500" y="1832"/>
                    </a:cubicBezTo>
                    <a:lnTo>
                      <a:pt x="1500" y="1406"/>
                    </a:lnTo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6" name="Freeform 8"/>
              <p:cNvSpPr>
                <a:spLocks noChangeArrowheads="1"/>
              </p:cNvSpPr>
              <p:nvPr/>
            </p:nvSpPr>
            <p:spPr bwMode="auto">
              <a:xfrm>
                <a:off x="8784591" y="3282950"/>
                <a:ext cx="704850" cy="704850"/>
              </a:xfrm>
              <a:custGeom>
                <a:avLst/>
                <a:gdLst>
                  <a:gd name="T0" fmla="*/ 2147483647 w 1960"/>
                  <a:gd name="T1" fmla="*/ 2147483647 h 1958"/>
                  <a:gd name="T2" fmla="*/ 2147483647 w 1960"/>
                  <a:gd name="T3" fmla="*/ 2147483647 h 1958"/>
                  <a:gd name="T4" fmla="*/ 2147483647 w 1960"/>
                  <a:gd name="T5" fmla="*/ 2147483647 h 1958"/>
                  <a:gd name="T6" fmla="*/ 2147483647 w 1960"/>
                  <a:gd name="T7" fmla="*/ 2147483647 h 1958"/>
                  <a:gd name="T8" fmla="*/ 2147483647 w 1960"/>
                  <a:gd name="T9" fmla="*/ 2147483647 h 1958"/>
                  <a:gd name="T10" fmla="*/ 2147483647 w 1960"/>
                  <a:gd name="T11" fmla="*/ 2147483647 h 1958"/>
                  <a:gd name="T12" fmla="*/ 2147483647 w 1960"/>
                  <a:gd name="T13" fmla="*/ 2147483647 h 1958"/>
                  <a:gd name="T14" fmla="*/ 2147483647 w 1960"/>
                  <a:gd name="T15" fmla="*/ 2147483647 h 1958"/>
                  <a:gd name="T16" fmla="*/ 2147483647 w 1960"/>
                  <a:gd name="T17" fmla="*/ 2147483647 h 1958"/>
                  <a:gd name="T18" fmla="*/ 2147483647 w 1960"/>
                  <a:gd name="T19" fmla="*/ 2147483647 h 1958"/>
                  <a:gd name="T20" fmla="*/ 2147483647 w 1960"/>
                  <a:gd name="T21" fmla="*/ 2147483647 h 1958"/>
                  <a:gd name="T22" fmla="*/ 2147483647 w 1960"/>
                  <a:gd name="T23" fmla="*/ 2147483647 h 1958"/>
                  <a:gd name="T24" fmla="*/ 2147483647 w 1960"/>
                  <a:gd name="T25" fmla="*/ 2147483647 h 1958"/>
                  <a:gd name="T26" fmla="*/ 2147483647 w 1960"/>
                  <a:gd name="T27" fmla="*/ 2147483647 h 1958"/>
                  <a:gd name="T28" fmla="*/ 2147483647 w 1960"/>
                  <a:gd name="T29" fmla="*/ 2147483647 h 1958"/>
                  <a:gd name="T30" fmla="*/ 2147483647 w 1960"/>
                  <a:gd name="T31" fmla="*/ 2147483647 h 1958"/>
                  <a:gd name="T32" fmla="*/ 2147483647 w 1960"/>
                  <a:gd name="T33" fmla="*/ 0 h 1958"/>
                  <a:gd name="T34" fmla="*/ 2147483647 w 1960"/>
                  <a:gd name="T35" fmla="*/ 2147483647 h 1958"/>
                  <a:gd name="T36" fmla="*/ 2147483647 w 1960"/>
                  <a:gd name="T37" fmla="*/ 2147483647 h 1958"/>
                  <a:gd name="T38" fmla="*/ 2147483647 w 1960"/>
                  <a:gd name="T39" fmla="*/ 2147483647 h 1958"/>
                  <a:gd name="T40" fmla="*/ 2147483647 w 1960"/>
                  <a:gd name="T41" fmla="*/ 2147483647 h 1958"/>
                  <a:gd name="T42" fmla="*/ 2147483647 w 1960"/>
                  <a:gd name="T43" fmla="*/ 2147483647 h 1958"/>
                  <a:gd name="T44" fmla="*/ 0 w 1960"/>
                  <a:gd name="T45" fmla="*/ 2147483647 h 1958"/>
                  <a:gd name="T46" fmla="*/ 0 w 1960"/>
                  <a:gd name="T47" fmla="*/ 2147483647 h 1958"/>
                  <a:gd name="T48" fmla="*/ 2147483647 w 1960"/>
                  <a:gd name="T49" fmla="*/ 2147483647 h 1958"/>
                  <a:gd name="T50" fmla="*/ 2147483647 w 1960"/>
                  <a:gd name="T51" fmla="*/ 2147483647 h 1958"/>
                  <a:gd name="T52" fmla="*/ 2147483647 w 1960"/>
                  <a:gd name="T53" fmla="*/ 2147483647 h 1958"/>
                  <a:gd name="T54" fmla="*/ 2147483647 w 1960"/>
                  <a:gd name="T55" fmla="*/ 2147483647 h 1958"/>
                  <a:gd name="T56" fmla="*/ 2147483647 w 1960"/>
                  <a:gd name="T57" fmla="*/ 2147483647 h 1958"/>
                  <a:gd name="T58" fmla="*/ 2147483647 w 1960"/>
                  <a:gd name="T59" fmla="*/ 2147483647 h 1958"/>
                  <a:gd name="T60" fmla="*/ 2147483647 w 1960"/>
                  <a:gd name="T61" fmla="*/ 2147483647 h 1958"/>
                  <a:gd name="T62" fmla="*/ 2147483647 w 1960"/>
                  <a:gd name="T63" fmla="*/ 2147483647 h 1958"/>
                  <a:gd name="T64" fmla="*/ 2147483647 w 1960"/>
                  <a:gd name="T65" fmla="*/ 2147483647 h 1958"/>
                  <a:gd name="T66" fmla="*/ 0 w 1960"/>
                  <a:gd name="T67" fmla="*/ 2147483647 h 1958"/>
                  <a:gd name="T68" fmla="*/ 0 w 1960"/>
                  <a:gd name="T69" fmla="*/ 2147483647 h 1958"/>
                  <a:gd name="T70" fmla="*/ 2147483647 w 1960"/>
                  <a:gd name="T71" fmla="*/ 2147483647 h 1958"/>
                  <a:gd name="T72" fmla="*/ 2147483647 w 1960"/>
                  <a:gd name="T73" fmla="*/ 2147483647 h 1958"/>
                  <a:gd name="T74" fmla="*/ 2147483647 w 1960"/>
                  <a:gd name="T75" fmla="*/ 2147483647 h 1958"/>
                  <a:gd name="T76" fmla="*/ 2147483647 w 1960"/>
                  <a:gd name="T77" fmla="*/ 2147483647 h 1958"/>
                  <a:gd name="T78" fmla="*/ 2147483647 w 1960"/>
                  <a:gd name="T79" fmla="*/ 2147483647 h 1958"/>
                  <a:gd name="T80" fmla="*/ 2147483647 w 1960"/>
                  <a:gd name="T81" fmla="*/ 2147483647 h 1958"/>
                  <a:gd name="T82" fmla="*/ 2147483647 w 1960"/>
                  <a:gd name="T83" fmla="*/ 2147483647 h 1958"/>
                  <a:gd name="T84" fmla="*/ 2147483647 w 1960"/>
                  <a:gd name="T85" fmla="*/ 2147483647 h 1958"/>
                  <a:gd name="T86" fmla="*/ 2147483647 w 1960"/>
                  <a:gd name="T87" fmla="*/ 2147483647 h 1958"/>
                  <a:gd name="T88" fmla="*/ 2147483647 w 1960"/>
                  <a:gd name="T89" fmla="*/ 2147483647 h 1958"/>
                  <a:gd name="T90" fmla="*/ 2147483647 w 1960"/>
                  <a:gd name="T91" fmla="*/ 2147483647 h 1958"/>
                  <a:gd name="T92" fmla="*/ 2147483647 w 1960"/>
                  <a:gd name="T93" fmla="*/ 2147483647 h 1958"/>
                  <a:gd name="T94" fmla="*/ 2147483647 w 1960"/>
                  <a:gd name="T95" fmla="*/ 2147483647 h 19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60" h="1958">
                    <a:moveTo>
                      <a:pt x="1500" y="1406"/>
                    </a:moveTo>
                    <a:lnTo>
                      <a:pt x="1500" y="1406"/>
                    </a:lnTo>
                    <a:cubicBezTo>
                      <a:pt x="1500" y="1385"/>
                      <a:pt x="1511" y="1375"/>
                      <a:pt x="1521" y="1364"/>
                    </a:cubicBezTo>
                    <a:cubicBezTo>
                      <a:pt x="1532" y="1364"/>
                      <a:pt x="1552" y="1364"/>
                      <a:pt x="1563" y="1375"/>
                    </a:cubicBezTo>
                    <a:cubicBezTo>
                      <a:pt x="1604" y="1406"/>
                      <a:pt x="1657" y="1415"/>
                      <a:pt x="1709" y="1415"/>
                    </a:cubicBezTo>
                    <a:cubicBezTo>
                      <a:pt x="1844" y="1415"/>
                      <a:pt x="1959" y="1302"/>
                      <a:pt x="1959" y="1166"/>
                    </a:cubicBezTo>
                    <a:cubicBezTo>
                      <a:pt x="1959" y="1031"/>
                      <a:pt x="1844" y="916"/>
                      <a:pt x="1709" y="916"/>
                    </a:cubicBezTo>
                    <a:cubicBezTo>
                      <a:pt x="1657" y="916"/>
                      <a:pt x="1604" y="927"/>
                      <a:pt x="1563" y="958"/>
                    </a:cubicBezTo>
                    <a:cubicBezTo>
                      <a:pt x="1552" y="968"/>
                      <a:pt x="1532" y="968"/>
                      <a:pt x="1521" y="968"/>
                    </a:cubicBezTo>
                    <a:cubicBezTo>
                      <a:pt x="1511" y="958"/>
                      <a:pt x="1500" y="948"/>
                      <a:pt x="1500" y="927"/>
                    </a:cubicBezTo>
                    <a:cubicBezTo>
                      <a:pt x="1500" y="583"/>
                      <a:pt x="1500" y="583"/>
                      <a:pt x="1500" y="583"/>
                    </a:cubicBezTo>
                    <a:cubicBezTo>
                      <a:pt x="1500" y="510"/>
                      <a:pt x="1448" y="458"/>
                      <a:pt x="1375" y="458"/>
                    </a:cubicBezTo>
                    <a:cubicBezTo>
                      <a:pt x="990" y="458"/>
                      <a:pt x="990" y="458"/>
                      <a:pt x="990" y="458"/>
                    </a:cubicBezTo>
                    <a:cubicBezTo>
                      <a:pt x="969" y="458"/>
                      <a:pt x="959" y="448"/>
                      <a:pt x="948" y="437"/>
                    </a:cubicBezTo>
                    <a:cubicBezTo>
                      <a:pt x="948" y="427"/>
                      <a:pt x="948" y="406"/>
                      <a:pt x="959" y="395"/>
                    </a:cubicBezTo>
                    <a:cubicBezTo>
                      <a:pt x="990" y="354"/>
                      <a:pt x="1000" y="302"/>
                      <a:pt x="1000" y="250"/>
                    </a:cubicBezTo>
                    <a:cubicBezTo>
                      <a:pt x="1000" y="114"/>
                      <a:pt x="886" y="0"/>
                      <a:pt x="750" y="0"/>
                    </a:cubicBezTo>
                    <a:cubicBezTo>
                      <a:pt x="615" y="0"/>
                      <a:pt x="500" y="114"/>
                      <a:pt x="500" y="250"/>
                    </a:cubicBezTo>
                    <a:cubicBezTo>
                      <a:pt x="500" y="302"/>
                      <a:pt x="511" y="354"/>
                      <a:pt x="542" y="395"/>
                    </a:cubicBezTo>
                    <a:cubicBezTo>
                      <a:pt x="552" y="406"/>
                      <a:pt x="552" y="427"/>
                      <a:pt x="552" y="437"/>
                    </a:cubicBezTo>
                    <a:cubicBezTo>
                      <a:pt x="542" y="448"/>
                      <a:pt x="532" y="458"/>
                      <a:pt x="511" y="458"/>
                    </a:cubicBezTo>
                    <a:cubicBezTo>
                      <a:pt x="125" y="458"/>
                      <a:pt x="125" y="458"/>
                      <a:pt x="125" y="458"/>
                    </a:cubicBezTo>
                    <a:cubicBezTo>
                      <a:pt x="52" y="458"/>
                      <a:pt x="0" y="510"/>
                      <a:pt x="0" y="583"/>
                    </a:cubicBezTo>
                    <a:cubicBezTo>
                      <a:pt x="0" y="916"/>
                      <a:pt x="0" y="916"/>
                      <a:pt x="0" y="916"/>
                    </a:cubicBezTo>
                    <a:cubicBezTo>
                      <a:pt x="0" y="927"/>
                      <a:pt x="11" y="948"/>
                      <a:pt x="21" y="948"/>
                    </a:cubicBezTo>
                    <a:cubicBezTo>
                      <a:pt x="32" y="958"/>
                      <a:pt x="32" y="958"/>
                      <a:pt x="42" y="958"/>
                    </a:cubicBezTo>
                    <a:cubicBezTo>
                      <a:pt x="52" y="958"/>
                      <a:pt x="63" y="958"/>
                      <a:pt x="63" y="948"/>
                    </a:cubicBezTo>
                    <a:cubicBezTo>
                      <a:pt x="105" y="916"/>
                      <a:pt x="157" y="906"/>
                      <a:pt x="209" y="906"/>
                    </a:cubicBezTo>
                    <a:cubicBezTo>
                      <a:pt x="355" y="906"/>
                      <a:pt x="469" y="1021"/>
                      <a:pt x="469" y="1166"/>
                    </a:cubicBezTo>
                    <a:cubicBezTo>
                      <a:pt x="469" y="1312"/>
                      <a:pt x="355" y="1426"/>
                      <a:pt x="209" y="1426"/>
                    </a:cubicBezTo>
                    <a:cubicBezTo>
                      <a:pt x="157" y="1426"/>
                      <a:pt x="105" y="1415"/>
                      <a:pt x="63" y="1385"/>
                    </a:cubicBezTo>
                    <a:cubicBezTo>
                      <a:pt x="63" y="1375"/>
                      <a:pt x="52" y="1375"/>
                      <a:pt x="42" y="1375"/>
                    </a:cubicBezTo>
                    <a:cubicBezTo>
                      <a:pt x="32" y="1375"/>
                      <a:pt x="32" y="1375"/>
                      <a:pt x="21" y="1385"/>
                    </a:cubicBezTo>
                    <a:cubicBezTo>
                      <a:pt x="11" y="1385"/>
                      <a:pt x="0" y="1406"/>
                      <a:pt x="0" y="1415"/>
                    </a:cubicBezTo>
                    <a:cubicBezTo>
                      <a:pt x="0" y="1832"/>
                      <a:pt x="0" y="1832"/>
                      <a:pt x="0" y="1832"/>
                    </a:cubicBezTo>
                    <a:cubicBezTo>
                      <a:pt x="0" y="1905"/>
                      <a:pt x="52" y="1957"/>
                      <a:pt x="125" y="1957"/>
                    </a:cubicBezTo>
                    <a:cubicBezTo>
                      <a:pt x="500" y="1957"/>
                      <a:pt x="500" y="1957"/>
                      <a:pt x="500" y="1957"/>
                    </a:cubicBezTo>
                    <a:cubicBezTo>
                      <a:pt x="511" y="1957"/>
                      <a:pt x="532" y="1947"/>
                      <a:pt x="532" y="1936"/>
                    </a:cubicBezTo>
                    <a:cubicBezTo>
                      <a:pt x="542" y="1926"/>
                      <a:pt x="542" y="1905"/>
                      <a:pt x="532" y="1895"/>
                    </a:cubicBezTo>
                    <a:cubicBezTo>
                      <a:pt x="500" y="1853"/>
                      <a:pt x="490" y="1801"/>
                      <a:pt x="490" y="1749"/>
                    </a:cubicBezTo>
                    <a:cubicBezTo>
                      <a:pt x="490" y="1603"/>
                      <a:pt x="605" y="1488"/>
                      <a:pt x="750" y="1488"/>
                    </a:cubicBezTo>
                    <a:cubicBezTo>
                      <a:pt x="896" y="1488"/>
                      <a:pt x="1011" y="1603"/>
                      <a:pt x="1011" y="1749"/>
                    </a:cubicBezTo>
                    <a:cubicBezTo>
                      <a:pt x="1011" y="1801"/>
                      <a:pt x="1000" y="1853"/>
                      <a:pt x="969" y="1895"/>
                    </a:cubicBezTo>
                    <a:cubicBezTo>
                      <a:pt x="959" y="1905"/>
                      <a:pt x="959" y="1926"/>
                      <a:pt x="969" y="1936"/>
                    </a:cubicBezTo>
                    <a:cubicBezTo>
                      <a:pt x="969" y="1947"/>
                      <a:pt x="990" y="1957"/>
                      <a:pt x="1000" y="1957"/>
                    </a:cubicBezTo>
                    <a:cubicBezTo>
                      <a:pt x="1375" y="1957"/>
                      <a:pt x="1375" y="1957"/>
                      <a:pt x="1375" y="1957"/>
                    </a:cubicBezTo>
                    <a:cubicBezTo>
                      <a:pt x="1448" y="1957"/>
                      <a:pt x="1500" y="1905"/>
                      <a:pt x="1500" y="1832"/>
                    </a:cubicBezTo>
                    <a:lnTo>
                      <a:pt x="1500" y="1406"/>
                    </a:lnTo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7" name="Freeform 8"/>
              <p:cNvSpPr>
                <a:spLocks noChangeArrowheads="1"/>
              </p:cNvSpPr>
              <p:nvPr/>
            </p:nvSpPr>
            <p:spPr bwMode="auto">
              <a:xfrm>
                <a:off x="8236903" y="2735263"/>
                <a:ext cx="704850" cy="704850"/>
              </a:xfrm>
              <a:custGeom>
                <a:avLst/>
                <a:gdLst>
                  <a:gd name="T0" fmla="*/ 2147483647 w 1960"/>
                  <a:gd name="T1" fmla="*/ 2147483647 h 1958"/>
                  <a:gd name="T2" fmla="*/ 2147483647 w 1960"/>
                  <a:gd name="T3" fmla="*/ 2147483647 h 1958"/>
                  <a:gd name="T4" fmla="*/ 2147483647 w 1960"/>
                  <a:gd name="T5" fmla="*/ 2147483647 h 1958"/>
                  <a:gd name="T6" fmla="*/ 2147483647 w 1960"/>
                  <a:gd name="T7" fmla="*/ 2147483647 h 1958"/>
                  <a:gd name="T8" fmla="*/ 2147483647 w 1960"/>
                  <a:gd name="T9" fmla="*/ 2147483647 h 1958"/>
                  <a:gd name="T10" fmla="*/ 2147483647 w 1960"/>
                  <a:gd name="T11" fmla="*/ 2147483647 h 1958"/>
                  <a:gd name="T12" fmla="*/ 2147483647 w 1960"/>
                  <a:gd name="T13" fmla="*/ 2147483647 h 1958"/>
                  <a:gd name="T14" fmla="*/ 2147483647 w 1960"/>
                  <a:gd name="T15" fmla="*/ 2147483647 h 1958"/>
                  <a:gd name="T16" fmla="*/ 2147483647 w 1960"/>
                  <a:gd name="T17" fmla="*/ 2147483647 h 1958"/>
                  <a:gd name="T18" fmla="*/ 2147483647 w 1960"/>
                  <a:gd name="T19" fmla="*/ 2147483647 h 1958"/>
                  <a:gd name="T20" fmla="*/ 2147483647 w 1960"/>
                  <a:gd name="T21" fmla="*/ 2147483647 h 1958"/>
                  <a:gd name="T22" fmla="*/ 2147483647 w 1960"/>
                  <a:gd name="T23" fmla="*/ 2147483647 h 1958"/>
                  <a:gd name="T24" fmla="*/ 2147483647 w 1960"/>
                  <a:gd name="T25" fmla="*/ 2147483647 h 1958"/>
                  <a:gd name="T26" fmla="*/ 2147483647 w 1960"/>
                  <a:gd name="T27" fmla="*/ 2147483647 h 1958"/>
                  <a:gd name="T28" fmla="*/ 2147483647 w 1960"/>
                  <a:gd name="T29" fmla="*/ 2147483647 h 1958"/>
                  <a:gd name="T30" fmla="*/ 2147483647 w 1960"/>
                  <a:gd name="T31" fmla="*/ 2147483647 h 1958"/>
                  <a:gd name="T32" fmla="*/ 2147483647 w 1960"/>
                  <a:gd name="T33" fmla="*/ 0 h 1958"/>
                  <a:gd name="T34" fmla="*/ 2147483647 w 1960"/>
                  <a:gd name="T35" fmla="*/ 2147483647 h 1958"/>
                  <a:gd name="T36" fmla="*/ 2147483647 w 1960"/>
                  <a:gd name="T37" fmla="*/ 2147483647 h 1958"/>
                  <a:gd name="T38" fmla="*/ 2147483647 w 1960"/>
                  <a:gd name="T39" fmla="*/ 2147483647 h 1958"/>
                  <a:gd name="T40" fmla="*/ 2147483647 w 1960"/>
                  <a:gd name="T41" fmla="*/ 2147483647 h 1958"/>
                  <a:gd name="T42" fmla="*/ 2147483647 w 1960"/>
                  <a:gd name="T43" fmla="*/ 2147483647 h 1958"/>
                  <a:gd name="T44" fmla="*/ 0 w 1960"/>
                  <a:gd name="T45" fmla="*/ 2147483647 h 1958"/>
                  <a:gd name="T46" fmla="*/ 0 w 1960"/>
                  <a:gd name="T47" fmla="*/ 2147483647 h 1958"/>
                  <a:gd name="T48" fmla="*/ 2147483647 w 1960"/>
                  <a:gd name="T49" fmla="*/ 2147483647 h 1958"/>
                  <a:gd name="T50" fmla="*/ 2147483647 w 1960"/>
                  <a:gd name="T51" fmla="*/ 2147483647 h 1958"/>
                  <a:gd name="T52" fmla="*/ 2147483647 w 1960"/>
                  <a:gd name="T53" fmla="*/ 2147483647 h 1958"/>
                  <a:gd name="T54" fmla="*/ 2147483647 w 1960"/>
                  <a:gd name="T55" fmla="*/ 2147483647 h 1958"/>
                  <a:gd name="T56" fmla="*/ 2147483647 w 1960"/>
                  <a:gd name="T57" fmla="*/ 2147483647 h 1958"/>
                  <a:gd name="T58" fmla="*/ 2147483647 w 1960"/>
                  <a:gd name="T59" fmla="*/ 2147483647 h 1958"/>
                  <a:gd name="T60" fmla="*/ 2147483647 w 1960"/>
                  <a:gd name="T61" fmla="*/ 2147483647 h 1958"/>
                  <a:gd name="T62" fmla="*/ 2147483647 w 1960"/>
                  <a:gd name="T63" fmla="*/ 2147483647 h 1958"/>
                  <a:gd name="T64" fmla="*/ 2147483647 w 1960"/>
                  <a:gd name="T65" fmla="*/ 2147483647 h 1958"/>
                  <a:gd name="T66" fmla="*/ 0 w 1960"/>
                  <a:gd name="T67" fmla="*/ 2147483647 h 1958"/>
                  <a:gd name="T68" fmla="*/ 0 w 1960"/>
                  <a:gd name="T69" fmla="*/ 2147483647 h 1958"/>
                  <a:gd name="T70" fmla="*/ 2147483647 w 1960"/>
                  <a:gd name="T71" fmla="*/ 2147483647 h 1958"/>
                  <a:gd name="T72" fmla="*/ 2147483647 w 1960"/>
                  <a:gd name="T73" fmla="*/ 2147483647 h 1958"/>
                  <a:gd name="T74" fmla="*/ 2147483647 w 1960"/>
                  <a:gd name="T75" fmla="*/ 2147483647 h 1958"/>
                  <a:gd name="T76" fmla="*/ 2147483647 w 1960"/>
                  <a:gd name="T77" fmla="*/ 2147483647 h 1958"/>
                  <a:gd name="T78" fmla="*/ 2147483647 w 1960"/>
                  <a:gd name="T79" fmla="*/ 2147483647 h 1958"/>
                  <a:gd name="T80" fmla="*/ 2147483647 w 1960"/>
                  <a:gd name="T81" fmla="*/ 2147483647 h 1958"/>
                  <a:gd name="T82" fmla="*/ 2147483647 w 1960"/>
                  <a:gd name="T83" fmla="*/ 2147483647 h 1958"/>
                  <a:gd name="T84" fmla="*/ 2147483647 w 1960"/>
                  <a:gd name="T85" fmla="*/ 2147483647 h 1958"/>
                  <a:gd name="T86" fmla="*/ 2147483647 w 1960"/>
                  <a:gd name="T87" fmla="*/ 2147483647 h 1958"/>
                  <a:gd name="T88" fmla="*/ 2147483647 w 1960"/>
                  <a:gd name="T89" fmla="*/ 2147483647 h 1958"/>
                  <a:gd name="T90" fmla="*/ 2147483647 w 1960"/>
                  <a:gd name="T91" fmla="*/ 2147483647 h 1958"/>
                  <a:gd name="T92" fmla="*/ 2147483647 w 1960"/>
                  <a:gd name="T93" fmla="*/ 2147483647 h 1958"/>
                  <a:gd name="T94" fmla="*/ 2147483647 w 1960"/>
                  <a:gd name="T95" fmla="*/ 2147483647 h 19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60" h="1958">
                    <a:moveTo>
                      <a:pt x="1500" y="1406"/>
                    </a:moveTo>
                    <a:lnTo>
                      <a:pt x="1500" y="1406"/>
                    </a:lnTo>
                    <a:cubicBezTo>
                      <a:pt x="1500" y="1385"/>
                      <a:pt x="1511" y="1375"/>
                      <a:pt x="1521" y="1364"/>
                    </a:cubicBezTo>
                    <a:cubicBezTo>
                      <a:pt x="1532" y="1364"/>
                      <a:pt x="1552" y="1364"/>
                      <a:pt x="1563" y="1375"/>
                    </a:cubicBezTo>
                    <a:cubicBezTo>
                      <a:pt x="1604" y="1406"/>
                      <a:pt x="1657" y="1415"/>
                      <a:pt x="1709" y="1415"/>
                    </a:cubicBezTo>
                    <a:cubicBezTo>
                      <a:pt x="1844" y="1415"/>
                      <a:pt x="1959" y="1302"/>
                      <a:pt x="1959" y="1166"/>
                    </a:cubicBezTo>
                    <a:cubicBezTo>
                      <a:pt x="1959" y="1031"/>
                      <a:pt x="1844" y="916"/>
                      <a:pt x="1709" y="916"/>
                    </a:cubicBezTo>
                    <a:cubicBezTo>
                      <a:pt x="1657" y="916"/>
                      <a:pt x="1604" y="927"/>
                      <a:pt x="1563" y="958"/>
                    </a:cubicBezTo>
                    <a:cubicBezTo>
                      <a:pt x="1552" y="968"/>
                      <a:pt x="1532" y="968"/>
                      <a:pt x="1521" y="968"/>
                    </a:cubicBezTo>
                    <a:cubicBezTo>
                      <a:pt x="1511" y="958"/>
                      <a:pt x="1500" y="948"/>
                      <a:pt x="1500" y="927"/>
                    </a:cubicBezTo>
                    <a:cubicBezTo>
                      <a:pt x="1500" y="583"/>
                      <a:pt x="1500" y="583"/>
                      <a:pt x="1500" y="583"/>
                    </a:cubicBezTo>
                    <a:cubicBezTo>
                      <a:pt x="1500" y="510"/>
                      <a:pt x="1448" y="458"/>
                      <a:pt x="1375" y="458"/>
                    </a:cubicBezTo>
                    <a:cubicBezTo>
                      <a:pt x="990" y="458"/>
                      <a:pt x="990" y="458"/>
                      <a:pt x="990" y="458"/>
                    </a:cubicBezTo>
                    <a:cubicBezTo>
                      <a:pt x="969" y="458"/>
                      <a:pt x="959" y="448"/>
                      <a:pt x="948" y="437"/>
                    </a:cubicBezTo>
                    <a:cubicBezTo>
                      <a:pt x="948" y="427"/>
                      <a:pt x="948" y="406"/>
                      <a:pt x="959" y="395"/>
                    </a:cubicBezTo>
                    <a:cubicBezTo>
                      <a:pt x="990" y="354"/>
                      <a:pt x="1000" y="302"/>
                      <a:pt x="1000" y="250"/>
                    </a:cubicBezTo>
                    <a:cubicBezTo>
                      <a:pt x="1000" y="114"/>
                      <a:pt x="886" y="0"/>
                      <a:pt x="750" y="0"/>
                    </a:cubicBezTo>
                    <a:cubicBezTo>
                      <a:pt x="615" y="0"/>
                      <a:pt x="500" y="114"/>
                      <a:pt x="500" y="250"/>
                    </a:cubicBezTo>
                    <a:cubicBezTo>
                      <a:pt x="500" y="302"/>
                      <a:pt x="511" y="354"/>
                      <a:pt x="542" y="395"/>
                    </a:cubicBezTo>
                    <a:cubicBezTo>
                      <a:pt x="552" y="406"/>
                      <a:pt x="552" y="427"/>
                      <a:pt x="552" y="437"/>
                    </a:cubicBezTo>
                    <a:cubicBezTo>
                      <a:pt x="542" y="448"/>
                      <a:pt x="532" y="458"/>
                      <a:pt x="511" y="458"/>
                    </a:cubicBezTo>
                    <a:cubicBezTo>
                      <a:pt x="125" y="458"/>
                      <a:pt x="125" y="458"/>
                      <a:pt x="125" y="458"/>
                    </a:cubicBezTo>
                    <a:cubicBezTo>
                      <a:pt x="52" y="458"/>
                      <a:pt x="0" y="510"/>
                      <a:pt x="0" y="583"/>
                    </a:cubicBezTo>
                    <a:cubicBezTo>
                      <a:pt x="0" y="916"/>
                      <a:pt x="0" y="916"/>
                      <a:pt x="0" y="916"/>
                    </a:cubicBezTo>
                    <a:cubicBezTo>
                      <a:pt x="0" y="927"/>
                      <a:pt x="11" y="948"/>
                      <a:pt x="21" y="948"/>
                    </a:cubicBezTo>
                    <a:cubicBezTo>
                      <a:pt x="32" y="958"/>
                      <a:pt x="32" y="958"/>
                      <a:pt x="42" y="958"/>
                    </a:cubicBezTo>
                    <a:cubicBezTo>
                      <a:pt x="52" y="958"/>
                      <a:pt x="63" y="958"/>
                      <a:pt x="63" y="948"/>
                    </a:cubicBezTo>
                    <a:cubicBezTo>
                      <a:pt x="105" y="916"/>
                      <a:pt x="157" y="906"/>
                      <a:pt x="209" y="906"/>
                    </a:cubicBezTo>
                    <a:cubicBezTo>
                      <a:pt x="355" y="906"/>
                      <a:pt x="469" y="1021"/>
                      <a:pt x="469" y="1166"/>
                    </a:cubicBezTo>
                    <a:cubicBezTo>
                      <a:pt x="469" y="1312"/>
                      <a:pt x="355" y="1426"/>
                      <a:pt x="209" y="1426"/>
                    </a:cubicBezTo>
                    <a:cubicBezTo>
                      <a:pt x="157" y="1426"/>
                      <a:pt x="105" y="1415"/>
                      <a:pt x="63" y="1385"/>
                    </a:cubicBezTo>
                    <a:cubicBezTo>
                      <a:pt x="63" y="1375"/>
                      <a:pt x="52" y="1375"/>
                      <a:pt x="42" y="1375"/>
                    </a:cubicBezTo>
                    <a:cubicBezTo>
                      <a:pt x="32" y="1375"/>
                      <a:pt x="32" y="1375"/>
                      <a:pt x="21" y="1385"/>
                    </a:cubicBezTo>
                    <a:cubicBezTo>
                      <a:pt x="11" y="1385"/>
                      <a:pt x="0" y="1406"/>
                      <a:pt x="0" y="1415"/>
                    </a:cubicBezTo>
                    <a:cubicBezTo>
                      <a:pt x="0" y="1832"/>
                      <a:pt x="0" y="1832"/>
                      <a:pt x="0" y="1832"/>
                    </a:cubicBezTo>
                    <a:cubicBezTo>
                      <a:pt x="0" y="1905"/>
                      <a:pt x="52" y="1957"/>
                      <a:pt x="125" y="1957"/>
                    </a:cubicBezTo>
                    <a:cubicBezTo>
                      <a:pt x="500" y="1957"/>
                      <a:pt x="500" y="1957"/>
                      <a:pt x="500" y="1957"/>
                    </a:cubicBezTo>
                    <a:cubicBezTo>
                      <a:pt x="511" y="1957"/>
                      <a:pt x="532" y="1947"/>
                      <a:pt x="532" y="1936"/>
                    </a:cubicBezTo>
                    <a:cubicBezTo>
                      <a:pt x="542" y="1926"/>
                      <a:pt x="542" y="1905"/>
                      <a:pt x="532" y="1895"/>
                    </a:cubicBezTo>
                    <a:cubicBezTo>
                      <a:pt x="500" y="1853"/>
                      <a:pt x="490" y="1801"/>
                      <a:pt x="490" y="1749"/>
                    </a:cubicBezTo>
                    <a:cubicBezTo>
                      <a:pt x="490" y="1603"/>
                      <a:pt x="605" y="1488"/>
                      <a:pt x="750" y="1488"/>
                    </a:cubicBezTo>
                    <a:cubicBezTo>
                      <a:pt x="896" y="1488"/>
                      <a:pt x="1011" y="1603"/>
                      <a:pt x="1011" y="1749"/>
                    </a:cubicBezTo>
                    <a:cubicBezTo>
                      <a:pt x="1011" y="1801"/>
                      <a:pt x="1000" y="1853"/>
                      <a:pt x="969" y="1895"/>
                    </a:cubicBezTo>
                    <a:cubicBezTo>
                      <a:pt x="959" y="1905"/>
                      <a:pt x="959" y="1926"/>
                      <a:pt x="969" y="1936"/>
                    </a:cubicBezTo>
                    <a:cubicBezTo>
                      <a:pt x="969" y="1947"/>
                      <a:pt x="990" y="1957"/>
                      <a:pt x="1000" y="1957"/>
                    </a:cubicBezTo>
                    <a:cubicBezTo>
                      <a:pt x="1375" y="1957"/>
                      <a:pt x="1375" y="1957"/>
                      <a:pt x="1375" y="1957"/>
                    </a:cubicBezTo>
                    <a:cubicBezTo>
                      <a:pt x="1448" y="1957"/>
                      <a:pt x="1500" y="1905"/>
                      <a:pt x="1500" y="1832"/>
                    </a:cubicBezTo>
                    <a:lnTo>
                      <a:pt x="1500" y="1406"/>
                    </a:lnTo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8" name="Freeform 8"/>
              <p:cNvSpPr>
                <a:spLocks noChangeArrowheads="1"/>
              </p:cNvSpPr>
              <p:nvPr/>
            </p:nvSpPr>
            <p:spPr bwMode="auto">
              <a:xfrm>
                <a:off x="8784591" y="2735263"/>
                <a:ext cx="704850" cy="704850"/>
              </a:xfrm>
              <a:custGeom>
                <a:avLst/>
                <a:gdLst>
                  <a:gd name="T0" fmla="*/ 2147483647 w 1960"/>
                  <a:gd name="T1" fmla="*/ 2147483647 h 1958"/>
                  <a:gd name="T2" fmla="*/ 2147483647 w 1960"/>
                  <a:gd name="T3" fmla="*/ 2147483647 h 1958"/>
                  <a:gd name="T4" fmla="*/ 2147483647 w 1960"/>
                  <a:gd name="T5" fmla="*/ 2147483647 h 1958"/>
                  <a:gd name="T6" fmla="*/ 2147483647 w 1960"/>
                  <a:gd name="T7" fmla="*/ 2147483647 h 1958"/>
                  <a:gd name="T8" fmla="*/ 2147483647 w 1960"/>
                  <a:gd name="T9" fmla="*/ 2147483647 h 1958"/>
                  <a:gd name="T10" fmla="*/ 2147483647 w 1960"/>
                  <a:gd name="T11" fmla="*/ 2147483647 h 1958"/>
                  <a:gd name="T12" fmla="*/ 2147483647 w 1960"/>
                  <a:gd name="T13" fmla="*/ 2147483647 h 1958"/>
                  <a:gd name="T14" fmla="*/ 2147483647 w 1960"/>
                  <a:gd name="T15" fmla="*/ 2147483647 h 1958"/>
                  <a:gd name="T16" fmla="*/ 2147483647 w 1960"/>
                  <a:gd name="T17" fmla="*/ 2147483647 h 1958"/>
                  <a:gd name="T18" fmla="*/ 2147483647 w 1960"/>
                  <a:gd name="T19" fmla="*/ 2147483647 h 1958"/>
                  <a:gd name="T20" fmla="*/ 2147483647 w 1960"/>
                  <a:gd name="T21" fmla="*/ 2147483647 h 1958"/>
                  <a:gd name="T22" fmla="*/ 2147483647 w 1960"/>
                  <a:gd name="T23" fmla="*/ 2147483647 h 1958"/>
                  <a:gd name="T24" fmla="*/ 2147483647 w 1960"/>
                  <a:gd name="T25" fmla="*/ 2147483647 h 1958"/>
                  <a:gd name="T26" fmla="*/ 2147483647 w 1960"/>
                  <a:gd name="T27" fmla="*/ 2147483647 h 1958"/>
                  <a:gd name="T28" fmla="*/ 2147483647 w 1960"/>
                  <a:gd name="T29" fmla="*/ 2147483647 h 1958"/>
                  <a:gd name="T30" fmla="*/ 2147483647 w 1960"/>
                  <a:gd name="T31" fmla="*/ 2147483647 h 1958"/>
                  <a:gd name="T32" fmla="*/ 2147483647 w 1960"/>
                  <a:gd name="T33" fmla="*/ 0 h 1958"/>
                  <a:gd name="T34" fmla="*/ 2147483647 w 1960"/>
                  <a:gd name="T35" fmla="*/ 2147483647 h 1958"/>
                  <a:gd name="T36" fmla="*/ 2147483647 w 1960"/>
                  <a:gd name="T37" fmla="*/ 2147483647 h 1958"/>
                  <a:gd name="T38" fmla="*/ 2147483647 w 1960"/>
                  <a:gd name="T39" fmla="*/ 2147483647 h 1958"/>
                  <a:gd name="T40" fmla="*/ 2147483647 w 1960"/>
                  <a:gd name="T41" fmla="*/ 2147483647 h 1958"/>
                  <a:gd name="T42" fmla="*/ 2147483647 w 1960"/>
                  <a:gd name="T43" fmla="*/ 2147483647 h 1958"/>
                  <a:gd name="T44" fmla="*/ 0 w 1960"/>
                  <a:gd name="T45" fmla="*/ 2147483647 h 1958"/>
                  <a:gd name="T46" fmla="*/ 0 w 1960"/>
                  <a:gd name="T47" fmla="*/ 2147483647 h 1958"/>
                  <a:gd name="T48" fmla="*/ 2147483647 w 1960"/>
                  <a:gd name="T49" fmla="*/ 2147483647 h 1958"/>
                  <a:gd name="T50" fmla="*/ 2147483647 w 1960"/>
                  <a:gd name="T51" fmla="*/ 2147483647 h 1958"/>
                  <a:gd name="T52" fmla="*/ 2147483647 w 1960"/>
                  <a:gd name="T53" fmla="*/ 2147483647 h 1958"/>
                  <a:gd name="T54" fmla="*/ 2147483647 w 1960"/>
                  <a:gd name="T55" fmla="*/ 2147483647 h 1958"/>
                  <a:gd name="T56" fmla="*/ 2147483647 w 1960"/>
                  <a:gd name="T57" fmla="*/ 2147483647 h 1958"/>
                  <a:gd name="T58" fmla="*/ 2147483647 w 1960"/>
                  <a:gd name="T59" fmla="*/ 2147483647 h 1958"/>
                  <a:gd name="T60" fmla="*/ 2147483647 w 1960"/>
                  <a:gd name="T61" fmla="*/ 2147483647 h 1958"/>
                  <a:gd name="T62" fmla="*/ 2147483647 w 1960"/>
                  <a:gd name="T63" fmla="*/ 2147483647 h 1958"/>
                  <a:gd name="T64" fmla="*/ 2147483647 w 1960"/>
                  <a:gd name="T65" fmla="*/ 2147483647 h 1958"/>
                  <a:gd name="T66" fmla="*/ 0 w 1960"/>
                  <a:gd name="T67" fmla="*/ 2147483647 h 1958"/>
                  <a:gd name="T68" fmla="*/ 0 w 1960"/>
                  <a:gd name="T69" fmla="*/ 2147483647 h 1958"/>
                  <a:gd name="T70" fmla="*/ 2147483647 w 1960"/>
                  <a:gd name="T71" fmla="*/ 2147483647 h 1958"/>
                  <a:gd name="T72" fmla="*/ 2147483647 w 1960"/>
                  <a:gd name="T73" fmla="*/ 2147483647 h 1958"/>
                  <a:gd name="T74" fmla="*/ 2147483647 w 1960"/>
                  <a:gd name="T75" fmla="*/ 2147483647 h 1958"/>
                  <a:gd name="T76" fmla="*/ 2147483647 w 1960"/>
                  <a:gd name="T77" fmla="*/ 2147483647 h 1958"/>
                  <a:gd name="T78" fmla="*/ 2147483647 w 1960"/>
                  <a:gd name="T79" fmla="*/ 2147483647 h 1958"/>
                  <a:gd name="T80" fmla="*/ 2147483647 w 1960"/>
                  <a:gd name="T81" fmla="*/ 2147483647 h 1958"/>
                  <a:gd name="T82" fmla="*/ 2147483647 w 1960"/>
                  <a:gd name="T83" fmla="*/ 2147483647 h 1958"/>
                  <a:gd name="T84" fmla="*/ 2147483647 w 1960"/>
                  <a:gd name="T85" fmla="*/ 2147483647 h 1958"/>
                  <a:gd name="T86" fmla="*/ 2147483647 w 1960"/>
                  <a:gd name="T87" fmla="*/ 2147483647 h 1958"/>
                  <a:gd name="T88" fmla="*/ 2147483647 w 1960"/>
                  <a:gd name="T89" fmla="*/ 2147483647 h 1958"/>
                  <a:gd name="T90" fmla="*/ 2147483647 w 1960"/>
                  <a:gd name="T91" fmla="*/ 2147483647 h 1958"/>
                  <a:gd name="T92" fmla="*/ 2147483647 w 1960"/>
                  <a:gd name="T93" fmla="*/ 2147483647 h 1958"/>
                  <a:gd name="T94" fmla="*/ 2147483647 w 1960"/>
                  <a:gd name="T95" fmla="*/ 2147483647 h 19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60" h="1958">
                    <a:moveTo>
                      <a:pt x="1500" y="1406"/>
                    </a:moveTo>
                    <a:lnTo>
                      <a:pt x="1500" y="1406"/>
                    </a:lnTo>
                    <a:cubicBezTo>
                      <a:pt x="1500" y="1385"/>
                      <a:pt x="1511" y="1375"/>
                      <a:pt x="1521" y="1364"/>
                    </a:cubicBezTo>
                    <a:cubicBezTo>
                      <a:pt x="1532" y="1364"/>
                      <a:pt x="1552" y="1364"/>
                      <a:pt x="1563" y="1375"/>
                    </a:cubicBezTo>
                    <a:cubicBezTo>
                      <a:pt x="1604" y="1406"/>
                      <a:pt x="1657" y="1415"/>
                      <a:pt x="1709" y="1415"/>
                    </a:cubicBezTo>
                    <a:cubicBezTo>
                      <a:pt x="1844" y="1415"/>
                      <a:pt x="1959" y="1302"/>
                      <a:pt x="1959" y="1166"/>
                    </a:cubicBezTo>
                    <a:cubicBezTo>
                      <a:pt x="1959" y="1031"/>
                      <a:pt x="1844" y="916"/>
                      <a:pt x="1709" y="916"/>
                    </a:cubicBezTo>
                    <a:cubicBezTo>
                      <a:pt x="1657" y="916"/>
                      <a:pt x="1604" y="927"/>
                      <a:pt x="1563" y="958"/>
                    </a:cubicBezTo>
                    <a:cubicBezTo>
                      <a:pt x="1552" y="968"/>
                      <a:pt x="1532" y="968"/>
                      <a:pt x="1521" y="968"/>
                    </a:cubicBezTo>
                    <a:cubicBezTo>
                      <a:pt x="1511" y="958"/>
                      <a:pt x="1500" y="948"/>
                      <a:pt x="1500" y="927"/>
                    </a:cubicBezTo>
                    <a:cubicBezTo>
                      <a:pt x="1500" y="583"/>
                      <a:pt x="1500" y="583"/>
                      <a:pt x="1500" y="583"/>
                    </a:cubicBezTo>
                    <a:cubicBezTo>
                      <a:pt x="1500" y="510"/>
                      <a:pt x="1448" y="458"/>
                      <a:pt x="1375" y="458"/>
                    </a:cubicBezTo>
                    <a:cubicBezTo>
                      <a:pt x="990" y="458"/>
                      <a:pt x="990" y="458"/>
                      <a:pt x="990" y="458"/>
                    </a:cubicBezTo>
                    <a:cubicBezTo>
                      <a:pt x="969" y="458"/>
                      <a:pt x="959" y="448"/>
                      <a:pt x="948" y="437"/>
                    </a:cubicBezTo>
                    <a:cubicBezTo>
                      <a:pt x="948" y="427"/>
                      <a:pt x="948" y="406"/>
                      <a:pt x="959" y="395"/>
                    </a:cubicBezTo>
                    <a:cubicBezTo>
                      <a:pt x="990" y="354"/>
                      <a:pt x="1000" y="302"/>
                      <a:pt x="1000" y="250"/>
                    </a:cubicBezTo>
                    <a:cubicBezTo>
                      <a:pt x="1000" y="114"/>
                      <a:pt x="886" y="0"/>
                      <a:pt x="750" y="0"/>
                    </a:cubicBezTo>
                    <a:cubicBezTo>
                      <a:pt x="615" y="0"/>
                      <a:pt x="500" y="114"/>
                      <a:pt x="500" y="250"/>
                    </a:cubicBezTo>
                    <a:cubicBezTo>
                      <a:pt x="500" y="302"/>
                      <a:pt x="511" y="354"/>
                      <a:pt x="542" y="395"/>
                    </a:cubicBezTo>
                    <a:cubicBezTo>
                      <a:pt x="552" y="406"/>
                      <a:pt x="552" y="427"/>
                      <a:pt x="552" y="437"/>
                    </a:cubicBezTo>
                    <a:cubicBezTo>
                      <a:pt x="542" y="448"/>
                      <a:pt x="532" y="458"/>
                      <a:pt x="511" y="458"/>
                    </a:cubicBezTo>
                    <a:cubicBezTo>
                      <a:pt x="125" y="458"/>
                      <a:pt x="125" y="458"/>
                      <a:pt x="125" y="458"/>
                    </a:cubicBezTo>
                    <a:cubicBezTo>
                      <a:pt x="52" y="458"/>
                      <a:pt x="0" y="510"/>
                      <a:pt x="0" y="583"/>
                    </a:cubicBezTo>
                    <a:cubicBezTo>
                      <a:pt x="0" y="916"/>
                      <a:pt x="0" y="916"/>
                      <a:pt x="0" y="916"/>
                    </a:cubicBezTo>
                    <a:cubicBezTo>
                      <a:pt x="0" y="927"/>
                      <a:pt x="11" y="948"/>
                      <a:pt x="21" y="948"/>
                    </a:cubicBezTo>
                    <a:cubicBezTo>
                      <a:pt x="32" y="958"/>
                      <a:pt x="32" y="958"/>
                      <a:pt x="42" y="958"/>
                    </a:cubicBezTo>
                    <a:cubicBezTo>
                      <a:pt x="52" y="958"/>
                      <a:pt x="63" y="958"/>
                      <a:pt x="63" y="948"/>
                    </a:cubicBezTo>
                    <a:cubicBezTo>
                      <a:pt x="105" y="916"/>
                      <a:pt x="157" y="906"/>
                      <a:pt x="209" y="906"/>
                    </a:cubicBezTo>
                    <a:cubicBezTo>
                      <a:pt x="355" y="906"/>
                      <a:pt x="469" y="1021"/>
                      <a:pt x="469" y="1166"/>
                    </a:cubicBezTo>
                    <a:cubicBezTo>
                      <a:pt x="469" y="1312"/>
                      <a:pt x="355" y="1426"/>
                      <a:pt x="209" y="1426"/>
                    </a:cubicBezTo>
                    <a:cubicBezTo>
                      <a:pt x="157" y="1426"/>
                      <a:pt x="105" y="1415"/>
                      <a:pt x="63" y="1385"/>
                    </a:cubicBezTo>
                    <a:cubicBezTo>
                      <a:pt x="63" y="1375"/>
                      <a:pt x="52" y="1375"/>
                      <a:pt x="42" y="1375"/>
                    </a:cubicBezTo>
                    <a:cubicBezTo>
                      <a:pt x="32" y="1375"/>
                      <a:pt x="32" y="1375"/>
                      <a:pt x="21" y="1385"/>
                    </a:cubicBezTo>
                    <a:cubicBezTo>
                      <a:pt x="11" y="1385"/>
                      <a:pt x="0" y="1406"/>
                      <a:pt x="0" y="1415"/>
                    </a:cubicBezTo>
                    <a:cubicBezTo>
                      <a:pt x="0" y="1832"/>
                      <a:pt x="0" y="1832"/>
                      <a:pt x="0" y="1832"/>
                    </a:cubicBezTo>
                    <a:cubicBezTo>
                      <a:pt x="0" y="1905"/>
                      <a:pt x="52" y="1957"/>
                      <a:pt x="125" y="1957"/>
                    </a:cubicBezTo>
                    <a:cubicBezTo>
                      <a:pt x="500" y="1957"/>
                      <a:pt x="500" y="1957"/>
                      <a:pt x="500" y="1957"/>
                    </a:cubicBezTo>
                    <a:cubicBezTo>
                      <a:pt x="511" y="1957"/>
                      <a:pt x="532" y="1947"/>
                      <a:pt x="532" y="1936"/>
                    </a:cubicBezTo>
                    <a:cubicBezTo>
                      <a:pt x="542" y="1926"/>
                      <a:pt x="542" y="1905"/>
                      <a:pt x="532" y="1895"/>
                    </a:cubicBezTo>
                    <a:cubicBezTo>
                      <a:pt x="500" y="1853"/>
                      <a:pt x="490" y="1801"/>
                      <a:pt x="490" y="1749"/>
                    </a:cubicBezTo>
                    <a:cubicBezTo>
                      <a:pt x="490" y="1603"/>
                      <a:pt x="605" y="1488"/>
                      <a:pt x="750" y="1488"/>
                    </a:cubicBezTo>
                    <a:cubicBezTo>
                      <a:pt x="896" y="1488"/>
                      <a:pt x="1011" y="1603"/>
                      <a:pt x="1011" y="1749"/>
                    </a:cubicBezTo>
                    <a:cubicBezTo>
                      <a:pt x="1011" y="1801"/>
                      <a:pt x="1000" y="1853"/>
                      <a:pt x="969" y="1895"/>
                    </a:cubicBezTo>
                    <a:cubicBezTo>
                      <a:pt x="959" y="1905"/>
                      <a:pt x="959" y="1926"/>
                      <a:pt x="969" y="1936"/>
                    </a:cubicBezTo>
                    <a:cubicBezTo>
                      <a:pt x="969" y="1947"/>
                      <a:pt x="990" y="1957"/>
                      <a:pt x="1000" y="1957"/>
                    </a:cubicBezTo>
                    <a:cubicBezTo>
                      <a:pt x="1375" y="1957"/>
                      <a:pt x="1375" y="1957"/>
                      <a:pt x="1375" y="1957"/>
                    </a:cubicBezTo>
                    <a:cubicBezTo>
                      <a:pt x="1448" y="1957"/>
                      <a:pt x="1500" y="1905"/>
                      <a:pt x="1500" y="1832"/>
                    </a:cubicBezTo>
                    <a:lnTo>
                      <a:pt x="1500" y="1406"/>
                    </a:lnTo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446" name="Group 16"/>
            <p:cNvGrpSpPr>
              <a:grpSpLocks/>
            </p:cNvGrpSpPr>
            <p:nvPr/>
          </p:nvGrpSpPr>
          <p:grpSpPr bwMode="auto">
            <a:xfrm>
              <a:off x="3574162" y="3178110"/>
              <a:ext cx="361732" cy="361732"/>
              <a:chOff x="8226461" y="1379723"/>
              <a:chExt cx="463349" cy="462377"/>
            </a:xfrm>
            <a:solidFill>
              <a:srgbClr val="333333">
                <a:lumMod val="60000"/>
                <a:lumOff val="40000"/>
              </a:srgbClr>
            </a:solidFill>
          </p:grpSpPr>
          <p:sp>
            <p:nvSpPr>
              <p:cNvPr id="453" name="Freeform 1611"/>
              <p:cNvSpPr>
                <a:spLocks noEditPoints="1"/>
              </p:cNvSpPr>
              <p:nvPr/>
            </p:nvSpPr>
            <p:spPr bwMode="auto">
              <a:xfrm>
                <a:off x="8226461" y="1379723"/>
                <a:ext cx="463349" cy="462377"/>
              </a:xfrm>
              <a:custGeom>
                <a:avLst/>
                <a:gdLst>
                  <a:gd name="T0" fmla="*/ 2147483647 w 368"/>
                  <a:gd name="T1" fmla="*/ 2147483647 h 368"/>
                  <a:gd name="T2" fmla="*/ 2147483647 w 368"/>
                  <a:gd name="T3" fmla="*/ 2147483647 h 368"/>
                  <a:gd name="T4" fmla="*/ 2147483647 w 368"/>
                  <a:gd name="T5" fmla="*/ 2147483647 h 368"/>
                  <a:gd name="T6" fmla="*/ 2147483647 w 368"/>
                  <a:gd name="T7" fmla="*/ 2147483647 h 368"/>
                  <a:gd name="T8" fmla="*/ 2147483647 w 368"/>
                  <a:gd name="T9" fmla="*/ 2147483647 h 368"/>
                  <a:gd name="T10" fmla="*/ 2147483647 w 368"/>
                  <a:gd name="T11" fmla="*/ 2147483647 h 368"/>
                  <a:gd name="T12" fmla="*/ 2147483647 w 368"/>
                  <a:gd name="T13" fmla="*/ 2147483647 h 368"/>
                  <a:gd name="T14" fmla="*/ 2147483647 w 368"/>
                  <a:gd name="T15" fmla="*/ 2147483647 h 368"/>
                  <a:gd name="T16" fmla="*/ 2147483647 w 368"/>
                  <a:gd name="T17" fmla="*/ 2147483647 h 368"/>
                  <a:gd name="T18" fmla="*/ 2147483647 w 368"/>
                  <a:gd name="T19" fmla="*/ 2147483647 h 368"/>
                  <a:gd name="T20" fmla="*/ 2147483647 w 368"/>
                  <a:gd name="T21" fmla="*/ 2147483647 h 368"/>
                  <a:gd name="T22" fmla="*/ 2147483647 w 368"/>
                  <a:gd name="T23" fmla="*/ 2147483647 h 368"/>
                  <a:gd name="T24" fmla="*/ 2147483647 w 368"/>
                  <a:gd name="T25" fmla="*/ 2147483647 h 368"/>
                  <a:gd name="T26" fmla="*/ 2147483647 w 368"/>
                  <a:gd name="T27" fmla="*/ 2147483647 h 368"/>
                  <a:gd name="T28" fmla="*/ 2147483647 w 368"/>
                  <a:gd name="T29" fmla="*/ 2147483647 h 368"/>
                  <a:gd name="T30" fmla="*/ 2147483647 w 368"/>
                  <a:gd name="T31" fmla="*/ 2147483647 h 368"/>
                  <a:gd name="T32" fmla="*/ 2147483647 w 368"/>
                  <a:gd name="T33" fmla="*/ 0 h 368"/>
                  <a:gd name="T34" fmla="*/ 2147483647 w 368"/>
                  <a:gd name="T35" fmla="*/ 2147483647 h 368"/>
                  <a:gd name="T36" fmla="*/ 2147483647 w 368"/>
                  <a:gd name="T37" fmla="*/ 2147483647 h 368"/>
                  <a:gd name="T38" fmla="*/ 2147483647 w 368"/>
                  <a:gd name="T39" fmla="*/ 2147483647 h 368"/>
                  <a:gd name="T40" fmla="*/ 2147483647 w 368"/>
                  <a:gd name="T41" fmla="*/ 2147483647 h 368"/>
                  <a:gd name="T42" fmla="*/ 2147483647 w 368"/>
                  <a:gd name="T43" fmla="*/ 2147483647 h 368"/>
                  <a:gd name="T44" fmla="*/ 2147483647 w 368"/>
                  <a:gd name="T45" fmla="*/ 2147483647 h 368"/>
                  <a:gd name="T46" fmla="*/ 2147483647 w 368"/>
                  <a:gd name="T47" fmla="*/ 2147483647 h 368"/>
                  <a:gd name="T48" fmla="*/ 2147483647 w 368"/>
                  <a:gd name="T49" fmla="*/ 2147483647 h 368"/>
                  <a:gd name="T50" fmla="*/ 2147483647 w 368"/>
                  <a:gd name="T51" fmla="*/ 2147483647 h 368"/>
                  <a:gd name="T52" fmla="*/ 2147483647 w 368"/>
                  <a:gd name="T53" fmla="*/ 2147483647 h 368"/>
                  <a:gd name="T54" fmla="*/ 2147483647 w 368"/>
                  <a:gd name="T55" fmla="*/ 2147483647 h 368"/>
                  <a:gd name="T56" fmla="*/ 0 w 368"/>
                  <a:gd name="T57" fmla="*/ 2147483647 h 368"/>
                  <a:gd name="T58" fmla="*/ 2147483647 w 368"/>
                  <a:gd name="T59" fmla="*/ 2147483647 h 368"/>
                  <a:gd name="T60" fmla="*/ 2147483647 w 368"/>
                  <a:gd name="T61" fmla="*/ 2147483647 h 368"/>
                  <a:gd name="T62" fmla="*/ 2147483647 w 368"/>
                  <a:gd name="T63" fmla="*/ 2147483647 h 368"/>
                  <a:gd name="T64" fmla="*/ 2147483647 w 368"/>
                  <a:gd name="T65" fmla="*/ 0 h 36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68" h="368">
                    <a:moveTo>
                      <a:pt x="183" y="36"/>
                    </a:moveTo>
                    <a:lnTo>
                      <a:pt x="154" y="39"/>
                    </a:lnTo>
                    <a:lnTo>
                      <a:pt x="127" y="47"/>
                    </a:lnTo>
                    <a:lnTo>
                      <a:pt x="102" y="61"/>
                    </a:lnTo>
                    <a:lnTo>
                      <a:pt x="79" y="79"/>
                    </a:lnTo>
                    <a:lnTo>
                      <a:pt x="61" y="102"/>
                    </a:lnTo>
                    <a:lnTo>
                      <a:pt x="47" y="127"/>
                    </a:lnTo>
                    <a:lnTo>
                      <a:pt x="39" y="154"/>
                    </a:lnTo>
                    <a:lnTo>
                      <a:pt x="36" y="183"/>
                    </a:lnTo>
                    <a:lnTo>
                      <a:pt x="39" y="214"/>
                    </a:lnTo>
                    <a:lnTo>
                      <a:pt x="47" y="242"/>
                    </a:lnTo>
                    <a:lnTo>
                      <a:pt x="61" y="266"/>
                    </a:lnTo>
                    <a:lnTo>
                      <a:pt x="79" y="289"/>
                    </a:lnTo>
                    <a:lnTo>
                      <a:pt x="102" y="307"/>
                    </a:lnTo>
                    <a:lnTo>
                      <a:pt x="127" y="321"/>
                    </a:lnTo>
                    <a:lnTo>
                      <a:pt x="154" y="330"/>
                    </a:lnTo>
                    <a:lnTo>
                      <a:pt x="183" y="332"/>
                    </a:lnTo>
                    <a:lnTo>
                      <a:pt x="213" y="330"/>
                    </a:lnTo>
                    <a:lnTo>
                      <a:pt x="242" y="321"/>
                    </a:lnTo>
                    <a:lnTo>
                      <a:pt x="266" y="307"/>
                    </a:lnTo>
                    <a:lnTo>
                      <a:pt x="289" y="289"/>
                    </a:lnTo>
                    <a:lnTo>
                      <a:pt x="306" y="266"/>
                    </a:lnTo>
                    <a:lnTo>
                      <a:pt x="320" y="242"/>
                    </a:lnTo>
                    <a:lnTo>
                      <a:pt x="328" y="214"/>
                    </a:lnTo>
                    <a:lnTo>
                      <a:pt x="332" y="183"/>
                    </a:lnTo>
                    <a:lnTo>
                      <a:pt x="328" y="154"/>
                    </a:lnTo>
                    <a:lnTo>
                      <a:pt x="320" y="127"/>
                    </a:lnTo>
                    <a:lnTo>
                      <a:pt x="306" y="102"/>
                    </a:lnTo>
                    <a:lnTo>
                      <a:pt x="289" y="79"/>
                    </a:lnTo>
                    <a:lnTo>
                      <a:pt x="266" y="61"/>
                    </a:lnTo>
                    <a:lnTo>
                      <a:pt x="242" y="47"/>
                    </a:lnTo>
                    <a:lnTo>
                      <a:pt x="213" y="39"/>
                    </a:lnTo>
                    <a:lnTo>
                      <a:pt x="183" y="36"/>
                    </a:lnTo>
                    <a:close/>
                    <a:moveTo>
                      <a:pt x="183" y="0"/>
                    </a:moveTo>
                    <a:lnTo>
                      <a:pt x="221" y="4"/>
                    </a:lnTo>
                    <a:lnTo>
                      <a:pt x="255" y="15"/>
                    </a:lnTo>
                    <a:lnTo>
                      <a:pt x="286" y="31"/>
                    </a:lnTo>
                    <a:lnTo>
                      <a:pt x="314" y="55"/>
                    </a:lnTo>
                    <a:lnTo>
                      <a:pt x="336" y="82"/>
                    </a:lnTo>
                    <a:lnTo>
                      <a:pt x="353" y="113"/>
                    </a:lnTo>
                    <a:lnTo>
                      <a:pt x="364" y="148"/>
                    </a:lnTo>
                    <a:lnTo>
                      <a:pt x="368" y="183"/>
                    </a:lnTo>
                    <a:lnTo>
                      <a:pt x="364" y="221"/>
                    </a:lnTo>
                    <a:lnTo>
                      <a:pt x="353" y="255"/>
                    </a:lnTo>
                    <a:lnTo>
                      <a:pt x="336" y="286"/>
                    </a:lnTo>
                    <a:lnTo>
                      <a:pt x="314" y="313"/>
                    </a:lnTo>
                    <a:lnTo>
                      <a:pt x="286" y="336"/>
                    </a:lnTo>
                    <a:lnTo>
                      <a:pt x="255" y="353"/>
                    </a:lnTo>
                    <a:lnTo>
                      <a:pt x="221" y="364"/>
                    </a:lnTo>
                    <a:lnTo>
                      <a:pt x="183" y="368"/>
                    </a:lnTo>
                    <a:lnTo>
                      <a:pt x="146" y="364"/>
                    </a:lnTo>
                    <a:lnTo>
                      <a:pt x="113" y="353"/>
                    </a:lnTo>
                    <a:lnTo>
                      <a:pt x="81" y="336"/>
                    </a:lnTo>
                    <a:lnTo>
                      <a:pt x="53" y="313"/>
                    </a:lnTo>
                    <a:lnTo>
                      <a:pt x="31" y="286"/>
                    </a:lnTo>
                    <a:lnTo>
                      <a:pt x="15" y="255"/>
                    </a:lnTo>
                    <a:lnTo>
                      <a:pt x="4" y="221"/>
                    </a:lnTo>
                    <a:lnTo>
                      <a:pt x="0" y="183"/>
                    </a:lnTo>
                    <a:lnTo>
                      <a:pt x="4" y="148"/>
                    </a:lnTo>
                    <a:lnTo>
                      <a:pt x="15" y="113"/>
                    </a:lnTo>
                    <a:lnTo>
                      <a:pt x="31" y="82"/>
                    </a:lnTo>
                    <a:lnTo>
                      <a:pt x="53" y="55"/>
                    </a:lnTo>
                    <a:lnTo>
                      <a:pt x="81" y="31"/>
                    </a:lnTo>
                    <a:lnTo>
                      <a:pt x="113" y="15"/>
                    </a:lnTo>
                    <a:lnTo>
                      <a:pt x="146" y="4"/>
                    </a:lnTo>
                    <a:lnTo>
                      <a:pt x="18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4" name="Freeform 1613"/>
              <p:cNvSpPr>
                <a:spLocks noEditPoints="1"/>
              </p:cNvSpPr>
              <p:nvPr/>
            </p:nvSpPr>
            <p:spPr bwMode="auto">
              <a:xfrm>
                <a:off x="8326513" y="1470062"/>
                <a:ext cx="277815" cy="294328"/>
              </a:xfrm>
              <a:custGeom>
                <a:avLst/>
                <a:gdLst>
                  <a:gd name="T0" fmla="*/ 2147483647 w 221"/>
                  <a:gd name="T1" fmla="*/ 2147483647 h 234"/>
                  <a:gd name="T2" fmla="*/ 2147483647 w 221"/>
                  <a:gd name="T3" fmla="*/ 2147483647 h 234"/>
                  <a:gd name="T4" fmla="*/ 2147483647 w 221"/>
                  <a:gd name="T5" fmla="*/ 2147483647 h 234"/>
                  <a:gd name="T6" fmla="*/ 2147483647 w 221"/>
                  <a:gd name="T7" fmla="*/ 2147483647 h 234"/>
                  <a:gd name="T8" fmla="*/ 2147483647 w 221"/>
                  <a:gd name="T9" fmla="*/ 2147483647 h 234"/>
                  <a:gd name="T10" fmla="*/ 2147483647 w 221"/>
                  <a:gd name="T11" fmla="*/ 2147483647 h 234"/>
                  <a:gd name="T12" fmla="*/ 2147483647 w 221"/>
                  <a:gd name="T13" fmla="*/ 2147483647 h 234"/>
                  <a:gd name="T14" fmla="*/ 2147483647 w 221"/>
                  <a:gd name="T15" fmla="*/ 2147483647 h 234"/>
                  <a:gd name="T16" fmla="*/ 2147483647 w 221"/>
                  <a:gd name="T17" fmla="*/ 2147483647 h 234"/>
                  <a:gd name="T18" fmla="*/ 2147483647 w 221"/>
                  <a:gd name="T19" fmla="*/ 2147483647 h 234"/>
                  <a:gd name="T20" fmla="*/ 2147483647 w 221"/>
                  <a:gd name="T21" fmla="*/ 2147483647 h 234"/>
                  <a:gd name="T22" fmla="*/ 2147483647 w 221"/>
                  <a:gd name="T23" fmla="*/ 2147483647 h 234"/>
                  <a:gd name="T24" fmla="*/ 2147483647 w 221"/>
                  <a:gd name="T25" fmla="*/ 2147483647 h 234"/>
                  <a:gd name="T26" fmla="*/ 2147483647 w 221"/>
                  <a:gd name="T27" fmla="*/ 2147483647 h 234"/>
                  <a:gd name="T28" fmla="*/ 2147483647 w 221"/>
                  <a:gd name="T29" fmla="*/ 2147483647 h 234"/>
                  <a:gd name="T30" fmla="*/ 2147483647 w 221"/>
                  <a:gd name="T31" fmla="*/ 2147483647 h 234"/>
                  <a:gd name="T32" fmla="*/ 2147483647 w 221"/>
                  <a:gd name="T33" fmla="*/ 2147483647 h 234"/>
                  <a:gd name="T34" fmla="*/ 2147483647 w 221"/>
                  <a:gd name="T35" fmla="*/ 2147483647 h 234"/>
                  <a:gd name="T36" fmla="*/ 2147483647 w 221"/>
                  <a:gd name="T37" fmla="*/ 2147483647 h 234"/>
                  <a:gd name="T38" fmla="*/ 2147483647 w 221"/>
                  <a:gd name="T39" fmla="*/ 2147483647 h 234"/>
                  <a:gd name="T40" fmla="*/ 2147483647 w 221"/>
                  <a:gd name="T41" fmla="*/ 2147483647 h 234"/>
                  <a:gd name="T42" fmla="*/ 2147483647 w 221"/>
                  <a:gd name="T43" fmla="*/ 2147483647 h 234"/>
                  <a:gd name="T44" fmla="*/ 2147483647 w 221"/>
                  <a:gd name="T45" fmla="*/ 2147483647 h 234"/>
                  <a:gd name="T46" fmla="*/ 2147483647 w 221"/>
                  <a:gd name="T47" fmla="*/ 2147483647 h 234"/>
                  <a:gd name="T48" fmla="*/ 2147483647 w 221"/>
                  <a:gd name="T49" fmla="*/ 2147483647 h 234"/>
                  <a:gd name="T50" fmla="*/ 2147483647 w 221"/>
                  <a:gd name="T51" fmla="*/ 2147483647 h 234"/>
                  <a:gd name="T52" fmla="*/ 2147483647 w 221"/>
                  <a:gd name="T53" fmla="*/ 2147483647 h 234"/>
                  <a:gd name="T54" fmla="*/ 2147483647 w 221"/>
                  <a:gd name="T55" fmla="*/ 2147483647 h 234"/>
                  <a:gd name="T56" fmla="*/ 2147483647 w 221"/>
                  <a:gd name="T57" fmla="*/ 0 h 234"/>
                  <a:gd name="T58" fmla="*/ 2147483647 w 221"/>
                  <a:gd name="T59" fmla="*/ 0 h 234"/>
                  <a:gd name="T60" fmla="*/ 2147483647 w 221"/>
                  <a:gd name="T61" fmla="*/ 2147483647 h 234"/>
                  <a:gd name="T62" fmla="*/ 2147483647 w 221"/>
                  <a:gd name="T63" fmla="*/ 2147483647 h 234"/>
                  <a:gd name="T64" fmla="*/ 2147483647 w 221"/>
                  <a:gd name="T65" fmla="*/ 2147483647 h 234"/>
                  <a:gd name="T66" fmla="*/ 2147483647 w 221"/>
                  <a:gd name="T67" fmla="*/ 2147483647 h 234"/>
                  <a:gd name="T68" fmla="*/ 2147483647 w 221"/>
                  <a:gd name="T69" fmla="*/ 2147483647 h 234"/>
                  <a:gd name="T70" fmla="*/ 2147483647 w 221"/>
                  <a:gd name="T71" fmla="*/ 2147483647 h 234"/>
                  <a:gd name="T72" fmla="*/ 2147483647 w 221"/>
                  <a:gd name="T73" fmla="*/ 2147483647 h 234"/>
                  <a:gd name="T74" fmla="*/ 2147483647 w 221"/>
                  <a:gd name="T75" fmla="*/ 2147483647 h 234"/>
                  <a:gd name="T76" fmla="*/ 2147483647 w 221"/>
                  <a:gd name="T77" fmla="*/ 2147483647 h 234"/>
                  <a:gd name="T78" fmla="*/ 2147483647 w 221"/>
                  <a:gd name="T79" fmla="*/ 2147483647 h 234"/>
                  <a:gd name="T80" fmla="*/ 2147483647 w 221"/>
                  <a:gd name="T81" fmla="*/ 2147483647 h 234"/>
                  <a:gd name="T82" fmla="*/ 2147483647 w 221"/>
                  <a:gd name="T83" fmla="*/ 2147483647 h 234"/>
                  <a:gd name="T84" fmla="*/ 2147483647 w 221"/>
                  <a:gd name="T85" fmla="*/ 2147483647 h 234"/>
                  <a:gd name="T86" fmla="*/ 2147483647 w 221"/>
                  <a:gd name="T87" fmla="*/ 2147483647 h 234"/>
                  <a:gd name="T88" fmla="*/ 2147483647 w 221"/>
                  <a:gd name="T89" fmla="*/ 2147483647 h 234"/>
                  <a:gd name="T90" fmla="*/ 2147483647 w 221"/>
                  <a:gd name="T91" fmla="*/ 2147483647 h 234"/>
                  <a:gd name="T92" fmla="*/ 2147483647 w 221"/>
                  <a:gd name="T93" fmla="*/ 2147483647 h 234"/>
                  <a:gd name="T94" fmla="*/ 2147483647 w 221"/>
                  <a:gd name="T95" fmla="*/ 2147483647 h 234"/>
                  <a:gd name="T96" fmla="*/ 2147483647 w 221"/>
                  <a:gd name="T97" fmla="*/ 2147483647 h 234"/>
                  <a:gd name="T98" fmla="*/ 2147483647 w 221"/>
                  <a:gd name="T99" fmla="*/ 2147483647 h 234"/>
                  <a:gd name="T100" fmla="*/ 2147483647 w 221"/>
                  <a:gd name="T101" fmla="*/ 2147483647 h 234"/>
                  <a:gd name="T102" fmla="*/ 2147483647 w 221"/>
                  <a:gd name="T103" fmla="*/ 2147483647 h 234"/>
                  <a:gd name="T104" fmla="*/ 0 w 221"/>
                  <a:gd name="T105" fmla="*/ 2147483647 h 234"/>
                  <a:gd name="T106" fmla="*/ 0 w 221"/>
                  <a:gd name="T107" fmla="*/ 2147483647 h 234"/>
                  <a:gd name="T108" fmla="*/ 2147483647 w 221"/>
                  <a:gd name="T109" fmla="*/ 2147483647 h 234"/>
                  <a:gd name="T110" fmla="*/ 2147483647 w 221"/>
                  <a:gd name="T111" fmla="*/ 2147483647 h 234"/>
                  <a:gd name="T112" fmla="*/ 2147483647 w 221"/>
                  <a:gd name="T113" fmla="*/ 2147483647 h 234"/>
                  <a:gd name="T114" fmla="*/ 2147483647 w 221"/>
                  <a:gd name="T115" fmla="*/ 2147483647 h 234"/>
                  <a:gd name="T116" fmla="*/ 2147483647 w 221"/>
                  <a:gd name="T117" fmla="*/ 2147483647 h 234"/>
                  <a:gd name="T118" fmla="*/ 2147483647 w 221"/>
                  <a:gd name="T119" fmla="*/ 2147483647 h 234"/>
                  <a:gd name="T120" fmla="*/ 2147483647 w 221"/>
                  <a:gd name="T121" fmla="*/ 0 h 2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21" h="234">
                    <a:moveTo>
                      <a:pt x="116" y="124"/>
                    </a:moveTo>
                    <a:lnTo>
                      <a:pt x="116" y="162"/>
                    </a:lnTo>
                    <a:lnTo>
                      <a:pt x="131" y="159"/>
                    </a:lnTo>
                    <a:lnTo>
                      <a:pt x="143" y="150"/>
                    </a:lnTo>
                    <a:lnTo>
                      <a:pt x="153" y="139"/>
                    </a:lnTo>
                    <a:lnTo>
                      <a:pt x="158" y="124"/>
                    </a:lnTo>
                    <a:lnTo>
                      <a:pt x="116" y="124"/>
                    </a:lnTo>
                    <a:close/>
                    <a:moveTo>
                      <a:pt x="56" y="124"/>
                    </a:moveTo>
                    <a:lnTo>
                      <a:pt x="62" y="137"/>
                    </a:lnTo>
                    <a:lnTo>
                      <a:pt x="71" y="150"/>
                    </a:lnTo>
                    <a:lnTo>
                      <a:pt x="83" y="157"/>
                    </a:lnTo>
                    <a:lnTo>
                      <a:pt x="97" y="162"/>
                    </a:lnTo>
                    <a:lnTo>
                      <a:pt x="97" y="124"/>
                    </a:lnTo>
                    <a:lnTo>
                      <a:pt x="56" y="124"/>
                    </a:lnTo>
                    <a:close/>
                    <a:moveTo>
                      <a:pt x="97" y="62"/>
                    </a:moveTo>
                    <a:lnTo>
                      <a:pt x="82" y="67"/>
                    </a:lnTo>
                    <a:lnTo>
                      <a:pt x="69" y="77"/>
                    </a:lnTo>
                    <a:lnTo>
                      <a:pt x="60" y="90"/>
                    </a:lnTo>
                    <a:lnTo>
                      <a:pt x="55" y="107"/>
                    </a:lnTo>
                    <a:lnTo>
                      <a:pt x="97" y="107"/>
                    </a:lnTo>
                    <a:lnTo>
                      <a:pt x="97" y="62"/>
                    </a:lnTo>
                    <a:close/>
                    <a:moveTo>
                      <a:pt x="116" y="62"/>
                    </a:moveTo>
                    <a:lnTo>
                      <a:pt x="116" y="107"/>
                    </a:lnTo>
                    <a:lnTo>
                      <a:pt x="159" y="107"/>
                    </a:lnTo>
                    <a:lnTo>
                      <a:pt x="155" y="90"/>
                    </a:lnTo>
                    <a:lnTo>
                      <a:pt x="145" y="77"/>
                    </a:lnTo>
                    <a:lnTo>
                      <a:pt x="132" y="67"/>
                    </a:lnTo>
                    <a:lnTo>
                      <a:pt x="116" y="62"/>
                    </a:lnTo>
                    <a:close/>
                    <a:moveTo>
                      <a:pt x="97" y="0"/>
                    </a:moveTo>
                    <a:lnTo>
                      <a:pt x="116" y="0"/>
                    </a:lnTo>
                    <a:lnTo>
                      <a:pt x="116" y="37"/>
                    </a:lnTo>
                    <a:lnTo>
                      <a:pt x="137" y="42"/>
                    </a:lnTo>
                    <a:lnTo>
                      <a:pt x="155" y="53"/>
                    </a:lnTo>
                    <a:lnTo>
                      <a:pt x="169" y="68"/>
                    </a:lnTo>
                    <a:lnTo>
                      <a:pt x="179" y="85"/>
                    </a:lnTo>
                    <a:lnTo>
                      <a:pt x="184" y="107"/>
                    </a:lnTo>
                    <a:lnTo>
                      <a:pt x="221" y="107"/>
                    </a:lnTo>
                    <a:lnTo>
                      <a:pt x="221" y="124"/>
                    </a:lnTo>
                    <a:lnTo>
                      <a:pt x="183" y="124"/>
                    </a:lnTo>
                    <a:lnTo>
                      <a:pt x="178" y="144"/>
                    </a:lnTo>
                    <a:lnTo>
                      <a:pt x="166" y="160"/>
                    </a:lnTo>
                    <a:lnTo>
                      <a:pt x="153" y="173"/>
                    </a:lnTo>
                    <a:lnTo>
                      <a:pt x="135" y="182"/>
                    </a:lnTo>
                    <a:lnTo>
                      <a:pt x="116" y="187"/>
                    </a:lnTo>
                    <a:lnTo>
                      <a:pt x="116" y="234"/>
                    </a:lnTo>
                    <a:lnTo>
                      <a:pt x="97" y="234"/>
                    </a:lnTo>
                    <a:lnTo>
                      <a:pt x="97" y="187"/>
                    </a:lnTo>
                    <a:lnTo>
                      <a:pt x="78" y="182"/>
                    </a:lnTo>
                    <a:lnTo>
                      <a:pt x="61" y="172"/>
                    </a:lnTo>
                    <a:lnTo>
                      <a:pt x="48" y="160"/>
                    </a:lnTo>
                    <a:lnTo>
                      <a:pt x="38" y="144"/>
                    </a:lnTo>
                    <a:lnTo>
                      <a:pt x="31" y="124"/>
                    </a:lnTo>
                    <a:lnTo>
                      <a:pt x="0" y="124"/>
                    </a:lnTo>
                    <a:lnTo>
                      <a:pt x="0" y="107"/>
                    </a:lnTo>
                    <a:lnTo>
                      <a:pt x="31" y="107"/>
                    </a:lnTo>
                    <a:lnTo>
                      <a:pt x="35" y="87"/>
                    </a:lnTo>
                    <a:lnTo>
                      <a:pt x="45" y="68"/>
                    </a:lnTo>
                    <a:lnTo>
                      <a:pt x="60" y="53"/>
                    </a:lnTo>
                    <a:lnTo>
                      <a:pt x="77" y="42"/>
                    </a:lnTo>
                    <a:lnTo>
                      <a:pt x="97" y="37"/>
                    </a:lnTo>
                    <a:lnTo>
                      <a:pt x="9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447" name="Group 4"/>
            <p:cNvGrpSpPr>
              <a:grpSpLocks/>
            </p:cNvGrpSpPr>
            <p:nvPr/>
          </p:nvGrpSpPr>
          <p:grpSpPr bwMode="auto">
            <a:xfrm>
              <a:off x="4959346" y="3670135"/>
              <a:ext cx="361732" cy="361732"/>
              <a:chOff x="4679949" y="4856296"/>
              <a:chExt cx="493462" cy="542031"/>
            </a:xfrm>
            <a:solidFill>
              <a:srgbClr val="333333">
                <a:lumMod val="60000"/>
                <a:lumOff val="40000"/>
              </a:srgbClr>
            </a:solidFill>
          </p:grpSpPr>
          <p:sp>
            <p:nvSpPr>
              <p:cNvPr id="448" name="Freeform 1641"/>
              <p:cNvSpPr>
                <a:spLocks/>
              </p:cNvSpPr>
              <p:nvPr/>
            </p:nvSpPr>
            <p:spPr bwMode="auto">
              <a:xfrm>
                <a:off x="4679949" y="5250677"/>
                <a:ext cx="493462" cy="147650"/>
              </a:xfrm>
              <a:custGeom>
                <a:avLst/>
                <a:gdLst>
                  <a:gd name="T0" fmla="*/ 2147483647 w 392"/>
                  <a:gd name="T1" fmla="*/ 0 h 117"/>
                  <a:gd name="T2" fmla="*/ 2147483647 w 392"/>
                  <a:gd name="T3" fmla="*/ 2147483647 h 117"/>
                  <a:gd name="T4" fmla="*/ 2147483647 w 392"/>
                  <a:gd name="T5" fmla="*/ 2147483647 h 117"/>
                  <a:gd name="T6" fmla="*/ 2147483647 w 392"/>
                  <a:gd name="T7" fmla="*/ 2147483647 h 117"/>
                  <a:gd name="T8" fmla="*/ 2147483647 w 392"/>
                  <a:gd name="T9" fmla="*/ 2147483647 h 117"/>
                  <a:gd name="T10" fmla="*/ 2147483647 w 392"/>
                  <a:gd name="T11" fmla="*/ 2147483647 h 117"/>
                  <a:gd name="T12" fmla="*/ 2147483647 w 392"/>
                  <a:gd name="T13" fmla="*/ 2147483647 h 117"/>
                  <a:gd name="T14" fmla="*/ 2147483647 w 392"/>
                  <a:gd name="T15" fmla="*/ 2147483647 h 117"/>
                  <a:gd name="T16" fmla="*/ 2147483647 w 392"/>
                  <a:gd name="T17" fmla="*/ 2147483647 h 117"/>
                  <a:gd name="T18" fmla="*/ 2147483647 w 392"/>
                  <a:gd name="T19" fmla="*/ 2147483647 h 117"/>
                  <a:gd name="T20" fmla="*/ 2147483647 w 392"/>
                  <a:gd name="T21" fmla="*/ 2147483647 h 117"/>
                  <a:gd name="T22" fmla="*/ 2147483647 w 392"/>
                  <a:gd name="T23" fmla="*/ 2147483647 h 117"/>
                  <a:gd name="T24" fmla="*/ 2147483647 w 392"/>
                  <a:gd name="T25" fmla="*/ 2147483647 h 117"/>
                  <a:gd name="T26" fmla="*/ 2147483647 w 392"/>
                  <a:gd name="T27" fmla="*/ 2147483647 h 117"/>
                  <a:gd name="T28" fmla="*/ 2147483647 w 392"/>
                  <a:gd name="T29" fmla="*/ 2147483647 h 117"/>
                  <a:gd name="T30" fmla="*/ 2147483647 w 392"/>
                  <a:gd name="T31" fmla="*/ 2147483647 h 117"/>
                  <a:gd name="T32" fmla="*/ 2147483647 w 392"/>
                  <a:gd name="T33" fmla="*/ 2147483647 h 117"/>
                  <a:gd name="T34" fmla="*/ 2147483647 w 392"/>
                  <a:gd name="T35" fmla="*/ 2147483647 h 117"/>
                  <a:gd name="T36" fmla="*/ 2147483647 w 392"/>
                  <a:gd name="T37" fmla="*/ 2147483647 h 117"/>
                  <a:gd name="T38" fmla="*/ 2147483647 w 392"/>
                  <a:gd name="T39" fmla="*/ 2147483647 h 117"/>
                  <a:gd name="T40" fmla="*/ 2147483647 w 392"/>
                  <a:gd name="T41" fmla="*/ 2147483647 h 117"/>
                  <a:gd name="T42" fmla="*/ 2147483647 w 392"/>
                  <a:gd name="T43" fmla="*/ 2147483647 h 117"/>
                  <a:gd name="T44" fmla="*/ 2147483647 w 392"/>
                  <a:gd name="T45" fmla="*/ 2147483647 h 117"/>
                  <a:gd name="T46" fmla="*/ 2147483647 w 392"/>
                  <a:gd name="T47" fmla="*/ 2147483647 h 117"/>
                  <a:gd name="T48" fmla="*/ 2147483647 w 392"/>
                  <a:gd name="T49" fmla="*/ 2147483647 h 117"/>
                  <a:gd name="T50" fmla="*/ 2147483647 w 392"/>
                  <a:gd name="T51" fmla="*/ 2147483647 h 117"/>
                  <a:gd name="T52" fmla="*/ 2147483647 w 392"/>
                  <a:gd name="T53" fmla="*/ 2147483647 h 117"/>
                  <a:gd name="T54" fmla="*/ 2147483647 w 392"/>
                  <a:gd name="T55" fmla="*/ 2147483647 h 117"/>
                  <a:gd name="T56" fmla="*/ 2147483647 w 392"/>
                  <a:gd name="T57" fmla="*/ 0 h 117"/>
                  <a:gd name="T58" fmla="*/ 2147483647 w 392"/>
                  <a:gd name="T59" fmla="*/ 2147483647 h 117"/>
                  <a:gd name="T60" fmla="*/ 2147483647 w 392"/>
                  <a:gd name="T61" fmla="*/ 2147483647 h 117"/>
                  <a:gd name="T62" fmla="*/ 2147483647 w 392"/>
                  <a:gd name="T63" fmla="*/ 2147483647 h 117"/>
                  <a:gd name="T64" fmla="*/ 2147483647 w 392"/>
                  <a:gd name="T65" fmla="*/ 2147483647 h 117"/>
                  <a:gd name="T66" fmla="*/ 2147483647 w 392"/>
                  <a:gd name="T67" fmla="*/ 2147483647 h 117"/>
                  <a:gd name="T68" fmla="*/ 2147483647 w 392"/>
                  <a:gd name="T69" fmla="*/ 2147483647 h 117"/>
                  <a:gd name="T70" fmla="*/ 2147483647 w 392"/>
                  <a:gd name="T71" fmla="*/ 2147483647 h 117"/>
                  <a:gd name="T72" fmla="*/ 2147483647 w 392"/>
                  <a:gd name="T73" fmla="*/ 2147483647 h 117"/>
                  <a:gd name="T74" fmla="*/ 2147483647 w 392"/>
                  <a:gd name="T75" fmla="*/ 2147483647 h 117"/>
                  <a:gd name="T76" fmla="*/ 2147483647 w 392"/>
                  <a:gd name="T77" fmla="*/ 2147483647 h 117"/>
                  <a:gd name="T78" fmla="*/ 2147483647 w 392"/>
                  <a:gd name="T79" fmla="*/ 2147483647 h 117"/>
                  <a:gd name="T80" fmla="*/ 2147483647 w 392"/>
                  <a:gd name="T81" fmla="*/ 2147483647 h 117"/>
                  <a:gd name="T82" fmla="*/ 2147483647 w 392"/>
                  <a:gd name="T83" fmla="*/ 2147483647 h 117"/>
                  <a:gd name="T84" fmla="*/ 2147483647 w 392"/>
                  <a:gd name="T85" fmla="*/ 2147483647 h 117"/>
                  <a:gd name="T86" fmla="*/ 2147483647 w 392"/>
                  <a:gd name="T87" fmla="*/ 2147483647 h 117"/>
                  <a:gd name="T88" fmla="*/ 2147483647 w 392"/>
                  <a:gd name="T89" fmla="*/ 2147483647 h 117"/>
                  <a:gd name="T90" fmla="*/ 2147483647 w 392"/>
                  <a:gd name="T91" fmla="*/ 2147483647 h 117"/>
                  <a:gd name="T92" fmla="*/ 2147483647 w 392"/>
                  <a:gd name="T93" fmla="*/ 2147483647 h 117"/>
                  <a:gd name="T94" fmla="*/ 2147483647 w 392"/>
                  <a:gd name="T95" fmla="*/ 2147483647 h 117"/>
                  <a:gd name="T96" fmla="*/ 2147483647 w 392"/>
                  <a:gd name="T97" fmla="*/ 2147483647 h 117"/>
                  <a:gd name="T98" fmla="*/ 2147483647 w 392"/>
                  <a:gd name="T99" fmla="*/ 2147483647 h 117"/>
                  <a:gd name="T100" fmla="*/ 0 w 392"/>
                  <a:gd name="T101" fmla="*/ 2147483647 h 117"/>
                  <a:gd name="T102" fmla="*/ 2147483647 w 392"/>
                  <a:gd name="T103" fmla="*/ 2147483647 h 117"/>
                  <a:gd name="T104" fmla="*/ 2147483647 w 392"/>
                  <a:gd name="T105" fmla="*/ 2147483647 h 117"/>
                  <a:gd name="T106" fmla="*/ 2147483647 w 392"/>
                  <a:gd name="T107" fmla="*/ 2147483647 h 117"/>
                  <a:gd name="T108" fmla="*/ 2147483647 w 392"/>
                  <a:gd name="T109" fmla="*/ 2147483647 h 117"/>
                  <a:gd name="T110" fmla="*/ 2147483647 w 392"/>
                  <a:gd name="T111" fmla="*/ 2147483647 h 117"/>
                  <a:gd name="T112" fmla="*/ 2147483647 w 392"/>
                  <a:gd name="T113" fmla="*/ 0 h 11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392" h="117">
                    <a:moveTo>
                      <a:pt x="122" y="0"/>
                    </a:moveTo>
                    <a:lnTo>
                      <a:pt x="127" y="8"/>
                    </a:lnTo>
                    <a:lnTo>
                      <a:pt x="133" y="15"/>
                    </a:lnTo>
                    <a:lnTo>
                      <a:pt x="105" y="20"/>
                    </a:lnTo>
                    <a:lnTo>
                      <a:pt x="81" y="27"/>
                    </a:lnTo>
                    <a:lnTo>
                      <a:pt x="63" y="36"/>
                    </a:lnTo>
                    <a:lnTo>
                      <a:pt x="52" y="46"/>
                    </a:lnTo>
                    <a:lnTo>
                      <a:pt x="48" y="56"/>
                    </a:lnTo>
                    <a:lnTo>
                      <a:pt x="52" y="67"/>
                    </a:lnTo>
                    <a:lnTo>
                      <a:pt x="63" y="76"/>
                    </a:lnTo>
                    <a:lnTo>
                      <a:pt x="80" y="84"/>
                    </a:lnTo>
                    <a:lnTo>
                      <a:pt x="102" y="92"/>
                    </a:lnTo>
                    <a:lnTo>
                      <a:pt x="131" y="97"/>
                    </a:lnTo>
                    <a:lnTo>
                      <a:pt x="162" y="100"/>
                    </a:lnTo>
                    <a:lnTo>
                      <a:pt x="195" y="102"/>
                    </a:lnTo>
                    <a:lnTo>
                      <a:pt x="229" y="100"/>
                    </a:lnTo>
                    <a:lnTo>
                      <a:pt x="261" y="97"/>
                    </a:lnTo>
                    <a:lnTo>
                      <a:pt x="288" y="92"/>
                    </a:lnTo>
                    <a:lnTo>
                      <a:pt x="310" y="84"/>
                    </a:lnTo>
                    <a:lnTo>
                      <a:pt x="328" y="76"/>
                    </a:lnTo>
                    <a:lnTo>
                      <a:pt x="339" y="67"/>
                    </a:lnTo>
                    <a:lnTo>
                      <a:pt x="344" y="56"/>
                    </a:lnTo>
                    <a:lnTo>
                      <a:pt x="339" y="46"/>
                    </a:lnTo>
                    <a:lnTo>
                      <a:pt x="328" y="36"/>
                    </a:lnTo>
                    <a:lnTo>
                      <a:pt x="309" y="27"/>
                    </a:lnTo>
                    <a:lnTo>
                      <a:pt x="286" y="20"/>
                    </a:lnTo>
                    <a:lnTo>
                      <a:pt x="257" y="15"/>
                    </a:lnTo>
                    <a:lnTo>
                      <a:pt x="263" y="8"/>
                    </a:lnTo>
                    <a:lnTo>
                      <a:pt x="268" y="0"/>
                    </a:lnTo>
                    <a:lnTo>
                      <a:pt x="303" y="5"/>
                    </a:lnTo>
                    <a:lnTo>
                      <a:pt x="333" y="12"/>
                    </a:lnTo>
                    <a:lnTo>
                      <a:pt x="357" y="21"/>
                    </a:lnTo>
                    <a:lnTo>
                      <a:pt x="376" y="32"/>
                    </a:lnTo>
                    <a:lnTo>
                      <a:pt x="387" y="43"/>
                    </a:lnTo>
                    <a:lnTo>
                      <a:pt x="392" y="56"/>
                    </a:lnTo>
                    <a:lnTo>
                      <a:pt x="387" y="68"/>
                    </a:lnTo>
                    <a:lnTo>
                      <a:pt x="376" y="79"/>
                    </a:lnTo>
                    <a:lnTo>
                      <a:pt x="359" y="91"/>
                    </a:lnTo>
                    <a:lnTo>
                      <a:pt x="334" y="99"/>
                    </a:lnTo>
                    <a:lnTo>
                      <a:pt x="305" y="107"/>
                    </a:lnTo>
                    <a:lnTo>
                      <a:pt x="272" y="112"/>
                    </a:lnTo>
                    <a:lnTo>
                      <a:pt x="235" y="115"/>
                    </a:lnTo>
                    <a:lnTo>
                      <a:pt x="195" y="117"/>
                    </a:lnTo>
                    <a:lnTo>
                      <a:pt x="156" y="115"/>
                    </a:lnTo>
                    <a:lnTo>
                      <a:pt x="118" y="112"/>
                    </a:lnTo>
                    <a:lnTo>
                      <a:pt x="85" y="107"/>
                    </a:lnTo>
                    <a:lnTo>
                      <a:pt x="57" y="99"/>
                    </a:lnTo>
                    <a:lnTo>
                      <a:pt x="33" y="91"/>
                    </a:lnTo>
                    <a:lnTo>
                      <a:pt x="14" y="79"/>
                    </a:lnTo>
                    <a:lnTo>
                      <a:pt x="3" y="68"/>
                    </a:lnTo>
                    <a:lnTo>
                      <a:pt x="0" y="56"/>
                    </a:lnTo>
                    <a:lnTo>
                      <a:pt x="3" y="43"/>
                    </a:lnTo>
                    <a:lnTo>
                      <a:pt x="14" y="32"/>
                    </a:lnTo>
                    <a:lnTo>
                      <a:pt x="33" y="21"/>
                    </a:lnTo>
                    <a:lnTo>
                      <a:pt x="58" y="12"/>
                    </a:lnTo>
                    <a:lnTo>
                      <a:pt x="87" y="5"/>
                    </a:lnTo>
                    <a:lnTo>
                      <a:pt x="1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49" name="Freeform 1642"/>
              <p:cNvSpPr>
                <a:spLocks/>
              </p:cNvSpPr>
              <p:nvPr/>
            </p:nvSpPr>
            <p:spPr bwMode="auto">
              <a:xfrm>
                <a:off x="4785829" y="5283704"/>
                <a:ext cx="280729" cy="81596"/>
              </a:xfrm>
              <a:custGeom>
                <a:avLst/>
                <a:gdLst>
                  <a:gd name="T0" fmla="*/ 2147483647 w 223"/>
                  <a:gd name="T1" fmla="*/ 0 h 65"/>
                  <a:gd name="T2" fmla="*/ 2147483647 w 223"/>
                  <a:gd name="T3" fmla="*/ 2147483647 h 65"/>
                  <a:gd name="T4" fmla="*/ 2147483647 w 223"/>
                  <a:gd name="T5" fmla="*/ 2147483647 h 65"/>
                  <a:gd name="T6" fmla="*/ 2147483647 w 223"/>
                  <a:gd name="T7" fmla="*/ 2147483647 h 65"/>
                  <a:gd name="T8" fmla="*/ 2147483647 w 223"/>
                  <a:gd name="T9" fmla="*/ 2147483647 h 65"/>
                  <a:gd name="T10" fmla="*/ 2147483647 w 223"/>
                  <a:gd name="T11" fmla="*/ 2147483647 h 65"/>
                  <a:gd name="T12" fmla="*/ 2147483647 w 223"/>
                  <a:gd name="T13" fmla="*/ 2147483647 h 65"/>
                  <a:gd name="T14" fmla="*/ 2147483647 w 223"/>
                  <a:gd name="T15" fmla="*/ 2147483647 h 65"/>
                  <a:gd name="T16" fmla="*/ 2147483647 w 223"/>
                  <a:gd name="T17" fmla="*/ 2147483647 h 65"/>
                  <a:gd name="T18" fmla="*/ 2147483647 w 223"/>
                  <a:gd name="T19" fmla="*/ 2147483647 h 65"/>
                  <a:gd name="T20" fmla="*/ 2147483647 w 223"/>
                  <a:gd name="T21" fmla="*/ 2147483647 h 65"/>
                  <a:gd name="T22" fmla="*/ 2147483647 w 223"/>
                  <a:gd name="T23" fmla="*/ 2147483647 h 65"/>
                  <a:gd name="T24" fmla="*/ 2147483647 w 223"/>
                  <a:gd name="T25" fmla="*/ 2147483647 h 65"/>
                  <a:gd name="T26" fmla="*/ 2147483647 w 223"/>
                  <a:gd name="T27" fmla="*/ 2147483647 h 65"/>
                  <a:gd name="T28" fmla="*/ 2147483647 w 223"/>
                  <a:gd name="T29" fmla="*/ 2147483647 h 65"/>
                  <a:gd name="T30" fmla="*/ 2147483647 w 223"/>
                  <a:gd name="T31" fmla="*/ 2147483647 h 65"/>
                  <a:gd name="T32" fmla="*/ 2147483647 w 223"/>
                  <a:gd name="T33" fmla="*/ 2147483647 h 65"/>
                  <a:gd name="T34" fmla="*/ 2147483647 w 223"/>
                  <a:gd name="T35" fmla="*/ 2147483647 h 65"/>
                  <a:gd name="T36" fmla="*/ 2147483647 w 223"/>
                  <a:gd name="T37" fmla="*/ 2147483647 h 65"/>
                  <a:gd name="T38" fmla="*/ 2147483647 w 223"/>
                  <a:gd name="T39" fmla="*/ 2147483647 h 65"/>
                  <a:gd name="T40" fmla="*/ 2147483647 w 223"/>
                  <a:gd name="T41" fmla="*/ 2147483647 h 65"/>
                  <a:gd name="T42" fmla="*/ 2147483647 w 223"/>
                  <a:gd name="T43" fmla="*/ 2147483647 h 65"/>
                  <a:gd name="T44" fmla="*/ 2147483647 w 223"/>
                  <a:gd name="T45" fmla="*/ 0 h 65"/>
                  <a:gd name="T46" fmla="*/ 2147483647 w 223"/>
                  <a:gd name="T47" fmla="*/ 2147483647 h 65"/>
                  <a:gd name="T48" fmla="*/ 2147483647 w 223"/>
                  <a:gd name="T49" fmla="*/ 2147483647 h 65"/>
                  <a:gd name="T50" fmla="*/ 2147483647 w 223"/>
                  <a:gd name="T51" fmla="*/ 2147483647 h 65"/>
                  <a:gd name="T52" fmla="*/ 2147483647 w 223"/>
                  <a:gd name="T53" fmla="*/ 2147483647 h 65"/>
                  <a:gd name="T54" fmla="*/ 2147483647 w 223"/>
                  <a:gd name="T55" fmla="*/ 2147483647 h 65"/>
                  <a:gd name="T56" fmla="*/ 2147483647 w 223"/>
                  <a:gd name="T57" fmla="*/ 2147483647 h 65"/>
                  <a:gd name="T58" fmla="*/ 2147483647 w 223"/>
                  <a:gd name="T59" fmla="*/ 2147483647 h 65"/>
                  <a:gd name="T60" fmla="*/ 2147483647 w 223"/>
                  <a:gd name="T61" fmla="*/ 2147483647 h 65"/>
                  <a:gd name="T62" fmla="*/ 2147483647 w 223"/>
                  <a:gd name="T63" fmla="*/ 2147483647 h 65"/>
                  <a:gd name="T64" fmla="*/ 2147483647 w 223"/>
                  <a:gd name="T65" fmla="*/ 2147483647 h 65"/>
                  <a:gd name="T66" fmla="*/ 2147483647 w 223"/>
                  <a:gd name="T67" fmla="*/ 2147483647 h 65"/>
                  <a:gd name="T68" fmla="*/ 2147483647 w 223"/>
                  <a:gd name="T69" fmla="*/ 2147483647 h 65"/>
                  <a:gd name="T70" fmla="*/ 2147483647 w 223"/>
                  <a:gd name="T71" fmla="*/ 2147483647 h 65"/>
                  <a:gd name="T72" fmla="*/ 2147483647 w 223"/>
                  <a:gd name="T73" fmla="*/ 2147483647 h 65"/>
                  <a:gd name="T74" fmla="*/ 2147483647 w 223"/>
                  <a:gd name="T75" fmla="*/ 2147483647 h 65"/>
                  <a:gd name="T76" fmla="*/ 0 w 223"/>
                  <a:gd name="T77" fmla="*/ 2147483647 h 65"/>
                  <a:gd name="T78" fmla="*/ 2147483647 w 223"/>
                  <a:gd name="T79" fmla="*/ 2147483647 h 65"/>
                  <a:gd name="T80" fmla="*/ 2147483647 w 223"/>
                  <a:gd name="T81" fmla="*/ 2147483647 h 65"/>
                  <a:gd name="T82" fmla="*/ 2147483647 w 223"/>
                  <a:gd name="T83" fmla="*/ 2147483647 h 65"/>
                  <a:gd name="T84" fmla="*/ 2147483647 w 223"/>
                  <a:gd name="T85" fmla="*/ 0 h 6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23" h="65">
                    <a:moveTo>
                      <a:pt x="59" y="0"/>
                    </a:moveTo>
                    <a:lnTo>
                      <a:pt x="65" y="5"/>
                    </a:lnTo>
                    <a:lnTo>
                      <a:pt x="72" y="10"/>
                    </a:lnTo>
                    <a:lnTo>
                      <a:pt x="57" y="14"/>
                    </a:lnTo>
                    <a:lnTo>
                      <a:pt x="46" y="19"/>
                    </a:lnTo>
                    <a:lnTo>
                      <a:pt x="39" y="24"/>
                    </a:lnTo>
                    <a:lnTo>
                      <a:pt x="36" y="30"/>
                    </a:lnTo>
                    <a:lnTo>
                      <a:pt x="41" y="37"/>
                    </a:lnTo>
                    <a:lnTo>
                      <a:pt x="51" y="43"/>
                    </a:lnTo>
                    <a:lnTo>
                      <a:pt x="67" y="48"/>
                    </a:lnTo>
                    <a:lnTo>
                      <a:pt x="88" y="52"/>
                    </a:lnTo>
                    <a:lnTo>
                      <a:pt x="111" y="53"/>
                    </a:lnTo>
                    <a:lnTo>
                      <a:pt x="135" y="52"/>
                    </a:lnTo>
                    <a:lnTo>
                      <a:pt x="156" y="48"/>
                    </a:lnTo>
                    <a:lnTo>
                      <a:pt x="172" y="43"/>
                    </a:lnTo>
                    <a:lnTo>
                      <a:pt x="183" y="37"/>
                    </a:lnTo>
                    <a:lnTo>
                      <a:pt x="187" y="30"/>
                    </a:lnTo>
                    <a:lnTo>
                      <a:pt x="184" y="24"/>
                    </a:lnTo>
                    <a:lnTo>
                      <a:pt x="177" y="19"/>
                    </a:lnTo>
                    <a:lnTo>
                      <a:pt x="166" y="14"/>
                    </a:lnTo>
                    <a:lnTo>
                      <a:pt x="151" y="10"/>
                    </a:lnTo>
                    <a:lnTo>
                      <a:pt x="157" y="5"/>
                    </a:lnTo>
                    <a:lnTo>
                      <a:pt x="163" y="0"/>
                    </a:lnTo>
                    <a:lnTo>
                      <a:pt x="188" y="5"/>
                    </a:lnTo>
                    <a:lnTo>
                      <a:pt x="207" y="13"/>
                    </a:lnTo>
                    <a:lnTo>
                      <a:pt x="219" y="21"/>
                    </a:lnTo>
                    <a:lnTo>
                      <a:pt x="223" y="30"/>
                    </a:lnTo>
                    <a:lnTo>
                      <a:pt x="219" y="40"/>
                    </a:lnTo>
                    <a:lnTo>
                      <a:pt x="208" y="47"/>
                    </a:lnTo>
                    <a:lnTo>
                      <a:pt x="190" y="55"/>
                    </a:lnTo>
                    <a:lnTo>
                      <a:pt x="168" y="60"/>
                    </a:lnTo>
                    <a:lnTo>
                      <a:pt x="141" y="63"/>
                    </a:lnTo>
                    <a:lnTo>
                      <a:pt x="111" y="65"/>
                    </a:lnTo>
                    <a:lnTo>
                      <a:pt x="81" y="63"/>
                    </a:lnTo>
                    <a:lnTo>
                      <a:pt x="55" y="60"/>
                    </a:lnTo>
                    <a:lnTo>
                      <a:pt x="33" y="55"/>
                    </a:lnTo>
                    <a:lnTo>
                      <a:pt x="15" y="47"/>
                    </a:lnTo>
                    <a:lnTo>
                      <a:pt x="3" y="40"/>
                    </a:lnTo>
                    <a:lnTo>
                      <a:pt x="0" y="30"/>
                    </a:lnTo>
                    <a:lnTo>
                      <a:pt x="5" y="20"/>
                    </a:lnTo>
                    <a:lnTo>
                      <a:pt x="16" y="13"/>
                    </a:lnTo>
                    <a:lnTo>
                      <a:pt x="36" y="5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0" name="Freeform 1643"/>
              <p:cNvSpPr>
                <a:spLocks/>
              </p:cNvSpPr>
              <p:nvPr/>
            </p:nvSpPr>
            <p:spPr bwMode="auto">
              <a:xfrm>
                <a:off x="4877139" y="5308960"/>
                <a:ext cx="97138" cy="27199"/>
              </a:xfrm>
              <a:custGeom>
                <a:avLst/>
                <a:gdLst>
                  <a:gd name="T0" fmla="*/ 2147483647 w 77"/>
                  <a:gd name="T1" fmla="*/ 0 h 22"/>
                  <a:gd name="T2" fmla="*/ 2147483647 w 77"/>
                  <a:gd name="T3" fmla="*/ 2147483647 h 22"/>
                  <a:gd name="T4" fmla="*/ 2147483647 w 77"/>
                  <a:gd name="T5" fmla="*/ 2147483647 h 22"/>
                  <a:gd name="T6" fmla="*/ 2147483647 w 77"/>
                  <a:gd name="T7" fmla="*/ 2147483647 h 22"/>
                  <a:gd name="T8" fmla="*/ 2147483647 w 77"/>
                  <a:gd name="T9" fmla="*/ 0 h 22"/>
                  <a:gd name="T10" fmla="*/ 2147483647 w 77"/>
                  <a:gd name="T11" fmla="*/ 2147483647 h 22"/>
                  <a:gd name="T12" fmla="*/ 2147483647 w 77"/>
                  <a:gd name="T13" fmla="*/ 2147483647 h 22"/>
                  <a:gd name="T14" fmla="*/ 2147483647 w 77"/>
                  <a:gd name="T15" fmla="*/ 2147483647 h 22"/>
                  <a:gd name="T16" fmla="*/ 2147483647 w 77"/>
                  <a:gd name="T17" fmla="*/ 2147483647 h 22"/>
                  <a:gd name="T18" fmla="*/ 2147483647 w 77"/>
                  <a:gd name="T19" fmla="*/ 2147483647 h 22"/>
                  <a:gd name="T20" fmla="*/ 2147483647 w 77"/>
                  <a:gd name="T21" fmla="*/ 2147483647 h 22"/>
                  <a:gd name="T22" fmla="*/ 2147483647 w 77"/>
                  <a:gd name="T23" fmla="*/ 2147483647 h 22"/>
                  <a:gd name="T24" fmla="*/ 2147483647 w 77"/>
                  <a:gd name="T25" fmla="*/ 2147483647 h 22"/>
                  <a:gd name="T26" fmla="*/ 2147483647 w 77"/>
                  <a:gd name="T27" fmla="*/ 2147483647 h 22"/>
                  <a:gd name="T28" fmla="*/ 2147483647 w 77"/>
                  <a:gd name="T29" fmla="*/ 2147483647 h 22"/>
                  <a:gd name="T30" fmla="*/ 2147483647 w 77"/>
                  <a:gd name="T31" fmla="*/ 2147483647 h 22"/>
                  <a:gd name="T32" fmla="*/ 2147483647 w 77"/>
                  <a:gd name="T33" fmla="*/ 2147483647 h 22"/>
                  <a:gd name="T34" fmla="*/ 0 w 77"/>
                  <a:gd name="T35" fmla="*/ 2147483647 h 22"/>
                  <a:gd name="T36" fmla="*/ 0 w 77"/>
                  <a:gd name="T37" fmla="*/ 2147483647 h 22"/>
                  <a:gd name="T38" fmla="*/ 2147483647 w 77"/>
                  <a:gd name="T39" fmla="*/ 2147483647 h 22"/>
                  <a:gd name="T40" fmla="*/ 2147483647 w 77"/>
                  <a:gd name="T41" fmla="*/ 2147483647 h 22"/>
                  <a:gd name="T42" fmla="*/ 2147483647 w 77"/>
                  <a:gd name="T43" fmla="*/ 2147483647 h 22"/>
                  <a:gd name="T44" fmla="*/ 2147483647 w 77"/>
                  <a:gd name="T45" fmla="*/ 0 h 2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77" h="22">
                    <a:moveTo>
                      <a:pt x="16" y="0"/>
                    </a:moveTo>
                    <a:lnTo>
                      <a:pt x="27" y="4"/>
                    </a:lnTo>
                    <a:lnTo>
                      <a:pt x="38" y="5"/>
                    </a:lnTo>
                    <a:lnTo>
                      <a:pt x="51" y="4"/>
                    </a:lnTo>
                    <a:lnTo>
                      <a:pt x="62" y="0"/>
                    </a:lnTo>
                    <a:lnTo>
                      <a:pt x="67" y="2"/>
                    </a:lnTo>
                    <a:lnTo>
                      <a:pt x="70" y="4"/>
                    </a:lnTo>
                    <a:lnTo>
                      <a:pt x="74" y="6"/>
                    </a:lnTo>
                    <a:lnTo>
                      <a:pt x="77" y="7"/>
                    </a:lnTo>
                    <a:lnTo>
                      <a:pt x="77" y="10"/>
                    </a:lnTo>
                    <a:lnTo>
                      <a:pt x="74" y="15"/>
                    </a:lnTo>
                    <a:lnTo>
                      <a:pt x="65" y="19"/>
                    </a:lnTo>
                    <a:lnTo>
                      <a:pt x="53" y="21"/>
                    </a:lnTo>
                    <a:lnTo>
                      <a:pt x="38" y="22"/>
                    </a:lnTo>
                    <a:lnTo>
                      <a:pt x="23" y="21"/>
                    </a:lnTo>
                    <a:lnTo>
                      <a:pt x="11" y="19"/>
                    </a:lnTo>
                    <a:lnTo>
                      <a:pt x="2" y="15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1" name="Freeform 1644"/>
              <p:cNvSpPr>
                <a:spLocks/>
              </p:cNvSpPr>
              <p:nvPr/>
            </p:nvSpPr>
            <p:spPr bwMode="auto">
              <a:xfrm>
                <a:off x="4887825" y="4856296"/>
                <a:ext cx="70911" cy="738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algn="ctr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ctr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ctr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ctr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ctr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altLang="de-DE" sz="1600" b="0" i="0" u="none" strike="noStrike" kern="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52" name="Freeform 1645"/>
              <p:cNvSpPr>
                <a:spLocks/>
              </p:cNvSpPr>
              <p:nvPr/>
            </p:nvSpPr>
            <p:spPr bwMode="auto">
              <a:xfrm>
                <a:off x="4824684" y="4942749"/>
                <a:ext cx="203990" cy="353583"/>
              </a:xfrm>
              <a:custGeom>
                <a:avLst/>
                <a:gdLst>
                  <a:gd name="T0" fmla="*/ 2147483647 w 162"/>
                  <a:gd name="T1" fmla="*/ 2147483647 h 281"/>
                  <a:gd name="T2" fmla="*/ 2147483647 w 162"/>
                  <a:gd name="T3" fmla="*/ 2147483647 h 281"/>
                  <a:gd name="T4" fmla="*/ 2147483647 w 162"/>
                  <a:gd name="T5" fmla="*/ 2147483647 h 281"/>
                  <a:gd name="T6" fmla="*/ 2147483647 w 162"/>
                  <a:gd name="T7" fmla="*/ 2147483647 h 281"/>
                  <a:gd name="T8" fmla="*/ 2147483647 w 162"/>
                  <a:gd name="T9" fmla="*/ 2147483647 h 281"/>
                  <a:gd name="T10" fmla="*/ 2147483647 w 162"/>
                  <a:gd name="T11" fmla="*/ 2147483647 h 281"/>
                  <a:gd name="T12" fmla="*/ 2147483647 w 162"/>
                  <a:gd name="T13" fmla="*/ 2147483647 h 281"/>
                  <a:gd name="T14" fmla="*/ 2147483647 w 162"/>
                  <a:gd name="T15" fmla="*/ 2147483647 h 281"/>
                  <a:gd name="T16" fmla="*/ 2147483647 w 162"/>
                  <a:gd name="T17" fmla="*/ 2147483647 h 281"/>
                  <a:gd name="T18" fmla="*/ 2147483647 w 162"/>
                  <a:gd name="T19" fmla="*/ 2147483647 h 281"/>
                  <a:gd name="T20" fmla="*/ 2147483647 w 162"/>
                  <a:gd name="T21" fmla="*/ 2147483647 h 281"/>
                  <a:gd name="T22" fmla="*/ 2147483647 w 162"/>
                  <a:gd name="T23" fmla="*/ 2147483647 h 281"/>
                  <a:gd name="T24" fmla="*/ 2147483647 w 162"/>
                  <a:gd name="T25" fmla="*/ 2147483647 h 281"/>
                  <a:gd name="T26" fmla="*/ 2147483647 w 162"/>
                  <a:gd name="T27" fmla="*/ 2147483647 h 281"/>
                  <a:gd name="T28" fmla="*/ 2147483647 w 162"/>
                  <a:gd name="T29" fmla="*/ 2147483647 h 281"/>
                  <a:gd name="T30" fmla="*/ 2147483647 w 162"/>
                  <a:gd name="T31" fmla="*/ 2147483647 h 281"/>
                  <a:gd name="T32" fmla="*/ 2147483647 w 162"/>
                  <a:gd name="T33" fmla="*/ 2147483647 h 281"/>
                  <a:gd name="T34" fmla="*/ 2147483647 w 162"/>
                  <a:gd name="T35" fmla="*/ 2147483647 h 281"/>
                  <a:gd name="T36" fmla="*/ 2147483647 w 162"/>
                  <a:gd name="T37" fmla="*/ 2147483647 h 281"/>
                  <a:gd name="T38" fmla="*/ 2147483647 w 162"/>
                  <a:gd name="T39" fmla="*/ 2147483647 h 281"/>
                  <a:gd name="T40" fmla="*/ 2147483647 w 162"/>
                  <a:gd name="T41" fmla="*/ 2147483647 h 281"/>
                  <a:gd name="T42" fmla="*/ 2147483647 w 162"/>
                  <a:gd name="T43" fmla="*/ 2147483647 h 281"/>
                  <a:gd name="T44" fmla="*/ 2147483647 w 162"/>
                  <a:gd name="T45" fmla="*/ 2147483647 h 281"/>
                  <a:gd name="T46" fmla="*/ 2147483647 w 162"/>
                  <a:gd name="T47" fmla="*/ 2147483647 h 281"/>
                  <a:gd name="T48" fmla="*/ 2147483647 w 162"/>
                  <a:gd name="T49" fmla="*/ 2147483647 h 281"/>
                  <a:gd name="T50" fmla="*/ 2147483647 w 162"/>
                  <a:gd name="T51" fmla="*/ 2147483647 h 281"/>
                  <a:gd name="T52" fmla="*/ 2147483647 w 162"/>
                  <a:gd name="T53" fmla="*/ 2147483647 h 281"/>
                  <a:gd name="T54" fmla="*/ 0 w 162"/>
                  <a:gd name="T55" fmla="*/ 2147483647 h 281"/>
                  <a:gd name="T56" fmla="*/ 0 w 162"/>
                  <a:gd name="T57" fmla="*/ 2147483647 h 281"/>
                  <a:gd name="T58" fmla="*/ 2147483647 w 162"/>
                  <a:gd name="T59" fmla="*/ 2147483647 h 281"/>
                  <a:gd name="T60" fmla="*/ 2147483647 w 162"/>
                  <a:gd name="T61" fmla="*/ 2147483647 h 281"/>
                  <a:gd name="T62" fmla="*/ 2147483647 w 162"/>
                  <a:gd name="T63" fmla="*/ 2147483647 h 281"/>
                  <a:gd name="T64" fmla="*/ 2147483647 w 162"/>
                  <a:gd name="T65" fmla="*/ 2147483647 h 281"/>
                  <a:gd name="T66" fmla="*/ 2147483647 w 162"/>
                  <a:gd name="T67" fmla="*/ 2147483647 h 281"/>
                  <a:gd name="T68" fmla="*/ 2147483647 w 162"/>
                  <a:gd name="T69" fmla="*/ 2147483647 h 281"/>
                  <a:gd name="T70" fmla="*/ 2147483647 w 162"/>
                  <a:gd name="T71" fmla="*/ 2147483647 h 281"/>
                  <a:gd name="T72" fmla="*/ 2147483647 w 162"/>
                  <a:gd name="T73" fmla="*/ 2147483647 h 281"/>
                  <a:gd name="T74" fmla="*/ 2147483647 w 162"/>
                  <a:gd name="T75" fmla="*/ 2147483647 h 281"/>
                  <a:gd name="T76" fmla="*/ 2147483647 w 162"/>
                  <a:gd name="T77" fmla="*/ 2147483647 h 281"/>
                  <a:gd name="T78" fmla="*/ 2147483647 w 162"/>
                  <a:gd name="T79" fmla="*/ 0 h 2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62" h="281">
                    <a:moveTo>
                      <a:pt x="109" y="0"/>
                    </a:moveTo>
                    <a:lnTo>
                      <a:pt x="111" y="1"/>
                    </a:lnTo>
                    <a:lnTo>
                      <a:pt x="116" y="5"/>
                    </a:lnTo>
                    <a:lnTo>
                      <a:pt x="122" y="9"/>
                    </a:lnTo>
                    <a:lnTo>
                      <a:pt x="129" y="14"/>
                    </a:lnTo>
                    <a:lnTo>
                      <a:pt x="131" y="17"/>
                    </a:lnTo>
                    <a:lnTo>
                      <a:pt x="161" y="108"/>
                    </a:lnTo>
                    <a:lnTo>
                      <a:pt x="162" y="111"/>
                    </a:lnTo>
                    <a:lnTo>
                      <a:pt x="161" y="116"/>
                    </a:lnTo>
                    <a:lnTo>
                      <a:pt x="159" y="120"/>
                    </a:lnTo>
                    <a:lnTo>
                      <a:pt x="156" y="123"/>
                    </a:lnTo>
                    <a:lnTo>
                      <a:pt x="152" y="125"/>
                    </a:lnTo>
                    <a:lnTo>
                      <a:pt x="148" y="125"/>
                    </a:lnTo>
                    <a:lnTo>
                      <a:pt x="143" y="125"/>
                    </a:lnTo>
                    <a:lnTo>
                      <a:pt x="140" y="123"/>
                    </a:lnTo>
                    <a:lnTo>
                      <a:pt x="137" y="120"/>
                    </a:lnTo>
                    <a:lnTo>
                      <a:pt x="135" y="116"/>
                    </a:lnTo>
                    <a:lnTo>
                      <a:pt x="122" y="77"/>
                    </a:lnTo>
                    <a:lnTo>
                      <a:pt x="122" y="262"/>
                    </a:lnTo>
                    <a:lnTo>
                      <a:pt x="121" y="267"/>
                    </a:lnTo>
                    <a:lnTo>
                      <a:pt x="120" y="271"/>
                    </a:lnTo>
                    <a:lnTo>
                      <a:pt x="116" y="276"/>
                    </a:lnTo>
                    <a:lnTo>
                      <a:pt x="112" y="279"/>
                    </a:lnTo>
                    <a:lnTo>
                      <a:pt x="109" y="281"/>
                    </a:lnTo>
                    <a:lnTo>
                      <a:pt x="104" y="281"/>
                    </a:lnTo>
                    <a:lnTo>
                      <a:pt x="99" y="281"/>
                    </a:lnTo>
                    <a:lnTo>
                      <a:pt x="95" y="279"/>
                    </a:lnTo>
                    <a:lnTo>
                      <a:pt x="91" y="276"/>
                    </a:lnTo>
                    <a:lnTo>
                      <a:pt x="89" y="271"/>
                    </a:lnTo>
                    <a:lnTo>
                      <a:pt x="86" y="267"/>
                    </a:lnTo>
                    <a:lnTo>
                      <a:pt x="86" y="262"/>
                    </a:lnTo>
                    <a:lnTo>
                      <a:pt x="86" y="157"/>
                    </a:lnTo>
                    <a:lnTo>
                      <a:pt x="74" y="157"/>
                    </a:lnTo>
                    <a:lnTo>
                      <a:pt x="74" y="262"/>
                    </a:lnTo>
                    <a:lnTo>
                      <a:pt x="74" y="267"/>
                    </a:lnTo>
                    <a:lnTo>
                      <a:pt x="72" y="272"/>
                    </a:lnTo>
                    <a:lnTo>
                      <a:pt x="69" y="276"/>
                    </a:lnTo>
                    <a:lnTo>
                      <a:pt x="65" y="279"/>
                    </a:lnTo>
                    <a:lnTo>
                      <a:pt x="62" y="281"/>
                    </a:lnTo>
                    <a:lnTo>
                      <a:pt x="57" y="281"/>
                    </a:lnTo>
                    <a:lnTo>
                      <a:pt x="52" y="281"/>
                    </a:lnTo>
                    <a:lnTo>
                      <a:pt x="48" y="279"/>
                    </a:lnTo>
                    <a:lnTo>
                      <a:pt x="44" y="276"/>
                    </a:lnTo>
                    <a:lnTo>
                      <a:pt x="42" y="272"/>
                    </a:lnTo>
                    <a:lnTo>
                      <a:pt x="39" y="267"/>
                    </a:lnTo>
                    <a:lnTo>
                      <a:pt x="39" y="262"/>
                    </a:lnTo>
                    <a:lnTo>
                      <a:pt x="39" y="75"/>
                    </a:lnTo>
                    <a:lnTo>
                      <a:pt x="26" y="115"/>
                    </a:lnTo>
                    <a:lnTo>
                      <a:pt x="24" y="119"/>
                    </a:lnTo>
                    <a:lnTo>
                      <a:pt x="21" y="121"/>
                    </a:lnTo>
                    <a:lnTo>
                      <a:pt x="17" y="124"/>
                    </a:lnTo>
                    <a:lnTo>
                      <a:pt x="13" y="124"/>
                    </a:lnTo>
                    <a:lnTo>
                      <a:pt x="8" y="124"/>
                    </a:lnTo>
                    <a:lnTo>
                      <a:pt x="5" y="121"/>
                    </a:lnTo>
                    <a:lnTo>
                      <a:pt x="2" y="119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06"/>
                    </a:lnTo>
                    <a:lnTo>
                      <a:pt x="29" y="16"/>
                    </a:lnTo>
                    <a:lnTo>
                      <a:pt x="33" y="12"/>
                    </a:lnTo>
                    <a:lnTo>
                      <a:pt x="38" y="9"/>
                    </a:lnTo>
                    <a:lnTo>
                      <a:pt x="44" y="5"/>
                    </a:lnTo>
                    <a:lnTo>
                      <a:pt x="49" y="2"/>
                    </a:lnTo>
                    <a:lnTo>
                      <a:pt x="52" y="1"/>
                    </a:lnTo>
                    <a:lnTo>
                      <a:pt x="72" y="41"/>
                    </a:lnTo>
                    <a:lnTo>
                      <a:pt x="77" y="25"/>
                    </a:lnTo>
                    <a:lnTo>
                      <a:pt x="74" y="23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4" y="16"/>
                    </a:lnTo>
                    <a:lnTo>
                      <a:pt x="77" y="14"/>
                    </a:lnTo>
                    <a:lnTo>
                      <a:pt x="80" y="12"/>
                    </a:lnTo>
                    <a:lnTo>
                      <a:pt x="83" y="14"/>
                    </a:lnTo>
                    <a:lnTo>
                      <a:pt x="85" y="16"/>
                    </a:lnTo>
                    <a:lnTo>
                      <a:pt x="86" y="19"/>
                    </a:lnTo>
                    <a:lnTo>
                      <a:pt x="86" y="21"/>
                    </a:lnTo>
                    <a:lnTo>
                      <a:pt x="84" y="23"/>
                    </a:lnTo>
                    <a:lnTo>
                      <a:pt x="83" y="25"/>
                    </a:lnTo>
                    <a:lnTo>
                      <a:pt x="89" y="42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80000"/>
                  <a:buFont typeface="Arial" charset="0"/>
                  <a:buNone/>
                  <a:tabLst/>
                  <a:defRPr/>
                </a:pPr>
                <a:endParaRPr kumimoji="0" lang="tr-TR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97207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470267"/>
              </p:ext>
            </p:extLst>
          </p:nvPr>
        </p:nvGraphicFramePr>
        <p:xfrm>
          <a:off x="4735" y="33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35" y="33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92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tr-TR" sz="2400" dirty="0">
                <a:latin typeface="EYInterstate Light" panose="02000506000000020004" pitchFamily="2" charset="0"/>
              </a:rPr>
              <a:t>RSO ile süreçleri </a:t>
            </a:r>
            <a:r>
              <a:rPr lang="tr-TR" sz="2400" dirty="0" err="1">
                <a:latin typeface="EYInterstate Light" panose="02000506000000020004" pitchFamily="2" charset="0"/>
              </a:rPr>
              <a:t>otomatize</a:t>
            </a:r>
            <a:r>
              <a:rPr lang="tr-TR" sz="2400" dirty="0">
                <a:latin typeface="EYInterstate Light" panose="02000506000000020004" pitchFamily="2" charset="0"/>
              </a:rPr>
              <a:t> etmek, sistem verimsizliklerini ortadan kaldırmak ve süreçlerin kalite ve hızını iyileştirmek mümkündür</a:t>
            </a:r>
            <a:endParaRPr lang="tr-TR" sz="2400" b="0" dirty="0">
              <a:latin typeface="EYInterstate" panose="02000503020000020004" pitchFamily="2" charset="0"/>
            </a:endParaRPr>
          </a:p>
        </p:txBody>
      </p:sp>
      <p:grpSp>
        <p:nvGrpSpPr>
          <p:cNvPr id="327" name="Group 326"/>
          <p:cNvGrpSpPr/>
          <p:nvPr/>
        </p:nvGrpSpPr>
        <p:grpSpPr>
          <a:xfrm>
            <a:off x="680589" y="1265827"/>
            <a:ext cx="12090215" cy="5386502"/>
            <a:chOff x="617578" y="1108926"/>
            <a:chExt cx="10970856" cy="4887799"/>
          </a:xfrm>
        </p:grpSpPr>
        <p:sp>
          <p:nvSpPr>
            <p:cNvPr id="328" name="Rectangle 53"/>
            <p:cNvSpPr/>
            <p:nvPr/>
          </p:nvSpPr>
          <p:spPr>
            <a:xfrm>
              <a:off x="9587926" y="2781636"/>
              <a:ext cx="2000508" cy="1565786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50385" rIns="79346" bIns="79346" rtlCol="0" anchor="t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21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Her Sektöre Uygun</a:t>
              </a: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RSO her sektörde benzer uygulamalar için kullanılabilir</a:t>
              </a:r>
            </a:p>
          </p:txBody>
        </p:sp>
        <p:sp>
          <p:nvSpPr>
            <p:cNvPr id="329" name="Rectangle 57"/>
            <p:cNvSpPr/>
            <p:nvPr/>
          </p:nvSpPr>
          <p:spPr>
            <a:xfrm>
              <a:off x="9587926" y="4430939"/>
              <a:ext cx="2000508" cy="1565786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0" rIns="79346" bIns="79346" rtlCol="0" anchor="b" anchorCtr="0"/>
            <a:lstStyle/>
            <a:p>
              <a:pPr algn="r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Süre</a:t>
              </a:r>
              <a:br>
                <a: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</a:b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RSO projelerinde faydalar haftalar ve aylar içerisinde görünür hale gelir</a:t>
              </a:r>
            </a:p>
          </p:txBody>
        </p:sp>
        <p:grpSp>
          <p:nvGrpSpPr>
            <p:cNvPr id="330" name="Group 329"/>
            <p:cNvGrpSpPr/>
            <p:nvPr/>
          </p:nvGrpSpPr>
          <p:grpSpPr>
            <a:xfrm>
              <a:off x="9585164" y="1108926"/>
              <a:ext cx="2000509" cy="1565785"/>
              <a:chOff x="5904568" y="2315961"/>
              <a:chExt cx="1211050" cy="1088667"/>
            </a:xfrm>
          </p:grpSpPr>
          <p:sp>
            <p:nvSpPr>
              <p:cNvPr id="374" name="Rectangle 55"/>
              <p:cNvSpPr/>
              <p:nvPr/>
            </p:nvSpPr>
            <p:spPr>
              <a:xfrm>
                <a:off x="5904568" y="2315961"/>
                <a:ext cx="1211049" cy="1088667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9346" tIns="50385" rIns="79346" bIns="79346" rtlCol="0" anchor="t" anchorCtr="0"/>
              <a:lstStyle/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defRPr/>
                </a:pPr>
                <a:r>
                  <a:rPr lang="tr-TR" sz="1322" b="1" kern="0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Tasarruf fırsatı</a:t>
                </a:r>
                <a:endParaRPr lang="tr-TR" sz="1157" b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</p:txBody>
          </p:sp>
          <p:sp>
            <p:nvSpPr>
              <p:cNvPr id="375" name="Textfeld 1"/>
              <p:cNvSpPr txBox="1"/>
              <p:nvPr/>
            </p:nvSpPr>
            <p:spPr>
              <a:xfrm>
                <a:off x="5919644" y="2689892"/>
                <a:ext cx="1195974" cy="4707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2204" b="1" dirty="0">
                    <a:solidFill>
                      <a:srgbClr val="FFE600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30%–50%</a:t>
                </a:r>
              </a:p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buSzPct val="70000"/>
                </a:pPr>
                <a:r>
                  <a:rPr lang="tr-TR" sz="1322" b="1" dirty="0">
                    <a:solidFill>
                      <a:srgbClr val="FFE600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oranlarında maliyet </a:t>
                </a:r>
                <a:br>
                  <a:rPr lang="tr-TR" sz="1322" b="1" dirty="0">
                    <a:solidFill>
                      <a:srgbClr val="FFE600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</a:br>
                <a:r>
                  <a:rPr lang="tr-TR" sz="1322" b="1" dirty="0">
                    <a:solidFill>
                      <a:srgbClr val="FFE600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azalışı</a:t>
                </a:r>
              </a:p>
            </p:txBody>
          </p:sp>
        </p:grpSp>
        <p:sp>
          <p:nvSpPr>
            <p:cNvPr id="331" name="Freeform 62"/>
            <p:cNvSpPr>
              <a:spLocks noChangeAspect="1" noEditPoints="1"/>
            </p:cNvSpPr>
            <p:nvPr/>
          </p:nvSpPr>
          <p:spPr bwMode="auto">
            <a:xfrm>
              <a:off x="10839334" y="3582506"/>
              <a:ext cx="640523" cy="645110"/>
            </a:xfrm>
            <a:custGeom>
              <a:avLst/>
              <a:gdLst>
                <a:gd name="T0" fmla="*/ 2147483647 w 4982"/>
                <a:gd name="T1" fmla="*/ 2147483647 h 4763"/>
                <a:gd name="T2" fmla="*/ 2147483647 w 4982"/>
                <a:gd name="T3" fmla="*/ 2147483647 h 4763"/>
                <a:gd name="T4" fmla="*/ 2147483647 w 4982"/>
                <a:gd name="T5" fmla="*/ 2147483647 h 4763"/>
                <a:gd name="T6" fmla="*/ 2147483647 w 4982"/>
                <a:gd name="T7" fmla="*/ 2147483647 h 4763"/>
                <a:gd name="T8" fmla="*/ 2147483647 w 4982"/>
                <a:gd name="T9" fmla="*/ 2147483647 h 4763"/>
                <a:gd name="T10" fmla="*/ 2147483647 w 4982"/>
                <a:gd name="T11" fmla="*/ 2147483647 h 4763"/>
                <a:gd name="T12" fmla="*/ 2147483647 w 4982"/>
                <a:gd name="T13" fmla="*/ 2147483647 h 4763"/>
                <a:gd name="T14" fmla="*/ 2147483647 w 4982"/>
                <a:gd name="T15" fmla="*/ 2147483647 h 4763"/>
                <a:gd name="T16" fmla="*/ 2147483647 w 4982"/>
                <a:gd name="T17" fmla="*/ 2147483647 h 4763"/>
                <a:gd name="T18" fmla="*/ 2147483647 w 4982"/>
                <a:gd name="T19" fmla="*/ 2147483647 h 4763"/>
                <a:gd name="T20" fmla="*/ 2147483647 w 4982"/>
                <a:gd name="T21" fmla="*/ 2147483647 h 4763"/>
                <a:gd name="T22" fmla="*/ 2147483647 w 4982"/>
                <a:gd name="T23" fmla="*/ 2147483647 h 4763"/>
                <a:gd name="T24" fmla="*/ 2147483647 w 4982"/>
                <a:gd name="T25" fmla="*/ 2147483647 h 4763"/>
                <a:gd name="T26" fmla="*/ 2147483647 w 4982"/>
                <a:gd name="T27" fmla="*/ 2147483647 h 4763"/>
                <a:gd name="T28" fmla="*/ 2147483647 w 4982"/>
                <a:gd name="T29" fmla="*/ 2147483647 h 4763"/>
                <a:gd name="T30" fmla="*/ 2147483647 w 4982"/>
                <a:gd name="T31" fmla="*/ 2147483647 h 4763"/>
                <a:gd name="T32" fmla="*/ 2147483647 w 4982"/>
                <a:gd name="T33" fmla="*/ 2147483647 h 4763"/>
                <a:gd name="T34" fmla="*/ 0 w 4982"/>
                <a:gd name="T35" fmla="*/ 2147483647 h 4763"/>
                <a:gd name="T36" fmla="*/ 2147483647 w 4982"/>
                <a:gd name="T37" fmla="*/ 2147483647 h 4763"/>
                <a:gd name="T38" fmla="*/ 2147483647 w 4982"/>
                <a:gd name="T39" fmla="*/ 2147483647 h 4763"/>
                <a:gd name="T40" fmla="*/ 2147483647 w 4982"/>
                <a:gd name="T41" fmla="*/ 2147483647 h 4763"/>
                <a:gd name="T42" fmla="*/ 2147483647 w 4982"/>
                <a:gd name="T43" fmla="*/ 0 h 4763"/>
                <a:gd name="T44" fmla="*/ 2147483647 w 4982"/>
                <a:gd name="T45" fmla="*/ 2147483647 h 4763"/>
                <a:gd name="T46" fmla="*/ 2147483647 w 4982"/>
                <a:gd name="T47" fmla="*/ 2147483647 h 4763"/>
                <a:gd name="T48" fmla="*/ 2147483647 w 4982"/>
                <a:gd name="T49" fmla="*/ 2147483647 h 4763"/>
                <a:gd name="T50" fmla="*/ 2147483647 w 4982"/>
                <a:gd name="T51" fmla="*/ 2147483647 h 4763"/>
                <a:gd name="T52" fmla="*/ 2147483647 w 4982"/>
                <a:gd name="T53" fmla="*/ 2147483647 h 4763"/>
                <a:gd name="T54" fmla="*/ 2147483647 w 4982"/>
                <a:gd name="T55" fmla="*/ 2147483647 h 4763"/>
                <a:gd name="T56" fmla="*/ 2147483647 w 4982"/>
                <a:gd name="T57" fmla="*/ 2147483647 h 4763"/>
                <a:gd name="T58" fmla="*/ 2147483647 w 4982"/>
                <a:gd name="T59" fmla="*/ 2147483647 h 4763"/>
                <a:gd name="T60" fmla="*/ 2147483647 w 4982"/>
                <a:gd name="T61" fmla="*/ 2147483647 h 4763"/>
                <a:gd name="T62" fmla="*/ 2147483647 w 4982"/>
                <a:gd name="T63" fmla="*/ 2147483647 h 476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982"/>
                <a:gd name="T97" fmla="*/ 0 h 4763"/>
                <a:gd name="T98" fmla="*/ 4982 w 4982"/>
                <a:gd name="T99" fmla="*/ 4763 h 476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982" h="4763">
                  <a:moveTo>
                    <a:pt x="2075" y="1092"/>
                  </a:moveTo>
                  <a:lnTo>
                    <a:pt x="2075" y="616"/>
                  </a:lnTo>
                  <a:lnTo>
                    <a:pt x="2701" y="616"/>
                  </a:lnTo>
                  <a:lnTo>
                    <a:pt x="2701" y="1097"/>
                  </a:lnTo>
                  <a:lnTo>
                    <a:pt x="2695" y="1097"/>
                  </a:lnTo>
                  <a:lnTo>
                    <a:pt x="2695" y="1092"/>
                  </a:lnTo>
                  <a:lnTo>
                    <a:pt x="2603" y="1092"/>
                  </a:lnTo>
                  <a:lnTo>
                    <a:pt x="2603" y="713"/>
                  </a:lnTo>
                  <a:lnTo>
                    <a:pt x="2173" y="713"/>
                  </a:lnTo>
                  <a:lnTo>
                    <a:pt x="2173" y="1092"/>
                  </a:lnTo>
                  <a:lnTo>
                    <a:pt x="2075" y="1092"/>
                  </a:lnTo>
                  <a:close/>
                  <a:moveTo>
                    <a:pt x="2075" y="1452"/>
                  </a:moveTo>
                  <a:lnTo>
                    <a:pt x="490" y="1452"/>
                  </a:lnTo>
                  <a:lnTo>
                    <a:pt x="269" y="1684"/>
                  </a:lnTo>
                  <a:lnTo>
                    <a:pt x="490" y="1915"/>
                  </a:lnTo>
                  <a:lnTo>
                    <a:pt x="2075" y="1915"/>
                  </a:lnTo>
                  <a:lnTo>
                    <a:pt x="2075" y="1452"/>
                  </a:lnTo>
                  <a:close/>
                  <a:moveTo>
                    <a:pt x="2701" y="1873"/>
                  </a:moveTo>
                  <a:lnTo>
                    <a:pt x="4361" y="979"/>
                  </a:lnTo>
                  <a:lnTo>
                    <a:pt x="4700" y="318"/>
                  </a:lnTo>
                  <a:lnTo>
                    <a:pt x="4333" y="215"/>
                  </a:lnTo>
                  <a:lnTo>
                    <a:pt x="2701" y="1409"/>
                  </a:lnTo>
                  <a:lnTo>
                    <a:pt x="2701" y="1873"/>
                  </a:lnTo>
                  <a:close/>
                  <a:moveTo>
                    <a:pt x="2075" y="2393"/>
                  </a:moveTo>
                  <a:lnTo>
                    <a:pt x="1200" y="2864"/>
                  </a:lnTo>
                  <a:lnTo>
                    <a:pt x="921" y="2688"/>
                  </a:lnTo>
                  <a:lnTo>
                    <a:pt x="1129" y="2352"/>
                  </a:lnTo>
                  <a:lnTo>
                    <a:pt x="1330" y="2208"/>
                  </a:lnTo>
                  <a:lnTo>
                    <a:pt x="1497" y="2208"/>
                  </a:lnTo>
                  <a:lnTo>
                    <a:pt x="1202" y="2419"/>
                  </a:lnTo>
                  <a:lnTo>
                    <a:pt x="1055" y="2658"/>
                  </a:lnTo>
                  <a:lnTo>
                    <a:pt x="1203" y="2750"/>
                  </a:lnTo>
                  <a:lnTo>
                    <a:pt x="2075" y="2282"/>
                  </a:lnTo>
                  <a:lnTo>
                    <a:pt x="2075" y="2110"/>
                  </a:lnTo>
                  <a:lnTo>
                    <a:pt x="406" y="2110"/>
                  </a:lnTo>
                  <a:lnTo>
                    <a:pt x="0" y="1684"/>
                  </a:lnTo>
                  <a:lnTo>
                    <a:pt x="406" y="1257"/>
                  </a:lnTo>
                  <a:lnTo>
                    <a:pt x="2075" y="1257"/>
                  </a:lnTo>
                  <a:lnTo>
                    <a:pt x="2075" y="1224"/>
                  </a:lnTo>
                  <a:lnTo>
                    <a:pt x="2075" y="1190"/>
                  </a:lnTo>
                  <a:lnTo>
                    <a:pt x="2075" y="1181"/>
                  </a:lnTo>
                  <a:lnTo>
                    <a:pt x="2701" y="1181"/>
                  </a:lnTo>
                  <a:lnTo>
                    <a:pt x="2701" y="1183"/>
                  </a:lnTo>
                  <a:lnTo>
                    <a:pt x="4294" y="0"/>
                  </a:lnTo>
                  <a:lnTo>
                    <a:pt x="4982" y="195"/>
                  </a:lnTo>
                  <a:lnTo>
                    <a:pt x="4506" y="1122"/>
                  </a:lnTo>
                  <a:lnTo>
                    <a:pt x="2701" y="2087"/>
                  </a:lnTo>
                  <a:lnTo>
                    <a:pt x="2701" y="4763"/>
                  </a:lnTo>
                  <a:lnTo>
                    <a:pt x="2603" y="4763"/>
                  </a:lnTo>
                  <a:lnTo>
                    <a:pt x="2603" y="1658"/>
                  </a:lnTo>
                  <a:lnTo>
                    <a:pt x="2173" y="2059"/>
                  </a:lnTo>
                  <a:lnTo>
                    <a:pt x="2173" y="4763"/>
                  </a:lnTo>
                  <a:lnTo>
                    <a:pt x="2075" y="4763"/>
                  </a:lnTo>
                  <a:lnTo>
                    <a:pt x="2075" y="2393"/>
                  </a:lnTo>
                  <a:close/>
                  <a:moveTo>
                    <a:pt x="4424" y="1267"/>
                  </a:moveTo>
                  <a:lnTo>
                    <a:pt x="4526" y="1267"/>
                  </a:lnTo>
                  <a:lnTo>
                    <a:pt x="4886" y="1645"/>
                  </a:lnTo>
                  <a:lnTo>
                    <a:pt x="4526" y="2022"/>
                  </a:lnTo>
                  <a:lnTo>
                    <a:pt x="3021" y="2022"/>
                  </a:lnTo>
                  <a:lnTo>
                    <a:pt x="3202" y="1925"/>
                  </a:lnTo>
                  <a:lnTo>
                    <a:pt x="4485" y="1925"/>
                  </a:lnTo>
                  <a:lnTo>
                    <a:pt x="4752" y="1645"/>
                  </a:lnTo>
                  <a:lnTo>
                    <a:pt x="4485" y="1364"/>
                  </a:lnTo>
                  <a:lnTo>
                    <a:pt x="4243" y="1364"/>
                  </a:lnTo>
                  <a:lnTo>
                    <a:pt x="4424" y="1267"/>
                  </a:lnTo>
                  <a:close/>
                </a:path>
              </a:pathLst>
            </a:custGeom>
            <a:solidFill>
              <a:srgbClr val="333333"/>
            </a:solidFill>
            <a:ln w="9525">
              <a:noFill/>
              <a:round/>
              <a:headEnd/>
              <a:tailEnd/>
            </a:ln>
          </p:spPr>
          <p:txBody>
            <a:bodyPr lIns="88324" tIns="44163" rIns="88324" bIns="44163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332" name="Freeform 79"/>
            <p:cNvSpPr>
              <a:spLocks noChangeAspect="1" noEditPoints="1"/>
            </p:cNvSpPr>
            <p:nvPr/>
          </p:nvSpPr>
          <p:spPr bwMode="auto">
            <a:xfrm>
              <a:off x="9736266" y="4481124"/>
              <a:ext cx="535057" cy="584467"/>
            </a:xfrm>
            <a:custGeom>
              <a:avLst/>
              <a:gdLst>
                <a:gd name="T0" fmla="*/ 2147483647 w 4024"/>
                <a:gd name="T1" fmla="*/ 2147483647 h 4763"/>
                <a:gd name="T2" fmla="*/ 2147483647 w 4024"/>
                <a:gd name="T3" fmla="*/ 2147483647 h 4763"/>
                <a:gd name="T4" fmla="*/ 2147483647 w 4024"/>
                <a:gd name="T5" fmla="*/ 2147483647 h 4763"/>
                <a:gd name="T6" fmla="*/ 2147483647 w 4024"/>
                <a:gd name="T7" fmla="*/ 2147483647 h 4763"/>
                <a:gd name="T8" fmla="*/ 2147483647 w 4024"/>
                <a:gd name="T9" fmla="*/ 2147483647 h 4763"/>
                <a:gd name="T10" fmla="*/ 2147483647 w 4024"/>
                <a:gd name="T11" fmla="*/ 2147483647 h 4763"/>
                <a:gd name="T12" fmla="*/ 2147483647 w 4024"/>
                <a:gd name="T13" fmla="*/ 2147483647 h 4763"/>
                <a:gd name="T14" fmla="*/ 2147483647 w 4024"/>
                <a:gd name="T15" fmla="*/ 2147483647 h 4763"/>
                <a:gd name="T16" fmla="*/ 2147483647 w 4024"/>
                <a:gd name="T17" fmla="*/ 2147483647 h 4763"/>
                <a:gd name="T18" fmla="*/ 2147483647 w 4024"/>
                <a:gd name="T19" fmla="*/ 2147483647 h 4763"/>
                <a:gd name="T20" fmla="*/ 2147483647 w 4024"/>
                <a:gd name="T21" fmla="*/ 2147483647 h 4763"/>
                <a:gd name="T22" fmla="*/ 2147483647 w 4024"/>
                <a:gd name="T23" fmla="*/ 2147483647 h 4763"/>
                <a:gd name="T24" fmla="*/ 2147483647 w 4024"/>
                <a:gd name="T25" fmla="*/ 2147483647 h 4763"/>
                <a:gd name="T26" fmla="*/ 2147483647 w 4024"/>
                <a:gd name="T27" fmla="*/ 2147483647 h 4763"/>
                <a:gd name="T28" fmla="*/ 2147483647 w 4024"/>
                <a:gd name="T29" fmla="*/ 2147483647 h 4763"/>
                <a:gd name="T30" fmla="*/ 2147483647 w 4024"/>
                <a:gd name="T31" fmla="*/ 2147483647 h 4763"/>
                <a:gd name="T32" fmla="*/ 2147483647 w 4024"/>
                <a:gd name="T33" fmla="*/ 2147483647 h 4763"/>
                <a:gd name="T34" fmla="*/ 2147483647 w 4024"/>
                <a:gd name="T35" fmla="*/ 2147483647 h 4763"/>
                <a:gd name="T36" fmla="*/ 2147483647 w 4024"/>
                <a:gd name="T37" fmla="*/ 2147483647 h 4763"/>
                <a:gd name="T38" fmla="*/ 2147483647 w 4024"/>
                <a:gd name="T39" fmla="*/ 2147483647 h 4763"/>
                <a:gd name="T40" fmla="*/ 2147483647 w 4024"/>
                <a:gd name="T41" fmla="*/ 2147483647 h 4763"/>
                <a:gd name="T42" fmla="*/ 2147483647 w 4024"/>
                <a:gd name="T43" fmla="*/ 2147483647 h 4763"/>
                <a:gd name="T44" fmla="*/ 2147483647 w 4024"/>
                <a:gd name="T45" fmla="*/ 2147483647 h 4763"/>
                <a:gd name="T46" fmla="*/ 2147483647 w 4024"/>
                <a:gd name="T47" fmla="*/ 2147483647 h 4763"/>
                <a:gd name="T48" fmla="*/ 2147483647 w 4024"/>
                <a:gd name="T49" fmla="*/ 2147483647 h 4763"/>
                <a:gd name="T50" fmla="*/ 2147483647 w 4024"/>
                <a:gd name="T51" fmla="*/ 2147483647 h 4763"/>
                <a:gd name="T52" fmla="*/ 2147483647 w 4024"/>
                <a:gd name="T53" fmla="*/ 2147483647 h 4763"/>
                <a:gd name="T54" fmla="*/ 2147483647 w 4024"/>
                <a:gd name="T55" fmla="*/ 2147483647 h 4763"/>
                <a:gd name="T56" fmla="*/ 2147483647 w 4024"/>
                <a:gd name="T57" fmla="*/ 2147483647 h 4763"/>
                <a:gd name="T58" fmla="*/ 2147483647 w 4024"/>
                <a:gd name="T59" fmla="*/ 2147483647 h 4763"/>
                <a:gd name="T60" fmla="*/ 2147483647 w 4024"/>
                <a:gd name="T61" fmla="*/ 2147483647 h 4763"/>
                <a:gd name="T62" fmla="*/ 2147483647 w 4024"/>
                <a:gd name="T63" fmla="*/ 2147483647 h 4763"/>
                <a:gd name="T64" fmla="*/ 2147483647 w 4024"/>
                <a:gd name="T65" fmla="*/ 2147483647 h 4763"/>
                <a:gd name="T66" fmla="*/ 2147483647 w 4024"/>
                <a:gd name="T67" fmla="*/ 2147483647 h 4763"/>
                <a:gd name="T68" fmla="*/ 2147483647 w 4024"/>
                <a:gd name="T69" fmla="*/ 2147483647 h 4763"/>
                <a:gd name="T70" fmla="*/ 2147483647 w 4024"/>
                <a:gd name="T71" fmla="*/ 2147483647 h 4763"/>
                <a:gd name="T72" fmla="*/ 2147483647 w 4024"/>
                <a:gd name="T73" fmla="*/ 2147483647 h 4763"/>
                <a:gd name="T74" fmla="*/ 2147483647 w 4024"/>
                <a:gd name="T75" fmla="*/ 2147483647 h 4763"/>
                <a:gd name="T76" fmla="*/ 2147483647 w 4024"/>
                <a:gd name="T77" fmla="*/ 2147483647 h 4763"/>
                <a:gd name="T78" fmla="*/ 2147483647 w 4024"/>
                <a:gd name="T79" fmla="*/ 2147483647 h 4763"/>
                <a:gd name="T80" fmla="*/ 2147483647 w 4024"/>
                <a:gd name="T81" fmla="*/ 2147483647 h 4763"/>
                <a:gd name="T82" fmla="*/ 2147483647 w 4024"/>
                <a:gd name="T83" fmla="*/ 2147483647 h 4763"/>
                <a:gd name="T84" fmla="*/ 2147483647 w 4024"/>
                <a:gd name="T85" fmla="*/ 2147483647 h 4763"/>
                <a:gd name="T86" fmla="*/ 2147483647 w 4024"/>
                <a:gd name="T87" fmla="*/ 2147483647 h 4763"/>
                <a:gd name="T88" fmla="*/ 2147483647 w 4024"/>
                <a:gd name="T89" fmla="*/ 2147483647 h 4763"/>
                <a:gd name="T90" fmla="*/ 2147483647 w 4024"/>
                <a:gd name="T91" fmla="*/ 2147483647 h 4763"/>
                <a:gd name="T92" fmla="*/ 2147483647 w 4024"/>
                <a:gd name="T93" fmla="*/ 2147483647 h 4763"/>
                <a:gd name="T94" fmla="*/ 2147483647 w 4024"/>
                <a:gd name="T95" fmla="*/ 2147483647 h 4763"/>
                <a:gd name="T96" fmla="*/ 2147483647 w 4024"/>
                <a:gd name="T97" fmla="*/ 2147483647 h 4763"/>
                <a:gd name="T98" fmla="*/ 2147483647 w 4024"/>
                <a:gd name="T99" fmla="*/ 2147483647 h 4763"/>
                <a:gd name="T100" fmla="*/ 2147483647 w 4024"/>
                <a:gd name="T101" fmla="*/ 2147483647 h 4763"/>
                <a:gd name="T102" fmla="*/ 2147483647 w 4024"/>
                <a:gd name="T103" fmla="*/ 2147483647 h 4763"/>
                <a:gd name="T104" fmla="*/ 2147483647 w 4024"/>
                <a:gd name="T105" fmla="*/ 2147483647 h 4763"/>
                <a:gd name="T106" fmla="*/ 2147483647 w 4024"/>
                <a:gd name="T107" fmla="*/ 2147483647 h 4763"/>
                <a:gd name="T108" fmla="*/ 2147483647 w 4024"/>
                <a:gd name="T109" fmla="*/ 2147483647 h 4763"/>
                <a:gd name="T110" fmla="*/ 2147483647 w 4024"/>
                <a:gd name="T111" fmla="*/ 2147483647 h 4763"/>
                <a:gd name="T112" fmla="*/ 2147483647 w 4024"/>
                <a:gd name="T113" fmla="*/ 2147483647 h 4763"/>
                <a:gd name="T114" fmla="*/ 2147483647 w 4024"/>
                <a:gd name="T115" fmla="*/ 2147483647 h 4763"/>
                <a:gd name="T116" fmla="*/ 2147483647 w 4024"/>
                <a:gd name="T117" fmla="*/ 2147483647 h 4763"/>
                <a:gd name="T118" fmla="*/ 2147483647 w 4024"/>
                <a:gd name="T119" fmla="*/ 2147483647 h 4763"/>
                <a:gd name="T120" fmla="*/ 2147483647 w 4024"/>
                <a:gd name="T121" fmla="*/ 2147483647 h 476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24"/>
                <a:gd name="T184" fmla="*/ 0 h 4763"/>
                <a:gd name="T185" fmla="*/ 4024 w 4024"/>
                <a:gd name="T186" fmla="*/ 4763 h 476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24" h="4763">
                  <a:moveTo>
                    <a:pt x="1616" y="1637"/>
                  </a:moveTo>
                  <a:lnTo>
                    <a:pt x="1616" y="1881"/>
                  </a:lnTo>
                  <a:lnTo>
                    <a:pt x="1693" y="1871"/>
                  </a:lnTo>
                  <a:lnTo>
                    <a:pt x="1766" y="1860"/>
                  </a:lnTo>
                  <a:lnTo>
                    <a:pt x="1834" y="1847"/>
                  </a:lnTo>
                  <a:lnTo>
                    <a:pt x="1896" y="1832"/>
                  </a:lnTo>
                  <a:lnTo>
                    <a:pt x="1896" y="1590"/>
                  </a:lnTo>
                  <a:lnTo>
                    <a:pt x="1830" y="1606"/>
                  </a:lnTo>
                  <a:lnTo>
                    <a:pt x="1761" y="1618"/>
                  </a:lnTo>
                  <a:lnTo>
                    <a:pt x="1690" y="1629"/>
                  </a:lnTo>
                  <a:lnTo>
                    <a:pt x="1616" y="1637"/>
                  </a:lnTo>
                  <a:close/>
                  <a:moveTo>
                    <a:pt x="1519" y="1888"/>
                  </a:moveTo>
                  <a:lnTo>
                    <a:pt x="1519" y="1645"/>
                  </a:lnTo>
                  <a:lnTo>
                    <a:pt x="1446" y="1647"/>
                  </a:lnTo>
                  <a:lnTo>
                    <a:pt x="1373" y="1648"/>
                  </a:lnTo>
                  <a:lnTo>
                    <a:pt x="1306" y="1648"/>
                  </a:lnTo>
                  <a:lnTo>
                    <a:pt x="1240" y="1645"/>
                  </a:lnTo>
                  <a:lnTo>
                    <a:pt x="1240" y="1889"/>
                  </a:lnTo>
                  <a:lnTo>
                    <a:pt x="1305" y="1892"/>
                  </a:lnTo>
                  <a:lnTo>
                    <a:pt x="1373" y="1893"/>
                  </a:lnTo>
                  <a:lnTo>
                    <a:pt x="1448" y="1892"/>
                  </a:lnTo>
                  <a:lnTo>
                    <a:pt x="1519" y="1888"/>
                  </a:lnTo>
                  <a:close/>
                  <a:moveTo>
                    <a:pt x="1142" y="1882"/>
                  </a:moveTo>
                  <a:lnTo>
                    <a:pt x="1142" y="1639"/>
                  </a:lnTo>
                  <a:lnTo>
                    <a:pt x="1069" y="1630"/>
                  </a:lnTo>
                  <a:lnTo>
                    <a:pt x="998" y="1620"/>
                  </a:lnTo>
                  <a:lnTo>
                    <a:pt x="928" y="1608"/>
                  </a:lnTo>
                  <a:lnTo>
                    <a:pt x="862" y="1593"/>
                  </a:lnTo>
                  <a:lnTo>
                    <a:pt x="862" y="1834"/>
                  </a:lnTo>
                  <a:lnTo>
                    <a:pt x="924" y="1849"/>
                  </a:lnTo>
                  <a:lnTo>
                    <a:pt x="993" y="1862"/>
                  </a:lnTo>
                  <a:lnTo>
                    <a:pt x="1065" y="1873"/>
                  </a:lnTo>
                  <a:lnTo>
                    <a:pt x="1142" y="1882"/>
                  </a:lnTo>
                  <a:close/>
                  <a:moveTo>
                    <a:pt x="764" y="1805"/>
                  </a:moveTo>
                  <a:lnTo>
                    <a:pt x="764" y="1566"/>
                  </a:lnTo>
                  <a:lnTo>
                    <a:pt x="729" y="1555"/>
                  </a:lnTo>
                  <a:lnTo>
                    <a:pt x="695" y="1542"/>
                  </a:lnTo>
                  <a:lnTo>
                    <a:pt x="663" y="1530"/>
                  </a:lnTo>
                  <a:lnTo>
                    <a:pt x="632" y="1515"/>
                  </a:lnTo>
                  <a:lnTo>
                    <a:pt x="604" y="1502"/>
                  </a:lnTo>
                  <a:lnTo>
                    <a:pt x="577" y="1486"/>
                  </a:lnTo>
                  <a:lnTo>
                    <a:pt x="551" y="1470"/>
                  </a:lnTo>
                  <a:lnTo>
                    <a:pt x="529" y="1454"/>
                  </a:lnTo>
                  <a:lnTo>
                    <a:pt x="529" y="1626"/>
                  </a:lnTo>
                  <a:lnTo>
                    <a:pt x="531" y="1637"/>
                  </a:lnTo>
                  <a:lnTo>
                    <a:pt x="533" y="1648"/>
                  </a:lnTo>
                  <a:lnTo>
                    <a:pt x="538" y="1661"/>
                  </a:lnTo>
                  <a:lnTo>
                    <a:pt x="544" y="1672"/>
                  </a:lnTo>
                  <a:lnTo>
                    <a:pt x="554" y="1684"/>
                  </a:lnTo>
                  <a:lnTo>
                    <a:pt x="564" y="1695"/>
                  </a:lnTo>
                  <a:lnTo>
                    <a:pt x="576" y="1707"/>
                  </a:lnTo>
                  <a:lnTo>
                    <a:pt x="591" y="1718"/>
                  </a:lnTo>
                  <a:lnTo>
                    <a:pt x="606" y="1730"/>
                  </a:lnTo>
                  <a:lnTo>
                    <a:pt x="624" y="1741"/>
                  </a:lnTo>
                  <a:lnTo>
                    <a:pt x="643" y="1752"/>
                  </a:lnTo>
                  <a:lnTo>
                    <a:pt x="664" y="1763"/>
                  </a:lnTo>
                  <a:lnTo>
                    <a:pt x="686" y="1774"/>
                  </a:lnTo>
                  <a:lnTo>
                    <a:pt x="710" y="1785"/>
                  </a:lnTo>
                  <a:lnTo>
                    <a:pt x="736" y="1795"/>
                  </a:lnTo>
                  <a:lnTo>
                    <a:pt x="764" y="1805"/>
                  </a:lnTo>
                  <a:close/>
                  <a:moveTo>
                    <a:pt x="1373" y="1019"/>
                  </a:moveTo>
                  <a:lnTo>
                    <a:pt x="1369" y="1019"/>
                  </a:lnTo>
                  <a:lnTo>
                    <a:pt x="1322" y="1020"/>
                  </a:lnTo>
                  <a:lnTo>
                    <a:pt x="1275" y="1021"/>
                  </a:lnTo>
                  <a:lnTo>
                    <a:pt x="1230" y="1022"/>
                  </a:lnTo>
                  <a:lnTo>
                    <a:pt x="1186" y="1026"/>
                  </a:lnTo>
                  <a:lnTo>
                    <a:pt x="1143" y="1030"/>
                  </a:lnTo>
                  <a:lnTo>
                    <a:pt x="1102" y="1033"/>
                  </a:lnTo>
                  <a:lnTo>
                    <a:pt x="1061" y="1038"/>
                  </a:lnTo>
                  <a:lnTo>
                    <a:pt x="1022" y="1044"/>
                  </a:lnTo>
                  <a:lnTo>
                    <a:pt x="984" y="1050"/>
                  </a:lnTo>
                  <a:lnTo>
                    <a:pt x="948" y="1058"/>
                  </a:lnTo>
                  <a:lnTo>
                    <a:pt x="912" y="1065"/>
                  </a:lnTo>
                  <a:lnTo>
                    <a:pt x="878" y="1072"/>
                  </a:lnTo>
                  <a:lnTo>
                    <a:pt x="846" y="1081"/>
                  </a:lnTo>
                  <a:lnTo>
                    <a:pt x="814" y="1090"/>
                  </a:lnTo>
                  <a:lnTo>
                    <a:pt x="785" y="1099"/>
                  </a:lnTo>
                  <a:lnTo>
                    <a:pt x="757" y="1109"/>
                  </a:lnTo>
                  <a:lnTo>
                    <a:pt x="730" y="1119"/>
                  </a:lnTo>
                  <a:lnTo>
                    <a:pt x="706" y="1129"/>
                  </a:lnTo>
                  <a:lnTo>
                    <a:pt x="682" y="1140"/>
                  </a:lnTo>
                  <a:lnTo>
                    <a:pt x="660" y="1149"/>
                  </a:lnTo>
                  <a:lnTo>
                    <a:pt x="639" y="1160"/>
                  </a:lnTo>
                  <a:lnTo>
                    <a:pt x="621" y="1171"/>
                  </a:lnTo>
                  <a:lnTo>
                    <a:pt x="604" y="1184"/>
                  </a:lnTo>
                  <a:lnTo>
                    <a:pt x="588" y="1195"/>
                  </a:lnTo>
                  <a:lnTo>
                    <a:pt x="575" y="1206"/>
                  </a:lnTo>
                  <a:lnTo>
                    <a:pt x="562" y="1218"/>
                  </a:lnTo>
                  <a:lnTo>
                    <a:pt x="553" y="1229"/>
                  </a:lnTo>
                  <a:lnTo>
                    <a:pt x="544" y="1240"/>
                  </a:lnTo>
                  <a:lnTo>
                    <a:pt x="538" y="1252"/>
                  </a:lnTo>
                  <a:lnTo>
                    <a:pt x="533" y="1263"/>
                  </a:lnTo>
                  <a:lnTo>
                    <a:pt x="531" y="1274"/>
                  </a:lnTo>
                  <a:lnTo>
                    <a:pt x="529" y="1285"/>
                  </a:lnTo>
                  <a:lnTo>
                    <a:pt x="531" y="1296"/>
                  </a:lnTo>
                  <a:lnTo>
                    <a:pt x="533" y="1307"/>
                  </a:lnTo>
                  <a:lnTo>
                    <a:pt x="538" y="1318"/>
                  </a:lnTo>
                  <a:lnTo>
                    <a:pt x="544" y="1329"/>
                  </a:lnTo>
                  <a:lnTo>
                    <a:pt x="553" y="1341"/>
                  </a:lnTo>
                  <a:lnTo>
                    <a:pt x="562" y="1352"/>
                  </a:lnTo>
                  <a:lnTo>
                    <a:pt x="575" y="1363"/>
                  </a:lnTo>
                  <a:lnTo>
                    <a:pt x="588" y="1376"/>
                  </a:lnTo>
                  <a:lnTo>
                    <a:pt x="604" y="1387"/>
                  </a:lnTo>
                  <a:lnTo>
                    <a:pt x="621" y="1398"/>
                  </a:lnTo>
                  <a:lnTo>
                    <a:pt x="639" y="1409"/>
                  </a:lnTo>
                  <a:lnTo>
                    <a:pt x="660" y="1420"/>
                  </a:lnTo>
                  <a:lnTo>
                    <a:pt x="682" y="1431"/>
                  </a:lnTo>
                  <a:lnTo>
                    <a:pt x="706" y="1442"/>
                  </a:lnTo>
                  <a:lnTo>
                    <a:pt x="731" y="1452"/>
                  </a:lnTo>
                  <a:lnTo>
                    <a:pt x="758" y="1461"/>
                  </a:lnTo>
                  <a:lnTo>
                    <a:pt x="786" y="1471"/>
                  </a:lnTo>
                  <a:lnTo>
                    <a:pt x="816" y="1480"/>
                  </a:lnTo>
                  <a:lnTo>
                    <a:pt x="847" y="1489"/>
                  </a:lnTo>
                  <a:lnTo>
                    <a:pt x="879" y="1497"/>
                  </a:lnTo>
                  <a:lnTo>
                    <a:pt x="913" y="1505"/>
                  </a:lnTo>
                  <a:lnTo>
                    <a:pt x="949" y="1513"/>
                  </a:lnTo>
                  <a:lnTo>
                    <a:pt x="986" y="1520"/>
                  </a:lnTo>
                  <a:lnTo>
                    <a:pt x="1023" y="1526"/>
                  </a:lnTo>
                  <a:lnTo>
                    <a:pt x="1064" y="1531"/>
                  </a:lnTo>
                  <a:lnTo>
                    <a:pt x="1104" y="1536"/>
                  </a:lnTo>
                  <a:lnTo>
                    <a:pt x="1146" y="1541"/>
                  </a:lnTo>
                  <a:lnTo>
                    <a:pt x="1188" y="1544"/>
                  </a:lnTo>
                  <a:lnTo>
                    <a:pt x="1234" y="1547"/>
                  </a:lnTo>
                  <a:lnTo>
                    <a:pt x="1279" y="1549"/>
                  </a:lnTo>
                  <a:lnTo>
                    <a:pt x="1325" y="1551"/>
                  </a:lnTo>
                  <a:lnTo>
                    <a:pt x="1373" y="1551"/>
                  </a:lnTo>
                  <a:lnTo>
                    <a:pt x="1421" y="1551"/>
                  </a:lnTo>
                  <a:lnTo>
                    <a:pt x="1467" y="1549"/>
                  </a:lnTo>
                  <a:lnTo>
                    <a:pt x="1513" y="1547"/>
                  </a:lnTo>
                  <a:lnTo>
                    <a:pt x="1557" y="1544"/>
                  </a:lnTo>
                  <a:lnTo>
                    <a:pt x="1601" y="1541"/>
                  </a:lnTo>
                  <a:lnTo>
                    <a:pt x="1642" y="1536"/>
                  </a:lnTo>
                  <a:lnTo>
                    <a:pt x="1682" y="1531"/>
                  </a:lnTo>
                  <a:lnTo>
                    <a:pt x="1722" y="1526"/>
                  </a:lnTo>
                  <a:lnTo>
                    <a:pt x="1761" y="1520"/>
                  </a:lnTo>
                  <a:lnTo>
                    <a:pt x="1797" y="1513"/>
                  </a:lnTo>
                  <a:lnTo>
                    <a:pt x="1833" y="1505"/>
                  </a:lnTo>
                  <a:lnTo>
                    <a:pt x="1866" y="1497"/>
                  </a:lnTo>
                  <a:lnTo>
                    <a:pt x="1899" y="1489"/>
                  </a:lnTo>
                  <a:lnTo>
                    <a:pt x="1929" y="1480"/>
                  </a:lnTo>
                  <a:lnTo>
                    <a:pt x="1960" y="1471"/>
                  </a:lnTo>
                  <a:lnTo>
                    <a:pt x="1988" y="1461"/>
                  </a:lnTo>
                  <a:lnTo>
                    <a:pt x="2015" y="1452"/>
                  </a:lnTo>
                  <a:lnTo>
                    <a:pt x="2040" y="1442"/>
                  </a:lnTo>
                  <a:lnTo>
                    <a:pt x="2064" y="1431"/>
                  </a:lnTo>
                  <a:lnTo>
                    <a:pt x="2086" y="1420"/>
                  </a:lnTo>
                  <a:lnTo>
                    <a:pt x="2106" y="1409"/>
                  </a:lnTo>
                  <a:lnTo>
                    <a:pt x="2125" y="1398"/>
                  </a:lnTo>
                  <a:lnTo>
                    <a:pt x="2142" y="1387"/>
                  </a:lnTo>
                  <a:lnTo>
                    <a:pt x="2157" y="1376"/>
                  </a:lnTo>
                  <a:lnTo>
                    <a:pt x="2172" y="1363"/>
                  </a:lnTo>
                  <a:lnTo>
                    <a:pt x="2183" y="1352"/>
                  </a:lnTo>
                  <a:lnTo>
                    <a:pt x="2194" y="1341"/>
                  </a:lnTo>
                  <a:lnTo>
                    <a:pt x="2202" y="1329"/>
                  </a:lnTo>
                  <a:lnTo>
                    <a:pt x="2208" y="1318"/>
                  </a:lnTo>
                  <a:lnTo>
                    <a:pt x="2213" y="1307"/>
                  </a:lnTo>
                  <a:lnTo>
                    <a:pt x="2216" y="1296"/>
                  </a:lnTo>
                  <a:lnTo>
                    <a:pt x="2217" y="1285"/>
                  </a:lnTo>
                  <a:lnTo>
                    <a:pt x="2216" y="1274"/>
                  </a:lnTo>
                  <a:lnTo>
                    <a:pt x="2213" y="1263"/>
                  </a:lnTo>
                  <a:lnTo>
                    <a:pt x="2208" y="1251"/>
                  </a:lnTo>
                  <a:lnTo>
                    <a:pt x="2202" y="1240"/>
                  </a:lnTo>
                  <a:lnTo>
                    <a:pt x="2194" y="1229"/>
                  </a:lnTo>
                  <a:lnTo>
                    <a:pt x="2183" y="1217"/>
                  </a:lnTo>
                  <a:lnTo>
                    <a:pt x="2172" y="1206"/>
                  </a:lnTo>
                  <a:lnTo>
                    <a:pt x="2157" y="1195"/>
                  </a:lnTo>
                  <a:lnTo>
                    <a:pt x="2142" y="1182"/>
                  </a:lnTo>
                  <a:lnTo>
                    <a:pt x="2125" y="1171"/>
                  </a:lnTo>
                  <a:lnTo>
                    <a:pt x="2106" y="1160"/>
                  </a:lnTo>
                  <a:lnTo>
                    <a:pt x="2086" y="1149"/>
                  </a:lnTo>
                  <a:lnTo>
                    <a:pt x="2064" y="1138"/>
                  </a:lnTo>
                  <a:lnTo>
                    <a:pt x="2040" y="1129"/>
                  </a:lnTo>
                  <a:lnTo>
                    <a:pt x="2015" y="1118"/>
                  </a:lnTo>
                  <a:lnTo>
                    <a:pt x="1988" y="1108"/>
                  </a:lnTo>
                  <a:lnTo>
                    <a:pt x="1960" y="1099"/>
                  </a:lnTo>
                  <a:lnTo>
                    <a:pt x="1929" y="1090"/>
                  </a:lnTo>
                  <a:lnTo>
                    <a:pt x="1899" y="1081"/>
                  </a:lnTo>
                  <a:lnTo>
                    <a:pt x="1866" y="1072"/>
                  </a:lnTo>
                  <a:lnTo>
                    <a:pt x="1833" y="1065"/>
                  </a:lnTo>
                  <a:lnTo>
                    <a:pt x="1797" y="1058"/>
                  </a:lnTo>
                  <a:lnTo>
                    <a:pt x="1761" y="1050"/>
                  </a:lnTo>
                  <a:lnTo>
                    <a:pt x="1722" y="1044"/>
                  </a:lnTo>
                  <a:lnTo>
                    <a:pt x="1682" y="1038"/>
                  </a:lnTo>
                  <a:lnTo>
                    <a:pt x="1642" y="1033"/>
                  </a:lnTo>
                  <a:lnTo>
                    <a:pt x="1601" y="1030"/>
                  </a:lnTo>
                  <a:lnTo>
                    <a:pt x="1557" y="1026"/>
                  </a:lnTo>
                  <a:lnTo>
                    <a:pt x="1513" y="1022"/>
                  </a:lnTo>
                  <a:lnTo>
                    <a:pt x="1467" y="1021"/>
                  </a:lnTo>
                  <a:lnTo>
                    <a:pt x="1421" y="1020"/>
                  </a:lnTo>
                  <a:lnTo>
                    <a:pt x="1373" y="1019"/>
                  </a:lnTo>
                  <a:close/>
                  <a:moveTo>
                    <a:pt x="2217" y="1454"/>
                  </a:moveTo>
                  <a:lnTo>
                    <a:pt x="2217" y="1454"/>
                  </a:lnTo>
                  <a:lnTo>
                    <a:pt x="2195" y="1470"/>
                  </a:lnTo>
                  <a:lnTo>
                    <a:pt x="2172" y="1485"/>
                  </a:lnTo>
                  <a:lnTo>
                    <a:pt x="2146" y="1499"/>
                  </a:lnTo>
                  <a:lnTo>
                    <a:pt x="2119" y="1513"/>
                  </a:lnTo>
                  <a:lnTo>
                    <a:pt x="2090" y="1526"/>
                  </a:lnTo>
                  <a:lnTo>
                    <a:pt x="2059" y="1540"/>
                  </a:lnTo>
                  <a:lnTo>
                    <a:pt x="2027" y="1552"/>
                  </a:lnTo>
                  <a:lnTo>
                    <a:pt x="1994" y="1563"/>
                  </a:lnTo>
                  <a:lnTo>
                    <a:pt x="1994" y="1801"/>
                  </a:lnTo>
                  <a:lnTo>
                    <a:pt x="2020" y="1791"/>
                  </a:lnTo>
                  <a:lnTo>
                    <a:pt x="2044" y="1780"/>
                  </a:lnTo>
                  <a:lnTo>
                    <a:pt x="2068" y="1771"/>
                  </a:lnTo>
                  <a:lnTo>
                    <a:pt x="2090" y="1760"/>
                  </a:lnTo>
                  <a:lnTo>
                    <a:pt x="2109" y="1749"/>
                  </a:lnTo>
                  <a:lnTo>
                    <a:pt x="2128" y="1738"/>
                  </a:lnTo>
                  <a:lnTo>
                    <a:pt x="2145" y="1727"/>
                  </a:lnTo>
                  <a:lnTo>
                    <a:pt x="2159" y="1716"/>
                  </a:lnTo>
                  <a:lnTo>
                    <a:pt x="2173" y="1705"/>
                  </a:lnTo>
                  <a:lnTo>
                    <a:pt x="2184" y="1694"/>
                  </a:lnTo>
                  <a:lnTo>
                    <a:pt x="2194" y="1681"/>
                  </a:lnTo>
                  <a:lnTo>
                    <a:pt x="2202" y="1670"/>
                  </a:lnTo>
                  <a:lnTo>
                    <a:pt x="2208" y="1659"/>
                  </a:lnTo>
                  <a:lnTo>
                    <a:pt x="2213" y="1648"/>
                  </a:lnTo>
                  <a:lnTo>
                    <a:pt x="2216" y="1637"/>
                  </a:lnTo>
                  <a:lnTo>
                    <a:pt x="2217" y="1626"/>
                  </a:lnTo>
                  <a:lnTo>
                    <a:pt x="2217" y="1454"/>
                  </a:lnTo>
                  <a:close/>
                  <a:moveTo>
                    <a:pt x="2217" y="4207"/>
                  </a:moveTo>
                  <a:lnTo>
                    <a:pt x="2217" y="4207"/>
                  </a:lnTo>
                  <a:lnTo>
                    <a:pt x="2195" y="4223"/>
                  </a:lnTo>
                  <a:lnTo>
                    <a:pt x="2172" y="4237"/>
                  </a:lnTo>
                  <a:lnTo>
                    <a:pt x="2146" y="4252"/>
                  </a:lnTo>
                  <a:lnTo>
                    <a:pt x="2119" y="4267"/>
                  </a:lnTo>
                  <a:lnTo>
                    <a:pt x="2090" y="4279"/>
                  </a:lnTo>
                  <a:lnTo>
                    <a:pt x="2059" y="4292"/>
                  </a:lnTo>
                  <a:lnTo>
                    <a:pt x="2027" y="4304"/>
                  </a:lnTo>
                  <a:lnTo>
                    <a:pt x="1994" y="4315"/>
                  </a:lnTo>
                  <a:lnTo>
                    <a:pt x="1994" y="4554"/>
                  </a:lnTo>
                  <a:lnTo>
                    <a:pt x="2020" y="4544"/>
                  </a:lnTo>
                  <a:lnTo>
                    <a:pt x="2044" y="4533"/>
                  </a:lnTo>
                  <a:lnTo>
                    <a:pt x="2068" y="4523"/>
                  </a:lnTo>
                  <a:lnTo>
                    <a:pt x="2090" y="4512"/>
                  </a:lnTo>
                  <a:lnTo>
                    <a:pt x="2109" y="4501"/>
                  </a:lnTo>
                  <a:lnTo>
                    <a:pt x="2128" y="4490"/>
                  </a:lnTo>
                  <a:lnTo>
                    <a:pt x="2145" y="4479"/>
                  </a:lnTo>
                  <a:lnTo>
                    <a:pt x="2159" y="4468"/>
                  </a:lnTo>
                  <a:lnTo>
                    <a:pt x="2173" y="4457"/>
                  </a:lnTo>
                  <a:lnTo>
                    <a:pt x="2184" y="4446"/>
                  </a:lnTo>
                  <a:lnTo>
                    <a:pt x="2194" y="4434"/>
                  </a:lnTo>
                  <a:lnTo>
                    <a:pt x="2202" y="4423"/>
                  </a:lnTo>
                  <a:lnTo>
                    <a:pt x="2208" y="4412"/>
                  </a:lnTo>
                  <a:lnTo>
                    <a:pt x="2213" y="4401"/>
                  </a:lnTo>
                  <a:lnTo>
                    <a:pt x="2216" y="4390"/>
                  </a:lnTo>
                  <a:lnTo>
                    <a:pt x="2217" y="4379"/>
                  </a:lnTo>
                  <a:lnTo>
                    <a:pt x="2217" y="4207"/>
                  </a:lnTo>
                  <a:close/>
                  <a:moveTo>
                    <a:pt x="764" y="4558"/>
                  </a:moveTo>
                  <a:lnTo>
                    <a:pt x="764" y="4319"/>
                  </a:lnTo>
                  <a:lnTo>
                    <a:pt x="729" y="4308"/>
                  </a:lnTo>
                  <a:lnTo>
                    <a:pt x="696" y="4296"/>
                  </a:lnTo>
                  <a:lnTo>
                    <a:pt x="663" y="4282"/>
                  </a:lnTo>
                  <a:lnTo>
                    <a:pt x="632" y="4269"/>
                  </a:lnTo>
                  <a:lnTo>
                    <a:pt x="604" y="4254"/>
                  </a:lnTo>
                  <a:lnTo>
                    <a:pt x="577" y="4238"/>
                  </a:lnTo>
                  <a:lnTo>
                    <a:pt x="551" y="4223"/>
                  </a:lnTo>
                  <a:lnTo>
                    <a:pt x="529" y="4207"/>
                  </a:lnTo>
                  <a:lnTo>
                    <a:pt x="529" y="4379"/>
                  </a:lnTo>
                  <a:lnTo>
                    <a:pt x="531" y="4390"/>
                  </a:lnTo>
                  <a:lnTo>
                    <a:pt x="533" y="4402"/>
                  </a:lnTo>
                  <a:lnTo>
                    <a:pt x="538" y="4413"/>
                  </a:lnTo>
                  <a:lnTo>
                    <a:pt x="545" y="4424"/>
                  </a:lnTo>
                  <a:lnTo>
                    <a:pt x="554" y="4436"/>
                  </a:lnTo>
                  <a:lnTo>
                    <a:pt x="564" y="4448"/>
                  </a:lnTo>
                  <a:lnTo>
                    <a:pt x="576" y="4460"/>
                  </a:lnTo>
                  <a:lnTo>
                    <a:pt x="591" y="4471"/>
                  </a:lnTo>
                  <a:lnTo>
                    <a:pt x="606" y="4483"/>
                  </a:lnTo>
                  <a:lnTo>
                    <a:pt x="624" y="4494"/>
                  </a:lnTo>
                  <a:lnTo>
                    <a:pt x="643" y="4505"/>
                  </a:lnTo>
                  <a:lnTo>
                    <a:pt x="664" y="4516"/>
                  </a:lnTo>
                  <a:lnTo>
                    <a:pt x="686" y="4527"/>
                  </a:lnTo>
                  <a:lnTo>
                    <a:pt x="710" y="4538"/>
                  </a:lnTo>
                  <a:lnTo>
                    <a:pt x="736" y="4548"/>
                  </a:lnTo>
                  <a:lnTo>
                    <a:pt x="764" y="4558"/>
                  </a:lnTo>
                  <a:close/>
                  <a:moveTo>
                    <a:pt x="1142" y="4635"/>
                  </a:moveTo>
                  <a:lnTo>
                    <a:pt x="1142" y="4391"/>
                  </a:lnTo>
                  <a:lnTo>
                    <a:pt x="1069" y="4383"/>
                  </a:lnTo>
                  <a:lnTo>
                    <a:pt x="998" y="4373"/>
                  </a:lnTo>
                  <a:lnTo>
                    <a:pt x="928" y="4361"/>
                  </a:lnTo>
                  <a:lnTo>
                    <a:pt x="862" y="4346"/>
                  </a:lnTo>
                  <a:lnTo>
                    <a:pt x="862" y="4587"/>
                  </a:lnTo>
                  <a:lnTo>
                    <a:pt x="924" y="4602"/>
                  </a:lnTo>
                  <a:lnTo>
                    <a:pt x="993" y="4615"/>
                  </a:lnTo>
                  <a:lnTo>
                    <a:pt x="1065" y="4626"/>
                  </a:lnTo>
                  <a:lnTo>
                    <a:pt x="1142" y="4635"/>
                  </a:lnTo>
                  <a:close/>
                  <a:moveTo>
                    <a:pt x="1519" y="4641"/>
                  </a:moveTo>
                  <a:lnTo>
                    <a:pt x="1519" y="4397"/>
                  </a:lnTo>
                  <a:lnTo>
                    <a:pt x="1446" y="4400"/>
                  </a:lnTo>
                  <a:lnTo>
                    <a:pt x="1373" y="4401"/>
                  </a:lnTo>
                  <a:lnTo>
                    <a:pt x="1306" y="4401"/>
                  </a:lnTo>
                  <a:lnTo>
                    <a:pt x="1240" y="4397"/>
                  </a:lnTo>
                  <a:lnTo>
                    <a:pt x="1240" y="4642"/>
                  </a:lnTo>
                  <a:lnTo>
                    <a:pt x="1305" y="4644"/>
                  </a:lnTo>
                  <a:lnTo>
                    <a:pt x="1373" y="4646"/>
                  </a:lnTo>
                  <a:lnTo>
                    <a:pt x="1448" y="4644"/>
                  </a:lnTo>
                  <a:lnTo>
                    <a:pt x="1519" y="4641"/>
                  </a:lnTo>
                  <a:close/>
                  <a:moveTo>
                    <a:pt x="1616" y="4390"/>
                  </a:moveTo>
                  <a:lnTo>
                    <a:pt x="1616" y="4633"/>
                  </a:lnTo>
                  <a:lnTo>
                    <a:pt x="1693" y="4624"/>
                  </a:lnTo>
                  <a:lnTo>
                    <a:pt x="1766" y="4613"/>
                  </a:lnTo>
                  <a:lnTo>
                    <a:pt x="1834" y="4599"/>
                  </a:lnTo>
                  <a:lnTo>
                    <a:pt x="1896" y="4584"/>
                  </a:lnTo>
                  <a:lnTo>
                    <a:pt x="1896" y="4344"/>
                  </a:lnTo>
                  <a:lnTo>
                    <a:pt x="1830" y="4358"/>
                  </a:lnTo>
                  <a:lnTo>
                    <a:pt x="1761" y="4370"/>
                  </a:lnTo>
                  <a:lnTo>
                    <a:pt x="1690" y="4381"/>
                  </a:lnTo>
                  <a:lnTo>
                    <a:pt x="1616" y="4390"/>
                  </a:lnTo>
                  <a:close/>
                  <a:moveTo>
                    <a:pt x="1951" y="3661"/>
                  </a:moveTo>
                  <a:lnTo>
                    <a:pt x="1951" y="3661"/>
                  </a:lnTo>
                  <a:lnTo>
                    <a:pt x="1931" y="3677"/>
                  </a:lnTo>
                  <a:lnTo>
                    <a:pt x="1906" y="3693"/>
                  </a:lnTo>
                  <a:lnTo>
                    <a:pt x="1881" y="3708"/>
                  </a:lnTo>
                  <a:lnTo>
                    <a:pt x="1854" y="3721"/>
                  </a:lnTo>
                  <a:lnTo>
                    <a:pt x="1826" y="3735"/>
                  </a:lnTo>
                  <a:lnTo>
                    <a:pt x="1795" y="3747"/>
                  </a:lnTo>
                  <a:lnTo>
                    <a:pt x="1763" y="3759"/>
                  </a:lnTo>
                  <a:lnTo>
                    <a:pt x="1729" y="3770"/>
                  </a:lnTo>
                  <a:lnTo>
                    <a:pt x="1729" y="4009"/>
                  </a:lnTo>
                  <a:lnTo>
                    <a:pt x="1756" y="3999"/>
                  </a:lnTo>
                  <a:lnTo>
                    <a:pt x="1780" y="3989"/>
                  </a:lnTo>
                  <a:lnTo>
                    <a:pt x="1804" y="3978"/>
                  </a:lnTo>
                  <a:lnTo>
                    <a:pt x="1824" y="3968"/>
                  </a:lnTo>
                  <a:lnTo>
                    <a:pt x="1844" y="3957"/>
                  </a:lnTo>
                  <a:lnTo>
                    <a:pt x="1862" y="3946"/>
                  </a:lnTo>
                  <a:lnTo>
                    <a:pt x="1879" y="3935"/>
                  </a:lnTo>
                  <a:lnTo>
                    <a:pt x="1894" y="3924"/>
                  </a:lnTo>
                  <a:lnTo>
                    <a:pt x="1907" y="3912"/>
                  </a:lnTo>
                  <a:lnTo>
                    <a:pt x="1920" y="3901"/>
                  </a:lnTo>
                  <a:lnTo>
                    <a:pt x="1929" y="3890"/>
                  </a:lnTo>
                  <a:lnTo>
                    <a:pt x="1937" y="3879"/>
                  </a:lnTo>
                  <a:lnTo>
                    <a:pt x="1944" y="3868"/>
                  </a:lnTo>
                  <a:lnTo>
                    <a:pt x="1948" y="3856"/>
                  </a:lnTo>
                  <a:lnTo>
                    <a:pt x="1951" y="3845"/>
                  </a:lnTo>
                  <a:lnTo>
                    <a:pt x="1951" y="3835"/>
                  </a:lnTo>
                  <a:lnTo>
                    <a:pt x="1951" y="3661"/>
                  </a:lnTo>
                  <a:close/>
                  <a:moveTo>
                    <a:pt x="2043" y="3883"/>
                  </a:moveTo>
                  <a:lnTo>
                    <a:pt x="2043" y="3883"/>
                  </a:lnTo>
                  <a:lnTo>
                    <a:pt x="2036" y="3901"/>
                  </a:lnTo>
                  <a:lnTo>
                    <a:pt x="2027" y="3919"/>
                  </a:lnTo>
                  <a:lnTo>
                    <a:pt x="2016" y="3936"/>
                  </a:lnTo>
                  <a:lnTo>
                    <a:pt x="2003" y="3953"/>
                  </a:lnTo>
                  <a:lnTo>
                    <a:pt x="1988" y="3971"/>
                  </a:lnTo>
                  <a:lnTo>
                    <a:pt x="1972" y="3986"/>
                  </a:lnTo>
                  <a:lnTo>
                    <a:pt x="1953" y="4002"/>
                  </a:lnTo>
                  <a:lnTo>
                    <a:pt x="1933" y="4017"/>
                  </a:lnTo>
                  <a:lnTo>
                    <a:pt x="1911" y="4032"/>
                  </a:lnTo>
                  <a:lnTo>
                    <a:pt x="1888" y="4045"/>
                  </a:lnTo>
                  <a:lnTo>
                    <a:pt x="1862" y="4059"/>
                  </a:lnTo>
                  <a:lnTo>
                    <a:pt x="1837" y="4071"/>
                  </a:lnTo>
                  <a:lnTo>
                    <a:pt x="1808" y="4083"/>
                  </a:lnTo>
                  <a:lnTo>
                    <a:pt x="1779" y="4095"/>
                  </a:lnTo>
                  <a:lnTo>
                    <a:pt x="1749" y="4105"/>
                  </a:lnTo>
                  <a:lnTo>
                    <a:pt x="1717" y="4116"/>
                  </a:lnTo>
                  <a:lnTo>
                    <a:pt x="1685" y="4126"/>
                  </a:lnTo>
                  <a:lnTo>
                    <a:pt x="1651" y="4134"/>
                  </a:lnTo>
                  <a:lnTo>
                    <a:pt x="1616" y="4143"/>
                  </a:lnTo>
                  <a:lnTo>
                    <a:pt x="1581" y="4152"/>
                  </a:lnTo>
                  <a:lnTo>
                    <a:pt x="1544" y="4159"/>
                  </a:lnTo>
                  <a:lnTo>
                    <a:pt x="1506" y="4166"/>
                  </a:lnTo>
                  <a:lnTo>
                    <a:pt x="1431" y="4177"/>
                  </a:lnTo>
                  <a:lnTo>
                    <a:pt x="1352" y="4186"/>
                  </a:lnTo>
                  <a:lnTo>
                    <a:pt x="1272" y="4193"/>
                  </a:lnTo>
                  <a:lnTo>
                    <a:pt x="1190" y="4197"/>
                  </a:lnTo>
                  <a:lnTo>
                    <a:pt x="1108" y="4198"/>
                  </a:lnTo>
                  <a:lnTo>
                    <a:pt x="1044" y="4197"/>
                  </a:lnTo>
                  <a:lnTo>
                    <a:pt x="979" y="4194"/>
                  </a:lnTo>
                  <a:lnTo>
                    <a:pt x="916" y="4191"/>
                  </a:lnTo>
                  <a:lnTo>
                    <a:pt x="853" y="4186"/>
                  </a:lnTo>
                  <a:lnTo>
                    <a:pt x="791" y="4178"/>
                  </a:lnTo>
                  <a:lnTo>
                    <a:pt x="731" y="4169"/>
                  </a:lnTo>
                  <a:lnTo>
                    <a:pt x="673" y="4159"/>
                  </a:lnTo>
                  <a:lnTo>
                    <a:pt x="615" y="4147"/>
                  </a:lnTo>
                  <a:lnTo>
                    <a:pt x="641" y="4163"/>
                  </a:lnTo>
                  <a:lnTo>
                    <a:pt x="670" y="4177"/>
                  </a:lnTo>
                  <a:lnTo>
                    <a:pt x="702" y="4192"/>
                  </a:lnTo>
                  <a:lnTo>
                    <a:pt x="737" y="4207"/>
                  </a:lnTo>
                  <a:lnTo>
                    <a:pt x="776" y="4220"/>
                  </a:lnTo>
                  <a:lnTo>
                    <a:pt x="817" y="4234"/>
                  </a:lnTo>
                  <a:lnTo>
                    <a:pt x="861" y="4246"/>
                  </a:lnTo>
                  <a:lnTo>
                    <a:pt x="907" y="4257"/>
                  </a:lnTo>
                  <a:lnTo>
                    <a:pt x="957" y="4267"/>
                  </a:lnTo>
                  <a:lnTo>
                    <a:pt x="1010" y="4276"/>
                  </a:lnTo>
                  <a:lnTo>
                    <a:pt x="1064" y="4284"/>
                  </a:lnTo>
                  <a:lnTo>
                    <a:pt x="1121" y="4291"/>
                  </a:lnTo>
                  <a:lnTo>
                    <a:pt x="1181" y="4296"/>
                  </a:lnTo>
                  <a:lnTo>
                    <a:pt x="1242" y="4301"/>
                  </a:lnTo>
                  <a:lnTo>
                    <a:pt x="1307" y="4303"/>
                  </a:lnTo>
                  <a:lnTo>
                    <a:pt x="1373" y="4303"/>
                  </a:lnTo>
                  <a:lnTo>
                    <a:pt x="1421" y="4303"/>
                  </a:lnTo>
                  <a:lnTo>
                    <a:pt x="1467" y="4302"/>
                  </a:lnTo>
                  <a:lnTo>
                    <a:pt x="1513" y="4300"/>
                  </a:lnTo>
                  <a:lnTo>
                    <a:pt x="1557" y="4297"/>
                  </a:lnTo>
                  <a:lnTo>
                    <a:pt x="1601" y="4293"/>
                  </a:lnTo>
                  <a:lnTo>
                    <a:pt x="1642" y="4289"/>
                  </a:lnTo>
                  <a:lnTo>
                    <a:pt x="1682" y="4284"/>
                  </a:lnTo>
                  <a:lnTo>
                    <a:pt x="1722" y="4279"/>
                  </a:lnTo>
                  <a:lnTo>
                    <a:pt x="1761" y="4273"/>
                  </a:lnTo>
                  <a:lnTo>
                    <a:pt x="1797" y="4265"/>
                  </a:lnTo>
                  <a:lnTo>
                    <a:pt x="1833" y="4258"/>
                  </a:lnTo>
                  <a:lnTo>
                    <a:pt x="1866" y="4251"/>
                  </a:lnTo>
                  <a:lnTo>
                    <a:pt x="1899" y="4242"/>
                  </a:lnTo>
                  <a:lnTo>
                    <a:pt x="1931" y="4234"/>
                  </a:lnTo>
                  <a:lnTo>
                    <a:pt x="1960" y="4224"/>
                  </a:lnTo>
                  <a:lnTo>
                    <a:pt x="1988" y="4214"/>
                  </a:lnTo>
                  <a:lnTo>
                    <a:pt x="2015" y="4204"/>
                  </a:lnTo>
                  <a:lnTo>
                    <a:pt x="2040" y="4194"/>
                  </a:lnTo>
                  <a:lnTo>
                    <a:pt x="2064" y="4183"/>
                  </a:lnTo>
                  <a:lnTo>
                    <a:pt x="2086" y="4172"/>
                  </a:lnTo>
                  <a:lnTo>
                    <a:pt x="2106" y="4161"/>
                  </a:lnTo>
                  <a:lnTo>
                    <a:pt x="2125" y="4150"/>
                  </a:lnTo>
                  <a:lnTo>
                    <a:pt x="2142" y="4139"/>
                  </a:lnTo>
                  <a:lnTo>
                    <a:pt x="2157" y="4128"/>
                  </a:lnTo>
                  <a:lnTo>
                    <a:pt x="2172" y="4117"/>
                  </a:lnTo>
                  <a:lnTo>
                    <a:pt x="2183" y="4105"/>
                  </a:lnTo>
                  <a:lnTo>
                    <a:pt x="2194" y="4094"/>
                  </a:lnTo>
                  <a:lnTo>
                    <a:pt x="2202" y="4082"/>
                  </a:lnTo>
                  <a:lnTo>
                    <a:pt x="2208" y="4071"/>
                  </a:lnTo>
                  <a:lnTo>
                    <a:pt x="2213" y="4060"/>
                  </a:lnTo>
                  <a:lnTo>
                    <a:pt x="2216" y="4049"/>
                  </a:lnTo>
                  <a:lnTo>
                    <a:pt x="2217" y="4038"/>
                  </a:lnTo>
                  <a:lnTo>
                    <a:pt x="2216" y="4028"/>
                  </a:lnTo>
                  <a:lnTo>
                    <a:pt x="2214" y="4018"/>
                  </a:lnTo>
                  <a:lnTo>
                    <a:pt x="2211" y="4009"/>
                  </a:lnTo>
                  <a:lnTo>
                    <a:pt x="2206" y="3999"/>
                  </a:lnTo>
                  <a:lnTo>
                    <a:pt x="2200" y="3989"/>
                  </a:lnTo>
                  <a:lnTo>
                    <a:pt x="2191" y="3979"/>
                  </a:lnTo>
                  <a:lnTo>
                    <a:pt x="2183" y="3969"/>
                  </a:lnTo>
                  <a:lnTo>
                    <a:pt x="2172" y="3960"/>
                  </a:lnTo>
                  <a:lnTo>
                    <a:pt x="2161" y="3950"/>
                  </a:lnTo>
                  <a:lnTo>
                    <a:pt x="2147" y="3940"/>
                  </a:lnTo>
                  <a:lnTo>
                    <a:pt x="2132" y="3929"/>
                  </a:lnTo>
                  <a:lnTo>
                    <a:pt x="2118" y="3920"/>
                  </a:lnTo>
                  <a:lnTo>
                    <a:pt x="2082" y="3901"/>
                  </a:lnTo>
                  <a:lnTo>
                    <a:pt x="2043" y="3883"/>
                  </a:lnTo>
                  <a:close/>
                  <a:moveTo>
                    <a:pt x="499" y="4013"/>
                  </a:moveTo>
                  <a:lnTo>
                    <a:pt x="499" y="3775"/>
                  </a:lnTo>
                  <a:lnTo>
                    <a:pt x="463" y="3763"/>
                  </a:lnTo>
                  <a:lnTo>
                    <a:pt x="430" y="3750"/>
                  </a:lnTo>
                  <a:lnTo>
                    <a:pt x="399" y="3737"/>
                  </a:lnTo>
                  <a:lnTo>
                    <a:pt x="368" y="3724"/>
                  </a:lnTo>
                  <a:lnTo>
                    <a:pt x="339" y="3709"/>
                  </a:lnTo>
                  <a:lnTo>
                    <a:pt x="312" y="3694"/>
                  </a:lnTo>
                  <a:lnTo>
                    <a:pt x="287" y="3678"/>
                  </a:lnTo>
                  <a:lnTo>
                    <a:pt x="264" y="3661"/>
                  </a:lnTo>
                  <a:lnTo>
                    <a:pt x="264" y="3835"/>
                  </a:lnTo>
                  <a:lnTo>
                    <a:pt x="265" y="3846"/>
                  </a:lnTo>
                  <a:lnTo>
                    <a:pt x="268" y="3857"/>
                  </a:lnTo>
                  <a:lnTo>
                    <a:pt x="273" y="3868"/>
                  </a:lnTo>
                  <a:lnTo>
                    <a:pt x="280" y="3880"/>
                  </a:lnTo>
                  <a:lnTo>
                    <a:pt x="289" y="3891"/>
                  </a:lnTo>
                  <a:lnTo>
                    <a:pt x="300" y="3903"/>
                  </a:lnTo>
                  <a:lnTo>
                    <a:pt x="312" y="3914"/>
                  </a:lnTo>
                  <a:lnTo>
                    <a:pt x="325" y="3927"/>
                  </a:lnTo>
                  <a:lnTo>
                    <a:pt x="341" y="3938"/>
                  </a:lnTo>
                  <a:lnTo>
                    <a:pt x="358" y="3949"/>
                  </a:lnTo>
                  <a:lnTo>
                    <a:pt x="378" y="3961"/>
                  </a:lnTo>
                  <a:lnTo>
                    <a:pt x="399" y="3972"/>
                  </a:lnTo>
                  <a:lnTo>
                    <a:pt x="422" y="3983"/>
                  </a:lnTo>
                  <a:lnTo>
                    <a:pt x="446" y="3993"/>
                  </a:lnTo>
                  <a:lnTo>
                    <a:pt x="472" y="4004"/>
                  </a:lnTo>
                  <a:lnTo>
                    <a:pt x="499" y="4013"/>
                  </a:lnTo>
                  <a:close/>
                  <a:moveTo>
                    <a:pt x="877" y="4089"/>
                  </a:moveTo>
                  <a:lnTo>
                    <a:pt x="877" y="3846"/>
                  </a:lnTo>
                  <a:lnTo>
                    <a:pt x="803" y="3839"/>
                  </a:lnTo>
                  <a:lnTo>
                    <a:pt x="732" y="3828"/>
                  </a:lnTo>
                  <a:lnTo>
                    <a:pt x="664" y="3815"/>
                  </a:lnTo>
                  <a:lnTo>
                    <a:pt x="597" y="3801"/>
                  </a:lnTo>
                  <a:lnTo>
                    <a:pt x="597" y="4043"/>
                  </a:lnTo>
                  <a:lnTo>
                    <a:pt x="660" y="4057"/>
                  </a:lnTo>
                  <a:lnTo>
                    <a:pt x="728" y="4070"/>
                  </a:lnTo>
                  <a:lnTo>
                    <a:pt x="800" y="4081"/>
                  </a:lnTo>
                  <a:lnTo>
                    <a:pt x="877" y="4089"/>
                  </a:lnTo>
                  <a:close/>
                  <a:moveTo>
                    <a:pt x="1255" y="4097"/>
                  </a:moveTo>
                  <a:lnTo>
                    <a:pt x="1255" y="3852"/>
                  </a:lnTo>
                  <a:lnTo>
                    <a:pt x="1181" y="3856"/>
                  </a:lnTo>
                  <a:lnTo>
                    <a:pt x="1108" y="3857"/>
                  </a:lnTo>
                  <a:lnTo>
                    <a:pt x="1042" y="3856"/>
                  </a:lnTo>
                  <a:lnTo>
                    <a:pt x="975" y="3853"/>
                  </a:lnTo>
                  <a:lnTo>
                    <a:pt x="975" y="4097"/>
                  </a:lnTo>
                  <a:lnTo>
                    <a:pt x="1041" y="4099"/>
                  </a:lnTo>
                  <a:lnTo>
                    <a:pt x="1108" y="4100"/>
                  </a:lnTo>
                  <a:lnTo>
                    <a:pt x="1182" y="4099"/>
                  </a:lnTo>
                  <a:lnTo>
                    <a:pt x="1255" y="4097"/>
                  </a:lnTo>
                  <a:close/>
                  <a:moveTo>
                    <a:pt x="1352" y="3845"/>
                  </a:moveTo>
                  <a:lnTo>
                    <a:pt x="1352" y="4088"/>
                  </a:lnTo>
                  <a:lnTo>
                    <a:pt x="1429" y="4079"/>
                  </a:lnTo>
                  <a:lnTo>
                    <a:pt x="1502" y="4068"/>
                  </a:lnTo>
                  <a:lnTo>
                    <a:pt x="1569" y="4055"/>
                  </a:lnTo>
                  <a:lnTo>
                    <a:pt x="1631" y="4039"/>
                  </a:lnTo>
                  <a:lnTo>
                    <a:pt x="1631" y="3798"/>
                  </a:lnTo>
                  <a:lnTo>
                    <a:pt x="1565" y="3813"/>
                  </a:lnTo>
                  <a:lnTo>
                    <a:pt x="1497" y="3826"/>
                  </a:lnTo>
                  <a:lnTo>
                    <a:pt x="1426" y="3836"/>
                  </a:lnTo>
                  <a:lnTo>
                    <a:pt x="1352" y="3845"/>
                  </a:lnTo>
                  <a:close/>
                  <a:moveTo>
                    <a:pt x="2393" y="3117"/>
                  </a:moveTo>
                  <a:lnTo>
                    <a:pt x="2393" y="3117"/>
                  </a:lnTo>
                  <a:lnTo>
                    <a:pt x="2371" y="3133"/>
                  </a:lnTo>
                  <a:lnTo>
                    <a:pt x="2348" y="3148"/>
                  </a:lnTo>
                  <a:lnTo>
                    <a:pt x="2322" y="3162"/>
                  </a:lnTo>
                  <a:lnTo>
                    <a:pt x="2295" y="3176"/>
                  </a:lnTo>
                  <a:lnTo>
                    <a:pt x="2266" y="3189"/>
                  </a:lnTo>
                  <a:lnTo>
                    <a:pt x="2235" y="3203"/>
                  </a:lnTo>
                  <a:lnTo>
                    <a:pt x="2203" y="3215"/>
                  </a:lnTo>
                  <a:lnTo>
                    <a:pt x="2170" y="3226"/>
                  </a:lnTo>
                  <a:lnTo>
                    <a:pt x="2170" y="3464"/>
                  </a:lnTo>
                  <a:lnTo>
                    <a:pt x="2196" y="3455"/>
                  </a:lnTo>
                  <a:lnTo>
                    <a:pt x="2220" y="3444"/>
                  </a:lnTo>
                  <a:lnTo>
                    <a:pt x="2244" y="3434"/>
                  </a:lnTo>
                  <a:lnTo>
                    <a:pt x="2266" y="3423"/>
                  </a:lnTo>
                  <a:lnTo>
                    <a:pt x="2285" y="3412"/>
                  </a:lnTo>
                  <a:lnTo>
                    <a:pt x="2304" y="3401"/>
                  </a:lnTo>
                  <a:lnTo>
                    <a:pt x="2321" y="3390"/>
                  </a:lnTo>
                  <a:lnTo>
                    <a:pt x="2335" y="3379"/>
                  </a:lnTo>
                  <a:lnTo>
                    <a:pt x="2349" y="3368"/>
                  </a:lnTo>
                  <a:lnTo>
                    <a:pt x="2360" y="3357"/>
                  </a:lnTo>
                  <a:lnTo>
                    <a:pt x="2370" y="3344"/>
                  </a:lnTo>
                  <a:lnTo>
                    <a:pt x="2378" y="3333"/>
                  </a:lnTo>
                  <a:lnTo>
                    <a:pt x="2384" y="3322"/>
                  </a:lnTo>
                  <a:lnTo>
                    <a:pt x="2389" y="3311"/>
                  </a:lnTo>
                  <a:lnTo>
                    <a:pt x="2392" y="3300"/>
                  </a:lnTo>
                  <a:lnTo>
                    <a:pt x="2393" y="3289"/>
                  </a:lnTo>
                  <a:lnTo>
                    <a:pt x="2393" y="3117"/>
                  </a:lnTo>
                  <a:close/>
                  <a:moveTo>
                    <a:pt x="940" y="3468"/>
                  </a:moveTo>
                  <a:lnTo>
                    <a:pt x="940" y="3230"/>
                  </a:lnTo>
                  <a:lnTo>
                    <a:pt x="905" y="3219"/>
                  </a:lnTo>
                  <a:lnTo>
                    <a:pt x="872" y="3205"/>
                  </a:lnTo>
                  <a:lnTo>
                    <a:pt x="839" y="3193"/>
                  </a:lnTo>
                  <a:lnTo>
                    <a:pt x="808" y="3178"/>
                  </a:lnTo>
                  <a:lnTo>
                    <a:pt x="780" y="3165"/>
                  </a:lnTo>
                  <a:lnTo>
                    <a:pt x="753" y="3149"/>
                  </a:lnTo>
                  <a:lnTo>
                    <a:pt x="728" y="3133"/>
                  </a:lnTo>
                  <a:lnTo>
                    <a:pt x="706" y="3117"/>
                  </a:lnTo>
                  <a:lnTo>
                    <a:pt x="706" y="3289"/>
                  </a:lnTo>
                  <a:lnTo>
                    <a:pt x="707" y="3300"/>
                  </a:lnTo>
                  <a:lnTo>
                    <a:pt x="709" y="3311"/>
                  </a:lnTo>
                  <a:lnTo>
                    <a:pt x="714" y="3324"/>
                  </a:lnTo>
                  <a:lnTo>
                    <a:pt x="721" y="3335"/>
                  </a:lnTo>
                  <a:lnTo>
                    <a:pt x="730" y="3347"/>
                  </a:lnTo>
                  <a:lnTo>
                    <a:pt x="740" y="3358"/>
                  </a:lnTo>
                  <a:lnTo>
                    <a:pt x="752" y="3370"/>
                  </a:lnTo>
                  <a:lnTo>
                    <a:pt x="767" y="3381"/>
                  </a:lnTo>
                  <a:lnTo>
                    <a:pt x="783" y="3393"/>
                  </a:lnTo>
                  <a:lnTo>
                    <a:pt x="800" y="3404"/>
                  </a:lnTo>
                  <a:lnTo>
                    <a:pt x="819" y="3415"/>
                  </a:lnTo>
                  <a:lnTo>
                    <a:pt x="840" y="3426"/>
                  </a:lnTo>
                  <a:lnTo>
                    <a:pt x="862" y="3437"/>
                  </a:lnTo>
                  <a:lnTo>
                    <a:pt x="886" y="3448"/>
                  </a:lnTo>
                  <a:lnTo>
                    <a:pt x="912" y="3458"/>
                  </a:lnTo>
                  <a:lnTo>
                    <a:pt x="940" y="3468"/>
                  </a:lnTo>
                  <a:close/>
                  <a:moveTo>
                    <a:pt x="1318" y="3545"/>
                  </a:moveTo>
                  <a:lnTo>
                    <a:pt x="1318" y="3302"/>
                  </a:lnTo>
                  <a:lnTo>
                    <a:pt x="1245" y="3293"/>
                  </a:lnTo>
                  <a:lnTo>
                    <a:pt x="1174" y="3283"/>
                  </a:lnTo>
                  <a:lnTo>
                    <a:pt x="1104" y="3271"/>
                  </a:lnTo>
                  <a:lnTo>
                    <a:pt x="1038" y="3256"/>
                  </a:lnTo>
                  <a:lnTo>
                    <a:pt x="1038" y="3497"/>
                  </a:lnTo>
                  <a:lnTo>
                    <a:pt x="1100" y="3512"/>
                  </a:lnTo>
                  <a:lnTo>
                    <a:pt x="1169" y="3525"/>
                  </a:lnTo>
                  <a:lnTo>
                    <a:pt x="1241" y="3536"/>
                  </a:lnTo>
                  <a:lnTo>
                    <a:pt x="1318" y="3545"/>
                  </a:lnTo>
                  <a:close/>
                  <a:moveTo>
                    <a:pt x="1695" y="3551"/>
                  </a:moveTo>
                  <a:lnTo>
                    <a:pt x="1695" y="3308"/>
                  </a:lnTo>
                  <a:lnTo>
                    <a:pt x="1623" y="3310"/>
                  </a:lnTo>
                  <a:lnTo>
                    <a:pt x="1549" y="3311"/>
                  </a:lnTo>
                  <a:lnTo>
                    <a:pt x="1482" y="3311"/>
                  </a:lnTo>
                  <a:lnTo>
                    <a:pt x="1416" y="3308"/>
                  </a:lnTo>
                  <a:lnTo>
                    <a:pt x="1416" y="3552"/>
                  </a:lnTo>
                  <a:lnTo>
                    <a:pt x="1481" y="3555"/>
                  </a:lnTo>
                  <a:lnTo>
                    <a:pt x="1549" y="3556"/>
                  </a:lnTo>
                  <a:lnTo>
                    <a:pt x="1624" y="3555"/>
                  </a:lnTo>
                  <a:lnTo>
                    <a:pt x="1695" y="3551"/>
                  </a:lnTo>
                  <a:close/>
                  <a:moveTo>
                    <a:pt x="1793" y="3300"/>
                  </a:moveTo>
                  <a:lnTo>
                    <a:pt x="1793" y="3544"/>
                  </a:lnTo>
                  <a:lnTo>
                    <a:pt x="1870" y="3534"/>
                  </a:lnTo>
                  <a:lnTo>
                    <a:pt x="1942" y="3523"/>
                  </a:lnTo>
                  <a:lnTo>
                    <a:pt x="2010" y="3510"/>
                  </a:lnTo>
                  <a:lnTo>
                    <a:pt x="2073" y="3495"/>
                  </a:lnTo>
                  <a:lnTo>
                    <a:pt x="2073" y="3253"/>
                  </a:lnTo>
                  <a:lnTo>
                    <a:pt x="2006" y="3269"/>
                  </a:lnTo>
                  <a:lnTo>
                    <a:pt x="1937" y="3281"/>
                  </a:lnTo>
                  <a:lnTo>
                    <a:pt x="1866" y="3292"/>
                  </a:lnTo>
                  <a:lnTo>
                    <a:pt x="1793" y="3300"/>
                  </a:lnTo>
                  <a:close/>
                  <a:moveTo>
                    <a:pt x="2217" y="2544"/>
                  </a:moveTo>
                  <a:lnTo>
                    <a:pt x="2217" y="2544"/>
                  </a:lnTo>
                  <a:lnTo>
                    <a:pt x="2195" y="2559"/>
                  </a:lnTo>
                  <a:lnTo>
                    <a:pt x="2172" y="2574"/>
                  </a:lnTo>
                  <a:lnTo>
                    <a:pt x="2146" y="2589"/>
                  </a:lnTo>
                  <a:lnTo>
                    <a:pt x="2119" y="2603"/>
                  </a:lnTo>
                  <a:lnTo>
                    <a:pt x="2090" y="2616"/>
                  </a:lnTo>
                  <a:lnTo>
                    <a:pt x="2059" y="2629"/>
                  </a:lnTo>
                  <a:lnTo>
                    <a:pt x="2027" y="2641"/>
                  </a:lnTo>
                  <a:lnTo>
                    <a:pt x="1994" y="2652"/>
                  </a:lnTo>
                  <a:lnTo>
                    <a:pt x="1994" y="2891"/>
                  </a:lnTo>
                  <a:lnTo>
                    <a:pt x="2020" y="2881"/>
                  </a:lnTo>
                  <a:lnTo>
                    <a:pt x="2044" y="2870"/>
                  </a:lnTo>
                  <a:lnTo>
                    <a:pt x="2068" y="2860"/>
                  </a:lnTo>
                  <a:lnTo>
                    <a:pt x="2090" y="2849"/>
                  </a:lnTo>
                  <a:lnTo>
                    <a:pt x="2109" y="2838"/>
                  </a:lnTo>
                  <a:lnTo>
                    <a:pt x="2128" y="2827"/>
                  </a:lnTo>
                  <a:lnTo>
                    <a:pt x="2145" y="2816"/>
                  </a:lnTo>
                  <a:lnTo>
                    <a:pt x="2159" y="2805"/>
                  </a:lnTo>
                  <a:lnTo>
                    <a:pt x="2173" y="2794"/>
                  </a:lnTo>
                  <a:lnTo>
                    <a:pt x="2184" y="2783"/>
                  </a:lnTo>
                  <a:lnTo>
                    <a:pt x="2194" y="2771"/>
                  </a:lnTo>
                  <a:lnTo>
                    <a:pt x="2202" y="2760"/>
                  </a:lnTo>
                  <a:lnTo>
                    <a:pt x="2208" y="2749"/>
                  </a:lnTo>
                  <a:lnTo>
                    <a:pt x="2213" y="2738"/>
                  </a:lnTo>
                  <a:lnTo>
                    <a:pt x="2216" y="2727"/>
                  </a:lnTo>
                  <a:lnTo>
                    <a:pt x="2217" y="2716"/>
                  </a:lnTo>
                  <a:lnTo>
                    <a:pt x="2217" y="2544"/>
                  </a:lnTo>
                  <a:close/>
                  <a:moveTo>
                    <a:pt x="2279" y="2822"/>
                  </a:moveTo>
                  <a:lnTo>
                    <a:pt x="2279" y="2822"/>
                  </a:lnTo>
                  <a:lnTo>
                    <a:pt x="2267" y="2837"/>
                  </a:lnTo>
                  <a:lnTo>
                    <a:pt x="2253" y="2852"/>
                  </a:lnTo>
                  <a:lnTo>
                    <a:pt x="2239" y="2866"/>
                  </a:lnTo>
                  <a:lnTo>
                    <a:pt x="2222" y="2881"/>
                  </a:lnTo>
                  <a:lnTo>
                    <a:pt x="2205" y="2894"/>
                  </a:lnTo>
                  <a:lnTo>
                    <a:pt x="2185" y="2907"/>
                  </a:lnTo>
                  <a:lnTo>
                    <a:pt x="2164" y="2920"/>
                  </a:lnTo>
                  <a:lnTo>
                    <a:pt x="2142" y="2932"/>
                  </a:lnTo>
                  <a:lnTo>
                    <a:pt x="2120" y="2943"/>
                  </a:lnTo>
                  <a:lnTo>
                    <a:pt x="2096" y="2956"/>
                  </a:lnTo>
                  <a:lnTo>
                    <a:pt x="2070" y="2967"/>
                  </a:lnTo>
                  <a:lnTo>
                    <a:pt x="2044" y="2976"/>
                  </a:lnTo>
                  <a:lnTo>
                    <a:pt x="2016" y="2986"/>
                  </a:lnTo>
                  <a:lnTo>
                    <a:pt x="1988" y="2996"/>
                  </a:lnTo>
                  <a:lnTo>
                    <a:pt x="1929" y="3013"/>
                  </a:lnTo>
                  <a:lnTo>
                    <a:pt x="1867" y="3029"/>
                  </a:lnTo>
                  <a:lnTo>
                    <a:pt x="1801" y="3042"/>
                  </a:lnTo>
                  <a:lnTo>
                    <a:pt x="1734" y="3053"/>
                  </a:lnTo>
                  <a:lnTo>
                    <a:pt x="1664" y="3063"/>
                  </a:lnTo>
                  <a:lnTo>
                    <a:pt x="1593" y="3071"/>
                  </a:lnTo>
                  <a:lnTo>
                    <a:pt x="1520" y="3075"/>
                  </a:lnTo>
                  <a:lnTo>
                    <a:pt x="1446" y="3079"/>
                  </a:lnTo>
                  <a:lnTo>
                    <a:pt x="1373" y="3080"/>
                  </a:lnTo>
                  <a:lnTo>
                    <a:pt x="1328" y="3079"/>
                  </a:lnTo>
                  <a:lnTo>
                    <a:pt x="1283" y="3078"/>
                  </a:lnTo>
                  <a:lnTo>
                    <a:pt x="1237" y="3077"/>
                  </a:lnTo>
                  <a:lnTo>
                    <a:pt x="1193" y="3073"/>
                  </a:lnTo>
                  <a:lnTo>
                    <a:pt x="1149" y="3071"/>
                  </a:lnTo>
                  <a:lnTo>
                    <a:pt x="1105" y="3066"/>
                  </a:lnTo>
                  <a:lnTo>
                    <a:pt x="1063" y="3061"/>
                  </a:lnTo>
                  <a:lnTo>
                    <a:pt x="1020" y="3055"/>
                  </a:lnTo>
                  <a:lnTo>
                    <a:pt x="978" y="3049"/>
                  </a:lnTo>
                  <a:lnTo>
                    <a:pt x="937" y="3040"/>
                  </a:lnTo>
                  <a:lnTo>
                    <a:pt x="896" y="3033"/>
                  </a:lnTo>
                  <a:lnTo>
                    <a:pt x="857" y="3024"/>
                  </a:lnTo>
                  <a:lnTo>
                    <a:pt x="819" y="3014"/>
                  </a:lnTo>
                  <a:lnTo>
                    <a:pt x="783" y="3003"/>
                  </a:lnTo>
                  <a:lnTo>
                    <a:pt x="747" y="2992"/>
                  </a:lnTo>
                  <a:lnTo>
                    <a:pt x="713" y="2980"/>
                  </a:lnTo>
                  <a:lnTo>
                    <a:pt x="719" y="2991"/>
                  </a:lnTo>
                  <a:lnTo>
                    <a:pt x="726" y="3001"/>
                  </a:lnTo>
                  <a:lnTo>
                    <a:pt x="735" y="3012"/>
                  </a:lnTo>
                  <a:lnTo>
                    <a:pt x="746" y="3022"/>
                  </a:lnTo>
                  <a:lnTo>
                    <a:pt x="757" y="3033"/>
                  </a:lnTo>
                  <a:lnTo>
                    <a:pt x="770" y="3042"/>
                  </a:lnTo>
                  <a:lnTo>
                    <a:pt x="785" y="3053"/>
                  </a:lnTo>
                  <a:lnTo>
                    <a:pt x="801" y="3063"/>
                  </a:lnTo>
                  <a:lnTo>
                    <a:pt x="818" y="3073"/>
                  </a:lnTo>
                  <a:lnTo>
                    <a:pt x="836" y="3083"/>
                  </a:lnTo>
                  <a:lnTo>
                    <a:pt x="857" y="3093"/>
                  </a:lnTo>
                  <a:lnTo>
                    <a:pt x="878" y="3102"/>
                  </a:lnTo>
                  <a:lnTo>
                    <a:pt x="924" y="3121"/>
                  </a:lnTo>
                  <a:lnTo>
                    <a:pt x="976" y="3139"/>
                  </a:lnTo>
                  <a:lnTo>
                    <a:pt x="1032" y="3155"/>
                  </a:lnTo>
                  <a:lnTo>
                    <a:pt x="1093" y="3170"/>
                  </a:lnTo>
                  <a:lnTo>
                    <a:pt x="1159" y="3182"/>
                  </a:lnTo>
                  <a:lnTo>
                    <a:pt x="1229" y="3193"/>
                  </a:lnTo>
                  <a:lnTo>
                    <a:pt x="1303" y="3201"/>
                  </a:lnTo>
                  <a:lnTo>
                    <a:pt x="1382" y="3209"/>
                  </a:lnTo>
                  <a:lnTo>
                    <a:pt x="1464" y="3212"/>
                  </a:lnTo>
                  <a:lnTo>
                    <a:pt x="1549" y="3214"/>
                  </a:lnTo>
                  <a:lnTo>
                    <a:pt x="1597" y="3214"/>
                  </a:lnTo>
                  <a:lnTo>
                    <a:pt x="1643" y="3212"/>
                  </a:lnTo>
                  <a:lnTo>
                    <a:pt x="1689" y="3210"/>
                  </a:lnTo>
                  <a:lnTo>
                    <a:pt x="1733" y="3208"/>
                  </a:lnTo>
                  <a:lnTo>
                    <a:pt x="1777" y="3204"/>
                  </a:lnTo>
                  <a:lnTo>
                    <a:pt x="1818" y="3199"/>
                  </a:lnTo>
                  <a:lnTo>
                    <a:pt x="1859" y="3194"/>
                  </a:lnTo>
                  <a:lnTo>
                    <a:pt x="1898" y="3189"/>
                  </a:lnTo>
                  <a:lnTo>
                    <a:pt x="1937" y="3183"/>
                  </a:lnTo>
                  <a:lnTo>
                    <a:pt x="1973" y="3176"/>
                  </a:lnTo>
                  <a:lnTo>
                    <a:pt x="2009" y="3168"/>
                  </a:lnTo>
                  <a:lnTo>
                    <a:pt x="2042" y="3160"/>
                  </a:lnTo>
                  <a:lnTo>
                    <a:pt x="2075" y="3153"/>
                  </a:lnTo>
                  <a:lnTo>
                    <a:pt x="2107" y="3143"/>
                  </a:lnTo>
                  <a:lnTo>
                    <a:pt x="2136" y="3134"/>
                  </a:lnTo>
                  <a:lnTo>
                    <a:pt x="2164" y="3124"/>
                  </a:lnTo>
                  <a:lnTo>
                    <a:pt x="2191" y="3115"/>
                  </a:lnTo>
                  <a:lnTo>
                    <a:pt x="2216" y="3105"/>
                  </a:lnTo>
                  <a:lnTo>
                    <a:pt x="2240" y="3094"/>
                  </a:lnTo>
                  <a:lnTo>
                    <a:pt x="2262" y="3083"/>
                  </a:lnTo>
                  <a:lnTo>
                    <a:pt x="2282" y="3072"/>
                  </a:lnTo>
                  <a:lnTo>
                    <a:pt x="2301" y="3061"/>
                  </a:lnTo>
                  <a:lnTo>
                    <a:pt x="2318" y="3050"/>
                  </a:lnTo>
                  <a:lnTo>
                    <a:pt x="2333" y="3039"/>
                  </a:lnTo>
                  <a:lnTo>
                    <a:pt x="2348" y="3027"/>
                  </a:lnTo>
                  <a:lnTo>
                    <a:pt x="2359" y="3016"/>
                  </a:lnTo>
                  <a:lnTo>
                    <a:pt x="2370" y="3005"/>
                  </a:lnTo>
                  <a:lnTo>
                    <a:pt x="2378" y="2992"/>
                  </a:lnTo>
                  <a:lnTo>
                    <a:pt x="2384" y="2981"/>
                  </a:lnTo>
                  <a:lnTo>
                    <a:pt x="2389" y="2970"/>
                  </a:lnTo>
                  <a:lnTo>
                    <a:pt x="2392" y="2959"/>
                  </a:lnTo>
                  <a:lnTo>
                    <a:pt x="2393" y="2948"/>
                  </a:lnTo>
                  <a:lnTo>
                    <a:pt x="2393" y="2941"/>
                  </a:lnTo>
                  <a:lnTo>
                    <a:pt x="2392" y="2932"/>
                  </a:lnTo>
                  <a:lnTo>
                    <a:pt x="2389" y="2925"/>
                  </a:lnTo>
                  <a:lnTo>
                    <a:pt x="2386" y="2916"/>
                  </a:lnTo>
                  <a:lnTo>
                    <a:pt x="2382" y="2909"/>
                  </a:lnTo>
                  <a:lnTo>
                    <a:pt x="2377" y="2901"/>
                  </a:lnTo>
                  <a:lnTo>
                    <a:pt x="2364" y="2885"/>
                  </a:lnTo>
                  <a:lnTo>
                    <a:pt x="2348" y="2869"/>
                  </a:lnTo>
                  <a:lnTo>
                    <a:pt x="2328" y="2853"/>
                  </a:lnTo>
                  <a:lnTo>
                    <a:pt x="2305" y="2837"/>
                  </a:lnTo>
                  <a:lnTo>
                    <a:pt x="2279" y="2822"/>
                  </a:lnTo>
                  <a:close/>
                  <a:moveTo>
                    <a:pt x="764" y="2894"/>
                  </a:moveTo>
                  <a:lnTo>
                    <a:pt x="764" y="2656"/>
                  </a:lnTo>
                  <a:lnTo>
                    <a:pt x="729" y="2645"/>
                  </a:lnTo>
                  <a:lnTo>
                    <a:pt x="696" y="2633"/>
                  </a:lnTo>
                  <a:lnTo>
                    <a:pt x="663" y="2619"/>
                  </a:lnTo>
                  <a:lnTo>
                    <a:pt x="632" y="2606"/>
                  </a:lnTo>
                  <a:lnTo>
                    <a:pt x="604" y="2591"/>
                  </a:lnTo>
                  <a:lnTo>
                    <a:pt x="577" y="2575"/>
                  </a:lnTo>
                  <a:lnTo>
                    <a:pt x="551" y="2559"/>
                  </a:lnTo>
                  <a:lnTo>
                    <a:pt x="529" y="2544"/>
                  </a:lnTo>
                  <a:lnTo>
                    <a:pt x="529" y="2716"/>
                  </a:lnTo>
                  <a:lnTo>
                    <a:pt x="531" y="2727"/>
                  </a:lnTo>
                  <a:lnTo>
                    <a:pt x="533" y="2739"/>
                  </a:lnTo>
                  <a:lnTo>
                    <a:pt x="538" y="2750"/>
                  </a:lnTo>
                  <a:lnTo>
                    <a:pt x="545" y="2761"/>
                  </a:lnTo>
                  <a:lnTo>
                    <a:pt x="554" y="2773"/>
                  </a:lnTo>
                  <a:lnTo>
                    <a:pt x="564" y="2784"/>
                  </a:lnTo>
                  <a:lnTo>
                    <a:pt x="576" y="2797"/>
                  </a:lnTo>
                  <a:lnTo>
                    <a:pt x="591" y="2808"/>
                  </a:lnTo>
                  <a:lnTo>
                    <a:pt x="606" y="2820"/>
                  </a:lnTo>
                  <a:lnTo>
                    <a:pt x="624" y="2831"/>
                  </a:lnTo>
                  <a:lnTo>
                    <a:pt x="643" y="2842"/>
                  </a:lnTo>
                  <a:lnTo>
                    <a:pt x="664" y="2853"/>
                  </a:lnTo>
                  <a:lnTo>
                    <a:pt x="686" y="2864"/>
                  </a:lnTo>
                  <a:lnTo>
                    <a:pt x="710" y="2875"/>
                  </a:lnTo>
                  <a:lnTo>
                    <a:pt x="736" y="2885"/>
                  </a:lnTo>
                  <a:lnTo>
                    <a:pt x="764" y="2894"/>
                  </a:lnTo>
                  <a:close/>
                  <a:moveTo>
                    <a:pt x="1142" y="2972"/>
                  </a:moveTo>
                  <a:lnTo>
                    <a:pt x="1142" y="2728"/>
                  </a:lnTo>
                  <a:lnTo>
                    <a:pt x="1069" y="2720"/>
                  </a:lnTo>
                  <a:lnTo>
                    <a:pt x="998" y="2710"/>
                  </a:lnTo>
                  <a:lnTo>
                    <a:pt x="928" y="2698"/>
                  </a:lnTo>
                  <a:lnTo>
                    <a:pt x="862" y="2683"/>
                  </a:lnTo>
                  <a:lnTo>
                    <a:pt x="862" y="2924"/>
                  </a:lnTo>
                  <a:lnTo>
                    <a:pt x="924" y="2939"/>
                  </a:lnTo>
                  <a:lnTo>
                    <a:pt x="993" y="2952"/>
                  </a:lnTo>
                  <a:lnTo>
                    <a:pt x="1065" y="2963"/>
                  </a:lnTo>
                  <a:lnTo>
                    <a:pt x="1142" y="2972"/>
                  </a:lnTo>
                  <a:close/>
                  <a:moveTo>
                    <a:pt x="1519" y="2978"/>
                  </a:moveTo>
                  <a:lnTo>
                    <a:pt x="1519" y="2734"/>
                  </a:lnTo>
                  <a:lnTo>
                    <a:pt x="1446" y="2737"/>
                  </a:lnTo>
                  <a:lnTo>
                    <a:pt x="1373" y="2738"/>
                  </a:lnTo>
                  <a:lnTo>
                    <a:pt x="1306" y="2738"/>
                  </a:lnTo>
                  <a:lnTo>
                    <a:pt x="1240" y="2734"/>
                  </a:lnTo>
                  <a:lnTo>
                    <a:pt x="1240" y="2979"/>
                  </a:lnTo>
                  <a:lnTo>
                    <a:pt x="1305" y="2981"/>
                  </a:lnTo>
                  <a:lnTo>
                    <a:pt x="1373" y="2983"/>
                  </a:lnTo>
                  <a:lnTo>
                    <a:pt x="1448" y="2981"/>
                  </a:lnTo>
                  <a:lnTo>
                    <a:pt x="1519" y="2978"/>
                  </a:lnTo>
                  <a:close/>
                  <a:moveTo>
                    <a:pt x="1616" y="2727"/>
                  </a:moveTo>
                  <a:lnTo>
                    <a:pt x="1616" y="2970"/>
                  </a:lnTo>
                  <a:lnTo>
                    <a:pt x="1693" y="2961"/>
                  </a:lnTo>
                  <a:lnTo>
                    <a:pt x="1766" y="2950"/>
                  </a:lnTo>
                  <a:lnTo>
                    <a:pt x="1834" y="2936"/>
                  </a:lnTo>
                  <a:lnTo>
                    <a:pt x="1896" y="2921"/>
                  </a:lnTo>
                  <a:lnTo>
                    <a:pt x="1896" y="2680"/>
                  </a:lnTo>
                  <a:lnTo>
                    <a:pt x="1830" y="2695"/>
                  </a:lnTo>
                  <a:lnTo>
                    <a:pt x="1761" y="2707"/>
                  </a:lnTo>
                  <a:lnTo>
                    <a:pt x="1690" y="2718"/>
                  </a:lnTo>
                  <a:lnTo>
                    <a:pt x="1616" y="2727"/>
                  </a:lnTo>
                  <a:close/>
                  <a:moveTo>
                    <a:pt x="1951" y="1998"/>
                  </a:moveTo>
                  <a:lnTo>
                    <a:pt x="1951" y="1998"/>
                  </a:lnTo>
                  <a:lnTo>
                    <a:pt x="1931" y="2014"/>
                  </a:lnTo>
                  <a:lnTo>
                    <a:pt x="1906" y="2030"/>
                  </a:lnTo>
                  <a:lnTo>
                    <a:pt x="1881" y="2045"/>
                  </a:lnTo>
                  <a:lnTo>
                    <a:pt x="1854" y="2058"/>
                  </a:lnTo>
                  <a:lnTo>
                    <a:pt x="1826" y="2072"/>
                  </a:lnTo>
                  <a:lnTo>
                    <a:pt x="1795" y="2084"/>
                  </a:lnTo>
                  <a:lnTo>
                    <a:pt x="1763" y="2096"/>
                  </a:lnTo>
                  <a:lnTo>
                    <a:pt x="1729" y="2107"/>
                  </a:lnTo>
                  <a:lnTo>
                    <a:pt x="1729" y="2345"/>
                  </a:lnTo>
                  <a:lnTo>
                    <a:pt x="1756" y="2336"/>
                  </a:lnTo>
                  <a:lnTo>
                    <a:pt x="1780" y="2326"/>
                  </a:lnTo>
                  <a:lnTo>
                    <a:pt x="1804" y="2315"/>
                  </a:lnTo>
                  <a:lnTo>
                    <a:pt x="1824" y="2305"/>
                  </a:lnTo>
                  <a:lnTo>
                    <a:pt x="1844" y="2294"/>
                  </a:lnTo>
                  <a:lnTo>
                    <a:pt x="1862" y="2283"/>
                  </a:lnTo>
                  <a:lnTo>
                    <a:pt x="1879" y="2272"/>
                  </a:lnTo>
                  <a:lnTo>
                    <a:pt x="1894" y="2261"/>
                  </a:lnTo>
                  <a:lnTo>
                    <a:pt x="1907" y="2249"/>
                  </a:lnTo>
                  <a:lnTo>
                    <a:pt x="1920" y="2238"/>
                  </a:lnTo>
                  <a:lnTo>
                    <a:pt x="1929" y="2227"/>
                  </a:lnTo>
                  <a:lnTo>
                    <a:pt x="1937" y="2216"/>
                  </a:lnTo>
                  <a:lnTo>
                    <a:pt x="1944" y="2205"/>
                  </a:lnTo>
                  <a:lnTo>
                    <a:pt x="1948" y="2193"/>
                  </a:lnTo>
                  <a:lnTo>
                    <a:pt x="1951" y="2182"/>
                  </a:lnTo>
                  <a:lnTo>
                    <a:pt x="1951" y="2172"/>
                  </a:lnTo>
                  <a:lnTo>
                    <a:pt x="1951" y="1998"/>
                  </a:lnTo>
                  <a:close/>
                  <a:moveTo>
                    <a:pt x="432" y="2430"/>
                  </a:moveTo>
                  <a:lnTo>
                    <a:pt x="432" y="2430"/>
                  </a:lnTo>
                  <a:lnTo>
                    <a:pt x="402" y="2418"/>
                  </a:lnTo>
                  <a:lnTo>
                    <a:pt x="374" y="2405"/>
                  </a:lnTo>
                  <a:lnTo>
                    <a:pt x="347" y="2392"/>
                  </a:lnTo>
                  <a:lnTo>
                    <a:pt x="323" y="2378"/>
                  </a:lnTo>
                  <a:lnTo>
                    <a:pt x="298" y="2364"/>
                  </a:lnTo>
                  <a:lnTo>
                    <a:pt x="278" y="2349"/>
                  </a:lnTo>
                  <a:lnTo>
                    <a:pt x="257" y="2334"/>
                  </a:lnTo>
                  <a:lnTo>
                    <a:pt x="238" y="2319"/>
                  </a:lnTo>
                  <a:lnTo>
                    <a:pt x="223" y="2301"/>
                  </a:lnTo>
                  <a:lnTo>
                    <a:pt x="208" y="2284"/>
                  </a:lnTo>
                  <a:lnTo>
                    <a:pt x="196" y="2267"/>
                  </a:lnTo>
                  <a:lnTo>
                    <a:pt x="186" y="2249"/>
                  </a:lnTo>
                  <a:lnTo>
                    <a:pt x="177" y="2230"/>
                  </a:lnTo>
                  <a:lnTo>
                    <a:pt x="171" y="2211"/>
                  </a:lnTo>
                  <a:lnTo>
                    <a:pt x="168" y="2191"/>
                  </a:lnTo>
                  <a:lnTo>
                    <a:pt x="166" y="2172"/>
                  </a:lnTo>
                  <a:lnTo>
                    <a:pt x="166" y="1829"/>
                  </a:lnTo>
                  <a:lnTo>
                    <a:pt x="168" y="1810"/>
                  </a:lnTo>
                  <a:lnTo>
                    <a:pt x="171" y="1790"/>
                  </a:lnTo>
                  <a:lnTo>
                    <a:pt x="177" y="1771"/>
                  </a:lnTo>
                  <a:lnTo>
                    <a:pt x="186" y="1752"/>
                  </a:lnTo>
                  <a:lnTo>
                    <a:pt x="196" y="1734"/>
                  </a:lnTo>
                  <a:lnTo>
                    <a:pt x="208" y="1717"/>
                  </a:lnTo>
                  <a:lnTo>
                    <a:pt x="223" y="1700"/>
                  </a:lnTo>
                  <a:lnTo>
                    <a:pt x="238" y="1683"/>
                  </a:lnTo>
                  <a:lnTo>
                    <a:pt x="257" y="1667"/>
                  </a:lnTo>
                  <a:lnTo>
                    <a:pt x="278" y="1652"/>
                  </a:lnTo>
                  <a:lnTo>
                    <a:pt x="298" y="1637"/>
                  </a:lnTo>
                  <a:lnTo>
                    <a:pt x="323" y="1623"/>
                  </a:lnTo>
                  <a:lnTo>
                    <a:pt x="347" y="1609"/>
                  </a:lnTo>
                  <a:lnTo>
                    <a:pt x="374" y="1596"/>
                  </a:lnTo>
                  <a:lnTo>
                    <a:pt x="402" y="1584"/>
                  </a:lnTo>
                  <a:lnTo>
                    <a:pt x="432" y="1571"/>
                  </a:lnTo>
                  <a:lnTo>
                    <a:pt x="432" y="1285"/>
                  </a:lnTo>
                  <a:lnTo>
                    <a:pt x="433" y="1263"/>
                  </a:lnTo>
                  <a:lnTo>
                    <a:pt x="437" y="1242"/>
                  </a:lnTo>
                  <a:lnTo>
                    <a:pt x="444" y="1223"/>
                  </a:lnTo>
                  <a:lnTo>
                    <a:pt x="452" y="1203"/>
                  </a:lnTo>
                  <a:lnTo>
                    <a:pt x="463" y="1184"/>
                  </a:lnTo>
                  <a:lnTo>
                    <a:pt x="478" y="1165"/>
                  </a:lnTo>
                  <a:lnTo>
                    <a:pt x="494" y="1147"/>
                  </a:lnTo>
                  <a:lnTo>
                    <a:pt x="512" y="1130"/>
                  </a:lnTo>
                  <a:lnTo>
                    <a:pt x="532" y="1114"/>
                  </a:lnTo>
                  <a:lnTo>
                    <a:pt x="555" y="1098"/>
                  </a:lnTo>
                  <a:lnTo>
                    <a:pt x="580" y="1082"/>
                  </a:lnTo>
                  <a:lnTo>
                    <a:pt x="605" y="1068"/>
                  </a:lnTo>
                  <a:lnTo>
                    <a:pt x="632" y="1054"/>
                  </a:lnTo>
                  <a:lnTo>
                    <a:pt x="661" y="1041"/>
                  </a:lnTo>
                  <a:lnTo>
                    <a:pt x="693" y="1028"/>
                  </a:lnTo>
                  <a:lnTo>
                    <a:pt x="725" y="1016"/>
                  </a:lnTo>
                  <a:lnTo>
                    <a:pt x="759" y="1005"/>
                  </a:lnTo>
                  <a:lnTo>
                    <a:pt x="795" y="994"/>
                  </a:lnTo>
                  <a:lnTo>
                    <a:pt x="830" y="984"/>
                  </a:lnTo>
                  <a:lnTo>
                    <a:pt x="868" y="975"/>
                  </a:lnTo>
                  <a:lnTo>
                    <a:pt x="906" y="966"/>
                  </a:lnTo>
                  <a:lnTo>
                    <a:pt x="945" y="959"/>
                  </a:lnTo>
                  <a:lnTo>
                    <a:pt x="986" y="951"/>
                  </a:lnTo>
                  <a:lnTo>
                    <a:pt x="1027" y="945"/>
                  </a:lnTo>
                  <a:lnTo>
                    <a:pt x="1069" y="939"/>
                  </a:lnTo>
                  <a:lnTo>
                    <a:pt x="1111" y="934"/>
                  </a:lnTo>
                  <a:lnTo>
                    <a:pt x="1154" y="931"/>
                  </a:lnTo>
                  <a:lnTo>
                    <a:pt x="1197" y="927"/>
                  </a:lnTo>
                  <a:lnTo>
                    <a:pt x="1241" y="924"/>
                  </a:lnTo>
                  <a:lnTo>
                    <a:pt x="1285" y="923"/>
                  </a:lnTo>
                  <a:lnTo>
                    <a:pt x="1329" y="922"/>
                  </a:lnTo>
                  <a:lnTo>
                    <a:pt x="1373" y="921"/>
                  </a:lnTo>
                  <a:lnTo>
                    <a:pt x="1376" y="921"/>
                  </a:lnTo>
                  <a:lnTo>
                    <a:pt x="1431" y="922"/>
                  </a:lnTo>
                  <a:lnTo>
                    <a:pt x="1484" y="923"/>
                  </a:lnTo>
                  <a:lnTo>
                    <a:pt x="1538" y="927"/>
                  </a:lnTo>
                  <a:lnTo>
                    <a:pt x="1592" y="931"/>
                  </a:lnTo>
                  <a:lnTo>
                    <a:pt x="1645" y="935"/>
                  </a:lnTo>
                  <a:lnTo>
                    <a:pt x="1696" y="942"/>
                  </a:lnTo>
                  <a:lnTo>
                    <a:pt x="1747" y="950"/>
                  </a:lnTo>
                  <a:lnTo>
                    <a:pt x="1796" y="959"/>
                  </a:lnTo>
                  <a:lnTo>
                    <a:pt x="1845" y="967"/>
                  </a:lnTo>
                  <a:lnTo>
                    <a:pt x="1892" y="978"/>
                  </a:lnTo>
                  <a:lnTo>
                    <a:pt x="1937" y="991"/>
                  </a:lnTo>
                  <a:lnTo>
                    <a:pt x="1981" y="1003"/>
                  </a:lnTo>
                  <a:lnTo>
                    <a:pt x="2022" y="1016"/>
                  </a:lnTo>
                  <a:lnTo>
                    <a:pt x="2062" y="1032"/>
                  </a:lnTo>
                  <a:lnTo>
                    <a:pt x="2099" y="1048"/>
                  </a:lnTo>
                  <a:lnTo>
                    <a:pt x="2134" y="1064"/>
                  </a:lnTo>
                  <a:lnTo>
                    <a:pt x="3195" y="4"/>
                  </a:lnTo>
                  <a:lnTo>
                    <a:pt x="4024" y="0"/>
                  </a:lnTo>
                  <a:lnTo>
                    <a:pt x="4019" y="829"/>
                  </a:lnTo>
                  <a:lnTo>
                    <a:pt x="2315" y="2498"/>
                  </a:lnTo>
                  <a:lnTo>
                    <a:pt x="2315" y="2716"/>
                  </a:lnTo>
                  <a:lnTo>
                    <a:pt x="2315" y="2729"/>
                  </a:lnTo>
                  <a:lnTo>
                    <a:pt x="2334" y="2740"/>
                  </a:lnTo>
                  <a:lnTo>
                    <a:pt x="2354" y="2751"/>
                  </a:lnTo>
                  <a:lnTo>
                    <a:pt x="2371" y="2764"/>
                  </a:lnTo>
                  <a:lnTo>
                    <a:pt x="2388" y="2776"/>
                  </a:lnTo>
                  <a:lnTo>
                    <a:pt x="2404" y="2788"/>
                  </a:lnTo>
                  <a:lnTo>
                    <a:pt x="2419" y="2800"/>
                  </a:lnTo>
                  <a:lnTo>
                    <a:pt x="2431" y="2814"/>
                  </a:lnTo>
                  <a:lnTo>
                    <a:pt x="2443" y="2827"/>
                  </a:lnTo>
                  <a:lnTo>
                    <a:pt x="2454" y="2841"/>
                  </a:lnTo>
                  <a:lnTo>
                    <a:pt x="2464" y="2855"/>
                  </a:lnTo>
                  <a:lnTo>
                    <a:pt x="2472" y="2870"/>
                  </a:lnTo>
                  <a:lnTo>
                    <a:pt x="2478" y="2885"/>
                  </a:lnTo>
                  <a:lnTo>
                    <a:pt x="2483" y="2901"/>
                  </a:lnTo>
                  <a:lnTo>
                    <a:pt x="2488" y="2915"/>
                  </a:lnTo>
                  <a:lnTo>
                    <a:pt x="2489" y="2931"/>
                  </a:lnTo>
                  <a:lnTo>
                    <a:pt x="2491" y="2948"/>
                  </a:lnTo>
                  <a:lnTo>
                    <a:pt x="2491" y="3289"/>
                  </a:lnTo>
                  <a:lnTo>
                    <a:pt x="2491" y="3303"/>
                  </a:lnTo>
                  <a:lnTo>
                    <a:pt x="2488" y="3316"/>
                  </a:lnTo>
                  <a:lnTo>
                    <a:pt x="2486" y="3330"/>
                  </a:lnTo>
                  <a:lnTo>
                    <a:pt x="2482" y="3342"/>
                  </a:lnTo>
                  <a:lnTo>
                    <a:pt x="2477" y="3355"/>
                  </a:lnTo>
                  <a:lnTo>
                    <a:pt x="2472" y="3368"/>
                  </a:lnTo>
                  <a:lnTo>
                    <a:pt x="2465" y="3380"/>
                  </a:lnTo>
                  <a:lnTo>
                    <a:pt x="2458" y="3391"/>
                  </a:lnTo>
                  <a:lnTo>
                    <a:pt x="2449" y="3403"/>
                  </a:lnTo>
                  <a:lnTo>
                    <a:pt x="2439" y="3414"/>
                  </a:lnTo>
                  <a:lnTo>
                    <a:pt x="2430" y="3425"/>
                  </a:lnTo>
                  <a:lnTo>
                    <a:pt x="2419" y="3436"/>
                  </a:lnTo>
                  <a:lnTo>
                    <a:pt x="2394" y="3457"/>
                  </a:lnTo>
                  <a:lnTo>
                    <a:pt x="2366" y="3478"/>
                  </a:lnTo>
                  <a:lnTo>
                    <a:pt x="2335" y="3496"/>
                  </a:lnTo>
                  <a:lnTo>
                    <a:pt x="2301" y="3514"/>
                  </a:lnTo>
                  <a:lnTo>
                    <a:pt x="2266" y="3532"/>
                  </a:lnTo>
                  <a:lnTo>
                    <a:pt x="2227" y="3547"/>
                  </a:lnTo>
                  <a:lnTo>
                    <a:pt x="2185" y="3562"/>
                  </a:lnTo>
                  <a:lnTo>
                    <a:pt x="2142" y="3576"/>
                  </a:lnTo>
                  <a:lnTo>
                    <a:pt x="2097" y="3589"/>
                  </a:lnTo>
                  <a:lnTo>
                    <a:pt x="2049" y="3600"/>
                  </a:lnTo>
                  <a:lnTo>
                    <a:pt x="2049" y="3780"/>
                  </a:lnTo>
                  <a:lnTo>
                    <a:pt x="2079" y="3792"/>
                  </a:lnTo>
                  <a:lnTo>
                    <a:pt x="2107" y="3804"/>
                  </a:lnTo>
                  <a:lnTo>
                    <a:pt x="2134" y="3817"/>
                  </a:lnTo>
                  <a:lnTo>
                    <a:pt x="2159" y="3830"/>
                  </a:lnTo>
                  <a:lnTo>
                    <a:pt x="2183" y="3845"/>
                  </a:lnTo>
                  <a:lnTo>
                    <a:pt x="2205" y="3859"/>
                  </a:lnTo>
                  <a:lnTo>
                    <a:pt x="2224" y="3875"/>
                  </a:lnTo>
                  <a:lnTo>
                    <a:pt x="2242" y="3891"/>
                  </a:lnTo>
                  <a:lnTo>
                    <a:pt x="2258" y="3907"/>
                  </a:lnTo>
                  <a:lnTo>
                    <a:pt x="2273" y="3924"/>
                  </a:lnTo>
                  <a:lnTo>
                    <a:pt x="2285" y="3941"/>
                  </a:lnTo>
                  <a:lnTo>
                    <a:pt x="2296" y="3960"/>
                  </a:lnTo>
                  <a:lnTo>
                    <a:pt x="2304" y="3978"/>
                  </a:lnTo>
                  <a:lnTo>
                    <a:pt x="2310" y="3997"/>
                  </a:lnTo>
                  <a:lnTo>
                    <a:pt x="2313" y="4017"/>
                  </a:lnTo>
                  <a:lnTo>
                    <a:pt x="2315" y="4038"/>
                  </a:lnTo>
                  <a:lnTo>
                    <a:pt x="2315" y="4379"/>
                  </a:lnTo>
                  <a:lnTo>
                    <a:pt x="2313" y="4401"/>
                  </a:lnTo>
                  <a:lnTo>
                    <a:pt x="2310" y="4422"/>
                  </a:lnTo>
                  <a:lnTo>
                    <a:pt x="2302" y="4441"/>
                  </a:lnTo>
                  <a:lnTo>
                    <a:pt x="2294" y="4461"/>
                  </a:lnTo>
                  <a:lnTo>
                    <a:pt x="2282" y="4481"/>
                  </a:lnTo>
                  <a:lnTo>
                    <a:pt x="2268" y="4499"/>
                  </a:lnTo>
                  <a:lnTo>
                    <a:pt x="2252" y="4517"/>
                  </a:lnTo>
                  <a:lnTo>
                    <a:pt x="2234" y="4534"/>
                  </a:lnTo>
                  <a:lnTo>
                    <a:pt x="2213" y="4550"/>
                  </a:lnTo>
                  <a:lnTo>
                    <a:pt x="2191" y="4566"/>
                  </a:lnTo>
                  <a:lnTo>
                    <a:pt x="2167" y="4582"/>
                  </a:lnTo>
                  <a:lnTo>
                    <a:pt x="2141" y="4597"/>
                  </a:lnTo>
                  <a:lnTo>
                    <a:pt x="2113" y="4610"/>
                  </a:lnTo>
                  <a:lnTo>
                    <a:pt x="2084" y="4624"/>
                  </a:lnTo>
                  <a:lnTo>
                    <a:pt x="2053" y="4636"/>
                  </a:lnTo>
                  <a:lnTo>
                    <a:pt x="2021" y="4648"/>
                  </a:lnTo>
                  <a:lnTo>
                    <a:pt x="1987" y="4659"/>
                  </a:lnTo>
                  <a:lnTo>
                    <a:pt x="1951" y="4670"/>
                  </a:lnTo>
                  <a:lnTo>
                    <a:pt x="1916" y="4680"/>
                  </a:lnTo>
                  <a:lnTo>
                    <a:pt x="1878" y="4690"/>
                  </a:lnTo>
                  <a:lnTo>
                    <a:pt x="1840" y="4697"/>
                  </a:lnTo>
                  <a:lnTo>
                    <a:pt x="1800" y="4706"/>
                  </a:lnTo>
                  <a:lnTo>
                    <a:pt x="1760" y="4713"/>
                  </a:lnTo>
                  <a:lnTo>
                    <a:pt x="1719" y="4719"/>
                  </a:lnTo>
                  <a:lnTo>
                    <a:pt x="1678" y="4724"/>
                  </a:lnTo>
                  <a:lnTo>
                    <a:pt x="1635" y="4729"/>
                  </a:lnTo>
                  <a:lnTo>
                    <a:pt x="1592" y="4734"/>
                  </a:lnTo>
                  <a:lnTo>
                    <a:pt x="1549" y="4737"/>
                  </a:lnTo>
                  <a:lnTo>
                    <a:pt x="1505" y="4740"/>
                  </a:lnTo>
                  <a:lnTo>
                    <a:pt x="1461" y="4741"/>
                  </a:lnTo>
                  <a:lnTo>
                    <a:pt x="1417" y="4742"/>
                  </a:lnTo>
                  <a:lnTo>
                    <a:pt x="1373" y="4743"/>
                  </a:lnTo>
                  <a:lnTo>
                    <a:pt x="1329" y="4742"/>
                  </a:lnTo>
                  <a:lnTo>
                    <a:pt x="1285" y="4741"/>
                  </a:lnTo>
                  <a:lnTo>
                    <a:pt x="1241" y="4740"/>
                  </a:lnTo>
                  <a:lnTo>
                    <a:pt x="1197" y="4737"/>
                  </a:lnTo>
                  <a:lnTo>
                    <a:pt x="1154" y="4734"/>
                  </a:lnTo>
                  <a:lnTo>
                    <a:pt x="1111" y="4729"/>
                  </a:lnTo>
                  <a:lnTo>
                    <a:pt x="1069" y="4724"/>
                  </a:lnTo>
                  <a:lnTo>
                    <a:pt x="1027" y="4719"/>
                  </a:lnTo>
                  <a:lnTo>
                    <a:pt x="986" y="4713"/>
                  </a:lnTo>
                  <a:lnTo>
                    <a:pt x="946" y="4706"/>
                  </a:lnTo>
                  <a:lnTo>
                    <a:pt x="906" y="4697"/>
                  </a:lnTo>
                  <a:lnTo>
                    <a:pt x="868" y="4690"/>
                  </a:lnTo>
                  <a:lnTo>
                    <a:pt x="830" y="4680"/>
                  </a:lnTo>
                  <a:lnTo>
                    <a:pt x="795" y="4670"/>
                  </a:lnTo>
                  <a:lnTo>
                    <a:pt x="759" y="4659"/>
                  </a:lnTo>
                  <a:lnTo>
                    <a:pt x="725" y="4648"/>
                  </a:lnTo>
                  <a:lnTo>
                    <a:pt x="693" y="4636"/>
                  </a:lnTo>
                  <a:lnTo>
                    <a:pt x="663" y="4624"/>
                  </a:lnTo>
                  <a:lnTo>
                    <a:pt x="633" y="4610"/>
                  </a:lnTo>
                  <a:lnTo>
                    <a:pt x="605" y="4597"/>
                  </a:lnTo>
                  <a:lnTo>
                    <a:pt x="580" y="4582"/>
                  </a:lnTo>
                  <a:lnTo>
                    <a:pt x="555" y="4566"/>
                  </a:lnTo>
                  <a:lnTo>
                    <a:pt x="533" y="4550"/>
                  </a:lnTo>
                  <a:lnTo>
                    <a:pt x="512" y="4534"/>
                  </a:lnTo>
                  <a:lnTo>
                    <a:pt x="494" y="4517"/>
                  </a:lnTo>
                  <a:lnTo>
                    <a:pt x="478" y="4499"/>
                  </a:lnTo>
                  <a:lnTo>
                    <a:pt x="463" y="4481"/>
                  </a:lnTo>
                  <a:lnTo>
                    <a:pt x="452" y="4461"/>
                  </a:lnTo>
                  <a:lnTo>
                    <a:pt x="444" y="4441"/>
                  </a:lnTo>
                  <a:lnTo>
                    <a:pt x="437" y="4422"/>
                  </a:lnTo>
                  <a:lnTo>
                    <a:pt x="433" y="4401"/>
                  </a:lnTo>
                  <a:lnTo>
                    <a:pt x="432" y="4379"/>
                  </a:lnTo>
                  <a:lnTo>
                    <a:pt x="432" y="4342"/>
                  </a:lnTo>
                  <a:lnTo>
                    <a:pt x="0" y="4763"/>
                  </a:lnTo>
                  <a:lnTo>
                    <a:pt x="0" y="4489"/>
                  </a:lnTo>
                  <a:lnTo>
                    <a:pt x="413" y="4086"/>
                  </a:lnTo>
                  <a:lnTo>
                    <a:pt x="386" y="4073"/>
                  </a:lnTo>
                  <a:lnTo>
                    <a:pt x="359" y="4061"/>
                  </a:lnTo>
                  <a:lnTo>
                    <a:pt x="335" y="4049"/>
                  </a:lnTo>
                  <a:lnTo>
                    <a:pt x="312" y="4035"/>
                  </a:lnTo>
                  <a:lnTo>
                    <a:pt x="290" y="4022"/>
                  </a:lnTo>
                  <a:lnTo>
                    <a:pt x="269" y="4007"/>
                  </a:lnTo>
                  <a:lnTo>
                    <a:pt x="251" y="3991"/>
                  </a:lnTo>
                  <a:lnTo>
                    <a:pt x="234" y="3977"/>
                  </a:lnTo>
                  <a:lnTo>
                    <a:pt x="219" y="3961"/>
                  </a:lnTo>
                  <a:lnTo>
                    <a:pt x="205" y="3944"/>
                  </a:lnTo>
                  <a:lnTo>
                    <a:pt x="193" y="3927"/>
                  </a:lnTo>
                  <a:lnTo>
                    <a:pt x="183" y="3909"/>
                  </a:lnTo>
                  <a:lnTo>
                    <a:pt x="176" y="3891"/>
                  </a:lnTo>
                  <a:lnTo>
                    <a:pt x="171" y="3873"/>
                  </a:lnTo>
                  <a:lnTo>
                    <a:pt x="168" y="3854"/>
                  </a:lnTo>
                  <a:lnTo>
                    <a:pt x="166" y="3835"/>
                  </a:lnTo>
                  <a:lnTo>
                    <a:pt x="166" y="3492"/>
                  </a:lnTo>
                  <a:lnTo>
                    <a:pt x="168" y="3479"/>
                  </a:lnTo>
                  <a:lnTo>
                    <a:pt x="169" y="3466"/>
                  </a:lnTo>
                  <a:lnTo>
                    <a:pt x="171" y="3453"/>
                  </a:lnTo>
                  <a:lnTo>
                    <a:pt x="175" y="3440"/>
                  </a:lnTo>
                  <a:lnTo>
                    <a:pt x="180" y="3428"/>
                  </a:lnTo>
                  <a:lnTo>
                    <a:pt x="186" y="3415"/>
                  </a:lnTo>
                  <a:lnTo>
                    <a:pt x="192" y="3403"/>
                  </a:lnTo>
                  <a:lnTo>
                    <a:pt x="199" y="3391"/>
                  </a:lnTo>
                  <a:lnTo>
                    <a:pt x="208" y="3380"/>
                  </a:lnTo>
                  <a:lnTo>
                    <a:pt x="218" y="3368"/>
                  </a:lnTo>
                  <a:lnTo>
                    <a:pt x="227" y="3357"/>
                  </a:lnTo>
                  <a:lnTo>
                    <a:pt x="238" y="3346"/>
                  </a:lnTo>
                  <a:lnTo>
                    <a:pt x="263" y="3325"/>
                  </a:lnTo>
                  <a:lnTo>
                    <a:pt x="291" y="3305"/>
                  </a:lnTo>
                  <a:lnTo>
                    <a:pt x="322" y="3286"/>
                  </a:lnTo>
                  <a:lnTo>
                    <a:pt x="356" y="3267"/>
                  </a:lnTo>
                  <a:lnTo>
                    <a:pt x="392" y="3250"/>
                  </a:lnTo>
                  <a:lnTo>
                    <a:pt x="430" y="3234"/>
                  </a:lnTo>
                  <a:lnTo>
                    <a:pt x="472" y="3220"/>
                  </a:lnTo>
                  <a:lnTo>
                    <a:pt x="515" y="3206"/>
                  </a:lnTo>
                  <a:lnTo>
                    <a:pt x="560" y="3194"/>
                  </a:lnTo>
                  <a:lnTo>
                    <a:pt x="608" y="3182"/>
                  </a:lnTo>
                  <a:lnTo>
                    <a:pt x="608" y="3282"/>
                  </a:lnTo>
                  <a:lnTo>
                    <a:pt x="567" y="3293"/>
                  </a:lnTo>
                  <a:lnTo>
                    <a:pt x="531" y="3304"/>
                  </a:lnTo>
                  <a:lnTo>
                    <a:pt x="495" y="3315"/>
                  </a:lnTo>
                  <a:lnTo>
                    <a:pt x="462" y="3327"/>
                  </a:lnTo>
                  <a:lnTo>
                    <a:pt x="432" y="3341"/>
                  </a:lnTo>
                  <a:lnTo>
                    <a:pt x="404" y="3354"/>
                  </a:lnTo>
                  <a:lnTo>
                    <a:pt x="378" y="3368"/>
                  </a:lnTo>
                  <a:lnTo>
                    <a:pt x="355" y="3381"/>
                  </a:lnTo>
                  <a:lnTo>
                    <a:pt x="334" y="3395"/>
                  </a:lnTo>
                  <a:lnTo>
                    <a:pt x="315" y="3409"/>
                  </a:lnTo>
                  <a:lnTo>
                    <a:pt x="300" y="3423"/>
                  </a:lnTo>
                  <a:lnTo>
                    <a:pt x="287" y="3437"/>
                  </a:lnTo>
                  <a:lnTo>
                    <a:pt x="278" y="3451"/>
                  </a:lnTo>
                  <a:lnTo>
                    <a:pt x="270" y="3466"/>
                  </a:lnTo>
                  <a:lnTo>
                    <a:pt x="265" y="3479"/>
                  </a:lnTo>
                  <a:lnTo>
                    <a:pt x="264" y="3492"/>
                  </a:lnTo>
                  <a:lnTo>
                    <a:pt x="265" y="3503"/>
                  </a:lnTo>
                  <a:lnTo>
                    <a:pt x="268" y="3514"/>
                  </a:lnTo>
                  <a:lnTo>
                    <a:pt x="273" y="3527"/>
                  </a:lnTo>
                  <a:lnTo>
                    <a:pt x="280" y="3538"/>
                  </a:lnTo>
                  <a:lnTo>
                    <a:pt x="287" y="3549"/>
                  </a:lnTo>
                  <a:lnTo>
                    <a:pt x="298" y="3561"/>
                  </a:lnTo>
                  <a:lnTo>
                    <a:pt x="311" y="3572"/>
                  </a:lnTo>
                  <a:lnTo>
                    <a:pt x="324" y="3583"/>
                  </a:lnTo>
                  <a:lnTo>
                    <a:pt x="339" y="3595"/>
                  </a:lnTo>
                  <a:lnTo>
                    <a:pt x="356" y="3606"/>
                  </a:lnTo>
                  <a:lnTo>
                    <a:pt x="375" y="3617"/>
                  </a:lnTo>
                  <a:lnTo>
                    <a:pt x="395" y="3628"/>
                  </a:lnTo>
                  <a:lnTo>
                    <a:pt x="418" y="3639"/>
                  </a:lnTo>
                  <a:lnTo>
                    <a:pt x="441" y="3649"/>
                  </a:lnTo>
                  <a:lnTo>
                    <a:pt x="466" y="3660"/>
                  </a:lnTo>
                  <a:lnTo>
                    <a:pt x="493" y="3670"/>
                  </a:lnTo>
                  <a:lnTo>
                    <a:pt x="521" y="3678"/>
                  </a:lnTo>
                  <a:lnTo>
                    <a:pt x="551" y="3688"/>
                  </a:lnTo>
                  <a:lnTo>
                    <a:pt x="582" y="3697"/>
                  </a:lnTo>
                  <a:lnTo>
                    <a:pt x="615" y="3705"/>
                  </a:lnTo>
                  <a:lnTo>
                    <a:pt x="649" y="3713"/>
                  </a:lnTo>
                  <a:lnTo>
                    <a:pt x="685" y="3720"/>
                  </a:lnTo>
                  <a:lnTo>
                    <a:pt x="721" y="3727"/>
                  </a:lnTo>
                  <a:lnTo>
                    <a:pt x="759" y="3733"/>
                  </a:lnTo>
                  <a:lnTo>
                    <a:pt x="798" y="3739"/>
                  </a:lnTo>
                  <a:lnTo>
                    <a:pt x="839" y="3744"/>
                  </a:lnTo>
                  <a:lnTo>
                    <a:pt x="880" y="3748"/>
                  </a:lnTo>
                  <a:lnTo>
                    <a:pt x="924" y="3752"/>
                  </a:lnTo>
                  <a:lnTo>
                    <a:pt x="968" y="3755"/>
                  </a:lnTo>
                  <a:lnTo>
                    <a:pt x="1014" y="3757"/>
                  </a:lnTo>
                  <a:lnTo>
                    <a:pt x="1060" y="3758"/>
                  </a:lnTo>
                  <a:lnTo>
                    <a:pt x="1108" y="3759"/>
                  </a:lnTo>
                  <a:lnTo>
                    <a:pt x="1164" y="3758"/>
                  </a:lnTo>
                  <a:lnTo>
                    <a:pt x="1218" y="3757"/>
                  </a:lnTo>
                  <a:lnTo>
                    <a:pt x="1270" y="3754"/>
                  </a:lnTo>
                  <a:lnTo>
                    <a:pt x="1322" y="3749"/>
                  </a:lnTo>
                  <a:lnTo>
                    <a:pt x="1371" y="3744"/>
                  </a:lnTo>
                  <a:lnTo>
                    <a:pt x="1418" y="3739"/>
                  </a:lnTo>
                  <a:lnTo>
                    <a:pt x="1465" y="3732"/>
                  </a:lnTo>
                  <a:lnTo>
                    <a:pt x="1509" y="3725"/>
                  </a:lnTo>
                  <a:lnTo>
                    <a:pt x="1552" y="3716"/>
                  </a:lnTo>
                  <a:lnTo>
                    <a:pt x="1592" y="3708"/>
                  </a:lnTo>
                  <a:lnTo>
                    <a:pt x="1630" y="3698"/>
                  </a:lnTo>
                  <a:lnTo>
                    <a:pt x="1667" y="3688"/>
                  </a:lnTo>
                  <a:lnTo>
                    <a:pt x="1701" y="3677"/>
                  </a:lnTo>
                  <a:lnTo>
                    <a:pt x="1734" y="3666"/>
                  </a:lnTo>
                  <a:lnTo>
                    <a:pt x="1764" y="3654"/>
                  </a:lnTo>
                  <a:lnTo>
                    <a:pt x="1793" y="3642"/>
                  </a:lnTo>
                  <a:lnTo>
                    <a:pt x="1733" y="3647"/>
                  </a:lnTo>
                  <a:lnTo>
                    <a:pt x="1671" y="3650"/>
                  </a:lnTo>
                  <a:lnTo>
                    <a:pt x="1610" y="3653"/>
                  </a:lnTo>
                  <a:lnTo>
                    <a:pt x="1549" y="3654"/>
                  </a:lnTo>
                  <a:lnTo>
                    <a:pt x="1505" y="3653"/>
                  </a:lnTo>
                  <a:lnTo>
                    <a:pt x="1461" y="3651"/>
                  </a:lnTo>
                  <a:lnTo>
                    <a:pt x="1417" y="3650"/>
                  </a:lnTo>
                  <a:lnTo>
                    <a:pt x="1373" y="3648"/>
                  </a:lnTo>
                  <a:lnTo>
                    <a:pt x="1330" y="3644"/>
                  </a:lnTo>
                  <a:lnTo>
                    <a:pt x="1288" y="3639"/>
                  </a:lnTo>
                  <a:lnTo>
                    <a:pt x="1245" y="3634"/>
                  </a:lnTo>
                  <a:lnTo>
                    <a:pt x="1203" y="3629"/>
                  </a:lnTo>
                  <a:lnTo>
                    <a:pt x="1162" y="3623"/>
                  </a:lnTo>
                  <a:lnTo>
                    <a:pt x="1122" y="3616"/>
                  </a:lnTo>
                  <a:lnTo>
                    <a:pt x="1082" y="3607"/>
                  </a:lnTo>
                  <a:lnTo>
                    <a:pt x="1044" y="3599"/>
                  </a:lnTo>
                  <a:lnTo>
                    <a:pt x="1006" y="3590"/>
                  </a:lnTo>
                  <a:lnTo>
                    <a:pt x="971" y="3581"/>
                  </a:lnTo>
                  <a:lnTo>
                    <a:pt x="935" y="3569"/>
                  </a:lnTo>
                  <a:lnTo>
                    <a:pt x="901" y="3558"/>
                  </a:lnTo>
                  <a:lnTo>
                    <a:pt x="869" y="3546"/>
                  </a:lnTo>
                  <a:lnTo>
                    <a:pt x="839" y="3534"/>
                  </a:lnTo>
                  <a:lnTo>
                    <a:pt x="809" y="3521"/>
                  </a:lnTo>
                  <a:lnTo>
                    <a:pt x="781" y="3507"/>
                  </a:lnTo>
                  <a:lnTo>
                    <a:pt x="756" y="3492"/>
                  </a:lnTo>
                  <a:lnTo>
                    <a:pt x="731" y="3477"/>
                  </a:lnTo>
                  <a:lnTo>
                    <a:pt x="709" y="3461"/>
                  </a:lnTo>
                  <a:lnTo>
                    <a:pt x="688" y="3445"/>
                  </a:lnTo>
                  <a:lnTo>
                    <a:pt x="670" y="3426"/>
                  </a:lnTo>
                  <a:lnTo>
                    <a:pt x="654" y="3409"/>
                  </a:lnTo>
                  <a:lnTo>
                    <a:pt x="639" y="3391"/>
                  </a:lnTo>
                  <a:lnTo>
                    <a:pt x="628" y="3371"/>
                  </a:lnTo>
                  <a:lnTo>
                    <a:pt x="620" y="3352"/>
                  </a:lnTo>
                  <a:lnTo>
                    <a:pt x="613" y="3332"/>
                  </a:lnTo>
                  <a:lnTo>
                    <a:pt x="609" y="3311"/>
                  </a:lnTo>
                  <a:lnTo>
                    <a:pt x="608" y="3289"/>
                  </a:lnTo>
                  <a:lnTo>
                    <a:pt x="608" y="2948"/>
                  </a:lnTo>
                  <a:lnTo>
                    <a:pt x="608" y="2935"/>
                  </a:lnTo>
                  <a:lnTo>
                    <a:pt x="588" y="2924"/>
                  </a:lnTo>
                  <a:lnTo>
                    <a:pt x="569" y="2913"/>
                  </a:lnTo>
                  <a:lnTo>
                    <a:pt x="551" y="2901"/>
                  </a:lnTo>
                  <a:lnTo>
                    <a:pt x="534" y="2888"/>
                  </a:lnTo>
                  <a:lnTo>
                    <a:pt x="518" y="2876"/>
                  </a:lnTo>
                  <a:lnTo>
                    <a:pt x="504" y="2864"/>
                  </a:lnTo>
                  <a:lnTo>
                    <a:pt x="490" y="2850"/>
                  </a:lnTo>
                  <a:lnTo>
                    <a:pt x="478" y="2837"/>
                  </a:lnTo>
                  <a:lnTo>
                    <a:pt x="468" y="2822"/>
                  </a:lnTo>
                  <a:lnTo>
                    <a:pt x="459" y="2809"/>
                  </a:lnTo>
                  <a:lnTo>
                    <a:pt x="450" y="2794"/>
                  </a:lnTo>
                  <a:lnTo>
                    <a:pt x="444" y="2780"/>
                  </a:lnTo>
                  <a:lnTo>
                    <a:pt x="438" y="2764"/>
                  </a:lnTo>
                  <a:lnTo>
                    <a:pt x="434" y="2749"/>
                  </a:lnTo>
                  <a:lnTo>
                    <a:pt x="432" y="2732"/>
                  </a:lnTo>
                  <a:lnTo>
                    <a:pt x="432" y="2716"/>
                  </a:lnTo>
                  <a:lnTo>
                    <a:pt x="432" y="2430"/>
                  </a:lnTo>
                  <a:close/>
                  <a:moveTo>
                    <a:pt x="2043" y="2219"/>
                  </a:moveTo>
                  <a:lnTo>
                    <a:pt x="2043" y="2219"/>
                  </a:lnTo>
                  <a:lnTo>
                    <a:pt x="2036" y="2238"/>
                  </a:lnTo>
                  <a:lnTo>
                    <a:pt x="2027" y="2256"/>
                  </a:lnTo>
                  <a:lnTo>
                    <a:pt x="2016" y="2273"/>
                  </a:lnTo>
                  <a:lnTo>
                    <a:pt x="2003" y="2290"/>
                  </a:lnTo>
                  <a:lnTo>
                    <a:pt x="1988" y="2308"/>
                  </a:lnTo>
                  <a:lnTo>
                    <a:pt x="1972" y="2323"/>
                  </a:lnTo>
                  <a:lnTo>
                    <a:pt x="1953" y="2339"/>
                  </a:lnTo>
                  <a:lnTo>
                    <a:pt x="1933" y="2354"/>
                  </a:lnTo>
                  <a:lnTo>
                    <a:pt x="1911" y="2369"/>
                  </a:lnTo>
                  <a:lnTo>
                    <a:pt x="1888" y="2382"/>
                  </a:lnTo>
                  <a:lnTo>
                    <a:pt x="1862" y="2396"/>
                  </a:lnTo>
                  <a:lnTo>
                    <a:pt x="1837" y="2408"/>
                  </a:lnTo>
                  <a:lnTo>
                    <a:pt x="1808" y="2420"/>
                  </a:lnTo>
                  <a:lnTo>
                    <a:pt x="1779" y="2432"/>
                  </a:lnTo>
                  <a:lnTo>
                    <a:pt x="1749" y="2442"/>
                  </a:lnTo>
                  <a:lnTo>
                    <a:pt x="1717" y="2453"/>
                  </a:lnTo>
                  <a:lnTo>
                    <a:pt x="1685" y="2463"/>
                  </a:lnTo>
                  <a:lnTo>
                    <a:pt x="1651" y="2471"/>
                  </a:lnTo>
                  <a:lnTo>
                    <a:pt x="1616" y="2480"/>
                  </a:lnTo>
                  <a:lnTo>
                    <a:pt x="1581" y="2488"/>
                  </a:lnTo>
                  <a:lnTo>
                    <a:pt x="1544" y="2496"/>
                  </a:lnTo>
                  <a:lnTo>
                    <a:pt x="1506" y="2503"/>
                  </a:lnTo>
                  <a:lnTo>
                    <a:pt x="1431" y="2514"/>
                  </a:lnTo>
                  <a:lnTo>
                    <a:pt x="1352" y="2523"/>
                  </a:lnTo>
                  <a:lnTo>
                    <a:pt x="1272" y="2530"/>
                  </a:lnTo>
                  <a:lnTo>
                    <a:pt x="1190" y="2534"/>
                  </a:lnTo>
                  <a:lnTo>
                    <a:pt x="1108" y="2535"/>
                  </a:lnTo>
                  <a:lnTo>
                    <a:pt x="1044" y="2534"/>
                  </a:lnTo>
                  <a:lnTo>
                    <a:pt x="979" y="2531"/>
                  </a:lnTo>
                  <a:lnTo>
                    <a:pt x="916" y="2528"/>
                  </a:lnTo>
                  <a:lnTo>
                    <a:pt x="853" y="2523"/>
                  </a:lnTo>
                  <a:lnTo>
                    <a:pt x="791" y="2515"/>
                  </a:lnTo>
                  <a:lnTo>
                    <a:pt x="731" y="2506"/>
                  </a:lnTo>
                  <a:lnTo>
                    <a:pt x="673" y="2496"/>
                  </a:lnTo>
                  <a:lnTo>
                    <a:pt x="615" y="2484"/>
                  </a:lnTo>
                  <a:lnTo>
                    <a:pt x="641" y="2500"/>
                  </a:lnTo>
                  <a:lnTo>
                    <a:pt x="670" y="2514"/>
                  </a:lnTo>
                  <a:lnTo>
                    <a:pt x="702" y="2529"/>
                  </a:lnTo>
                  <a:lnTo>
                    <a:pt x="737" y="2544"/>
                  </a:lnTo>
                  <a:lnTo>
                    <a:pt x="776" y="2557"/>
                  </a:lnTo>
                  <a:lnTo>
                    <a:pt x="817" y="2570"/>
                  </a:lnTo>
                  <a:lnTo>
                    <a:pt x="861" y="2583"/>
                  </a:lnTo>
                  <a:lnTo>
                    <a:pt x="907" y="2594"/>
                  </a:lnTo>
                  <a:lnTo>
                    <a:pt x="957" y="2603"/>
                  </a:lnTo>
                  <a:lnTo>
                    <a:pt x="1010" y="2613"/>
                  </a:lnTo>
                  <a:lnTo>
                    <a:pt x="1064" y="2621"/>
                  </a:lnTo>
                  <a:lnTo>
                    <a:pt x="1121" y="2628"/>
                  </a:lnTo>
                  <a:lnTo>
                    <a:pt x="1181" y="2633"/>
                  </a:lnTo>
                  <a:lnTo>
                    <a:pt x="1242" y="2638"/>
                  </a:lnTo>
                  <a:lnTo>
                    <a:pt x="1307" y="2640"/>
                  </a:lnTo>
                  <a:lnTo>
                    <a:pt x="1373" y="2640"/>
                  </a:lnTo>
                  <a:lnTo>
                    <a:pt x="1421" y="2640"/>
                  </a:lnTo>
                  <a:lnTo>
                    <a:pt x="1467" y="2639"/>
                  </a:lnTo>
                  <a:lnTo>
                    <a:pt x="1513" y="2636"/>
                  </a:lnTo>
                  <a:lnTo>
                    <a:pt x="1557" y="2634"/>
                  </a:lnTo>
                  <a:lnTo>
                    <a:pt x="1601" y="2630"/>
                  </a:lnTo>
                  <a:lnTo>
                    <a:pt x="1642" y="2625"/>
                  </a:lnTo>
                  <a:lnTo>
                    <a:pt x="1682" y="2621"/>
                  </a:lnTo>
                  <a:lnTo>
                    <a:pt x="1722" y="2616"/>
                  </a:lnTo>
                  <a:lnTo>
                    <a:pt x="1761" y="2610"/>
                  </a:lnTo>
                  <a:lnTo>
                    <a:pt x="1797" y="2602"/>
                  </a:lnTo>
                  <a:lnTo>
                    <a:pt x="1833" y="2595"/>
                  </a:lnTo>
                  <a:lnTo>
                    <a:pt x="1866" y="2588"/>
                  </a:lnTo>
                  <a:lnTo>
                    <a:pt x="1899" y="2579"/>
                  </a:lnTo>
                  <a:lnTo>
                    <a:pt x="1931" y="2570"/>
                  </a:lnTo>
                  <a:lnTo>
                    <a:pt x="1960" y="2561"/>
                  </a:lnTo>
                  <a:lnTo>
                    <a:pt x="1988" y="2551"/>
                  </a:lnTo>
                  <a:lnTo>
                    <a:pt x="2015" y="2541"/>
                  </a:lnTo>
                  <a:lnTo>
                    <a:pt x="2040" y="2531"/>
                  </a:lnTo>
                  <a:lnTo>
                    <a:pt x="2064" y="2520"/>
                  </a:lnTo>
                  <a:lnTo>
                    <a:pt x="2086" y="2509"/>
                  </a:lnTo>
                  <a:lnTo>
                    <a:pt x="2106" y="2498"/>
                  </a:lnTo>
                  <a:lnTo>
                    <a:pt x="2125" y="2487"/>
                  </a:lnTo>
                  <a:lnTo>
                    <a:pt x="2142" y="2476"/>
                  </a:lnTo>
                  <a:lnTo>
                    <a:pt x="2157" y="2465"/>
                  </a:lnTo>
                  <a:lnTo>
                    <a:pt x="2172" y="2454"/>
                  </a:lnTo>
                  <a:lnTo>
                    <a:pt x="2183" y="2442"/>
                  </a:lnTo>
                  <a:lnTo>
                    <a:pt x="2194" y="2431"/>
                  </a:lnTo>
                  <a:lnTo>
                    <a:pt x="2202" y="2419"/>
                  </a:lnTo>
                  <a:lnTo>
                    <a:pt x="2208" y="2408"/>
                  </a:lnTo>
                  <a:lnTo>
                    <a:pt x="2213" y="2397"/>
                  </a:lnTo>
                  <a:lnTo>
                    <a:pt x="2216" y="2386"/>
                  </a:lnTo>
                  <a:lnTo>
                    <a:pt x="2217" y="2375"/>
                  </a:lnTo>
                  <a:lnTo>
                    <a:pt x="2216" y="2365"/>
                  </a:lnTo>
                  <a:lnTo>
                    <a:pt x="2214" y="2355"/>
                  </a:lnTo>
                  <a:lnTo>
                    <a:pt x="2211" y="2345"/>
                  </a:lnTo>
                  <a:lnTo>
                    <a:pt x="2206" y="2336"/>
                  </a:lnTo>
                  <a:lnTo>
                    <a:pt x="2200" y="2326"/>
                  </a:lnTo>
                  <a:lnTo>
                    <a:pt x="2191" y="2316"/>
                  </a:lnTo>
                  <a:lnTo>
                    <a:pt x="2183" y="2306"/>
                  </a:lnTo>
                  <a:lnTo>
                    <a:pt x="2172" y="2297"/>
                  </a:lnTo>
                  <a:lnTo>
                    <a:pt x="2161" y="2287"/>
                  </a:lnTo>
                  <a:lnTo>
                    <a:pt x="2147" y="2277"/>
                  </a:lnTo>
                  <a:lnTo>
                    <a:pt x="2132" y="2266"/>
                  </a:lnTo>
                  <a:lnTo>
                    <a:pt x="2118" y="2257"/>
                  </a:lnTo>
                  <a:lnTo>
                    <a:pt x="2082" y="2238"/>
                  </a:lnTo>
                  <a:lnTo>
                    <a:pt x="2043" y="2219"/>
                  </a:lnTo>
                  <a:close/>
                  <a:moveTo>
                    <a:pt x="2049" y="1884"/>
                  </a:moveTo>
                  <a:lnTo>
                    <a:pt x="2049" y="2117"/>
                  </a:lnTo>
                  <a:lnTo>
                    <a:pt x="2087" y="2131"/>
                  </a:lnTo>
                  <a:lnTo>
                    <a:pt x="2121" y="2147"/>
                  </a:lnTo>
                  <a:lnTo>
                    <a:pt x="2154" y="2164"/>
                  </a:lnTo>
                  <a:lnTo>
                    <a:pt x="2184" y="2183"/>
                  </a:lnTo>
                  <a:lnTo>
                    <a:pt x="2211" y="2201"/>
                  </a:lnTo>
                  <a:lnTo>
                    <a:pt x="2235" y="2221"/>
                  </a:lnTo>
                  <a:lnTo>
                    <a:pt x="2257" y="2241"/>
                  </a:lnTo>
                  <a:lnTo>
                    <a:pt x="2266" y="2252"/>
                  </a:lnTo>
                  <a:lnTo>
                    <a:pt x="2275" y="2263"/>
                  </a:lnTo>
                  <a:lnTo>
                    <a:pt x="3825" y="747"/>
                  </a:lnTo>
                  <a:lnTo>
                    <a:pt x="3827" y="197"/>
                  </a:lnTo>
                  <a:lnTo>
                    <a:pt x="3276" y="199"/>
                  </a:lnTo>
                  <a:lnTo>
                    <a:pt x="2285" y="1190"/>
                  </a:lnTo>
                  <a:lnTo>
                    <a:pt x="2293" y="1201"/>
                  </a:lnTo>
                  <a:lnTo>
                    <a:pt x="2299" y="1212"/>
                  </a:lnTo>
                  <a:lnTo>
                    <a:pt x="2304" y="1224"/>
                  </a:lnTo>
                  <a:lnTo>
                    <a:pt x="2307" y="1235"/>
                  </a:lnTo>
                  <a:lnTo>
                    <a:pt x="2311" y="1247"/>
                  </a:lnTo>
                  <a:lnTo>
                    <a:pt x="2313" y="1260"/>
                  </a:lnTo>
                  <a:lnTo>
                    <a:pt x="2315" y="1272"/>
                  </a:lnTo>
                  <a:lnTo>
                    <a:pt x="2315" y="1285"/>
                  </a:lnTo>
                  <a:lnTo>
                    <a:pt x="2315" y="1626"/>
                  </a:lnTo>
                  <a:lnTo>
                    <a:pt x="2313" y="1647"/>
                  </a:lnTo>
                  <a:lnTo>
                    <a:pt x="2310" y="1667"/>
                  </a:lnTo>
                  <a:lnTo>
                    <a:pt x="2304" y="1685"/>
                  </a:lnTo>
                  <a:lnTo>
                    <a:pt x="2296" y="1705"/>
                  </a:lnTo>
                  <a:lnTo>
                    <a:pt x="2285" y="1723"/>
                  </a:lnTo>
                  <a:lnTo>
                    <a:pt x="2273" y="1740"/>
                  </a:lnTo>
                  <a:lnTo>
                    <a:pt x="2258" y="1757"/>
                  </a:lnTo>
                  <a:lnTo>
                    <a:pt x="2242" y="1773"/>
                  </a:lnTo>
                  <a:lnTo>
                    <a:pt x="2224" y="1789"/>
                  </a:lnTo>
                  <a:lnTo>
                    <a:pt x="2205" y="1805"/>
                  </a:lnTo>
                  <a:lnTo>
                    <a:pt x="2183" y="1820"/>
                  </a:lnTo>
                  <a:lnTo>
                    <a:pt x="2159" y="1833"/>
                  </a:lnTo>
                  <a:lnTo>
                    <a:pt x="2134" y="1848"/>
                  </a:lnTo>
                  <a:lnTo>
                    <a:pt x="2107" y="1860"/>
                  </a:lnTo>
                  <a:lnTo>
                    <a:pt x="2079" y="1872"/>
                  </a:lnTo>
                  <a:lnTo>
                    <a:pt x="2049" y="1884"/>
                  </a:lnTo>
                  <a:close/>
                  <a:moveTo>
                    <a:pt x="438" y="1674"/>
                  </a:moveTo>
                  <a:lnTo>
                    <a:pt x="438" y="1674"/>
                  </a:lnTo>
                  <a:lnTo>
                    <a:pt x="399" y="1692"/>
                  </a:lnTo>
                  <a:lnTo>
                    <a:pt x="364" y="1712"/>
                  </a:lnTo>
                  <a:lnTo>
                    <a:pt x="348" y="1722"/>
                  </a:lnTo>
                  <a:lnTo>
                    <a:pt x="334" y="1732"/>
                  </a:lnTo>
                  <a:lnTo>
                    <a:pt x="320" y="1741"/>
                  </a:lnTo>
                  <a:lnTo>
                    <a:pt x="309" y="1751"/>
                  </a:lnTo>
                  <a:lnTo>
                    <a:pt x="298" y="1761"/>
                  </a:lnTo>
                  <a:lnTo>
                    <a:pt x="290" y="1771"/>
                  </a:lnTo>
                  <a:lnTo>
                    <a:pt x="282" y="1782"/>
                  </a:lnTo>
                  <a:lnTo>
                    <a:pt x="275" y="1791"/>
                  </a:lnTo>
                  <a:lnTo>
                    <a:pt x="270" y="1801"/>
                  </a:lnTo>
                  <a:lnTo>
                    <a:pt x="267" y="1811"/>
                  </a:lnTo>
                  <a:lnTo>
                    <a:pt x="265" y="1821"/>
                  </a:lnTo>
                  <a:lnTo>
                    <a:pt x="264" y="1829"/>
                  </a:lnTo>
                  <a:lnTo>
                    <a:pt x="265" y="1840"/>
                  </a:lnTo>
                  <a:lnTo>
                    <a:pt x="268" y="1851"/>
                  </a:lnTo>
                  <a:lnTo>
                    <a:pt x="273" y="1864"/>
                  </a:lnTo>
                  <a:lnTo>
                    <a:pt x="280" y="1875"/>
                  </a:lnTo>
                  <a:lnTo>
                    <a:pt x="287" y="1886"/>
                  </a:lnTo>
                  <a:lnTo>
                    <a:pt x="298" y="1898"/>
                  </a:lnTo>
                  <a:lnTo>
                    <a:pt x="311" y="1909"/>
                  </a:lnTo>
                  <a:lnTo>
                    <a:pt x="324" y="1920"/>
                  </a:lnTo>
                  <a:lnTo>
                    <a:pt x="339" y="1932"/>
                  </a:lnTo>
                  <a:lnTo>
                    <a:pt x="356" y="1943"/>
                  </a:lnTo>
                  <a:lnTo>
                    <a:pt x="375" y="1954"/>
                  </a:lnTo>
                  <a:lnTo>
                    <a:pt x="395" y="1965"/>
                  </a:lnTo>
                  <a:lnTo>
                    <a:pt x="418" y="1976"/>
                  </a:lnTo>
                  <a:lnTo>
                    <a:pt x="441" y="1986"/>
                  </a:lnTo>
                  <a:lnTo>
                    <a:pt x="466" y="1997"/>
                  </a:lnTo>
                  <a:lnTo>
                    <a:pt x="493" y="2007"/>
                  </a:lnTo>
                  <a:lnTo>
                    <a:pt x="521" y="2015"/>
                  </a:lnTo>
                  <a:lnTo>
                    <a:pt x="551" y="2025"/>
                  </a:lnTo>
                  <a:lnTo>
                    <a:pt x="582" y="2034"/>
                  </a:lnTo>
                  <a:lnTo>
                    <a:pt x="615" y="2042"/>
                  </a:lnTo>
                  <a:lnTo>
                    <a:pt x="649" y="2049"/>
                  </a:lnTo>
                  <a:lnTo>
                    <a:pt x="685" y="2057"/>
                  </a:lnTo>
                  <a:lnTo>
                    <a:pt x="721" y="2064"/>
                  </a:lnTo>
                  <a:lnTo>
                    <a:pt x="759" y="2070"/>
                  </a:lnTo>
                  <a:lnTo>
                    <a:pt x="798" y="2076"/>
                  </a:lnTo>
                  <a:lnTo>
                    <a:pt x="839" y="2081"/>
                  </a:lnTo>
                  <a:lnTo>
                    <a:pt x="880" y="2085"/>
                  </a:lnTo>
                  <a:lnTo>
                    <a:pt x="924" y="2089"/>
                  </a:lnTo>
                  <a:lnTo>
                    <a:pt x="968" y="2092"/>
                  </a:lnTo>
                  <a:lnTo>
                    <a:pt x="1014" y="2094"/>
                  </a:lnTo>
                  <a:lnTo>
                    <a:pt x="1060" y="2095"/>
                  </a:lnTo>
                  <a:lnTo>
                    <a:pt x="1108" y="2096"/>
                  </a:lnTo>
                  <a:lnTo>
                    <a:pt x="1175" y="2095"/>
                  </a:lnTo>
                  <a:lnTo>
                    <a:pt x="1239" y="2092"/>
                  </a:lnTo>
                  <a:lnTo>
                    <a:pt x="1301" y="2089"/>
                  </a:lnTo>
                  <a:lnTo>
                    <a:pt x="1360" y="2083"/>
                  </a:lnTo>
                  <a:lnTo>
                    <a:pt x="1417" y="2076"/>
                  </a:lnTo>
                  <a:lnTo>
                    <a:pt x="1472" y="2068"/>
                  </a:lnTo>
                  <a:lnTo>
                    <a:pt x="1524" y="2059"/>
                  </a:lnTo>
                  <a:lnTo>
                    <a:pt x="1574" y="2048"/>
                  </a:lnTo>
                  <a:lnTo>
                    <a:pt x="1620" y="2037"/>
                  </a:lnTo>
                  <a:lnTo>
                    <a:pt x="1664" y="2025"/>
                  </a:lnTo>
                  <a:lnTo>
                    <a:pt x="1706" y="2013"/>
                  </a:lnTo>
                  <a:lnTo>
                    <a:pt x="1744" y="1999"/>
                  </a:lnTo>
                  <a:lnTo>
                    <a:pt x="1779" y="1985"/>
                  </a:lnTo>
                  <a:lnTo>
                    <a:pt x="1811" y="1970"/>
                  </a:lnTo>
                  <a:lnTo>
                    <a:pt x="1840" y="1954"/>
                  </a:lnTo>
                  <a:lnTo>
                    <a:pt x="1866" y="1939"/>
                  </a:lnTo>
                  <a:lnTo>
                    <a:pt x="1810" y="1950"/>
                  </a:lnTo>
                  <a:lnTo>
                    <a:pt x="1751" y="1961"/>
                  </a:lnTo>
                  <a:lnTo>
                    <a:pt x="1690" y="1970"/>
                  </a:lnTo>
                  <a:lnTo>
                    <a:pt x="1629" y="1977"/>
                  </a:lnTo>
                  <a:lnTo>
                    <a:pt x="1565" y="1983"/>
                  </a:lnTo>
                  <a:lnTo>
                    <a:pt x="1502" y="1987"/>
                  </a:lnTo>
                  <a:lnTo>
                    <a:pt x="1438" y="1990"/>
                  </a:lnTo>
                  <a:lnTo>
                    <a:pt x="1373" y="1991"/>
                  </a:lnTo>
                  <a:lnTo>
                    <a:pt x="1291" y="1990"/>
                  </a:lnTo>
                  <a:lnTo>
                    <a:pt x="1209" y="1985"/>
                  </a:lnTo>
                  <a:lnTo>
                    <a:pt x="1130" y="1979"/>
                  </a:lnTo>
                  <a:lnTo>
                    <a:pt x="1050" y="1969"/>
                  </a:lnTo>
                  <a:lnTo>
                    <a:pt x="975" y="1958"/>
                  </a:lnTo>
                  <a:lnTo>
                    <a:pt x="937" y="1950"/>
                  </a:lnTo>
                  <a:lnTo>
                    <a:pt x="901" y="1943"/>
                  </a:lnTo>
                  <a:lnTo>
                    <a:pt x="866" y="1936"/>
                  </a:lnTo>
                  <a:lnTo>
                    <a:pt x="830" y="1927"/>
                  </a:lnTo>
                  <a:lnTo>
                    <a:pt x="797" y="1917"/>
                  </a:lnTo>
                  <a:lnTo>
                    <a:pt x="764" y="1908"/>
                  </a:lnTo>
                  <a:lnTo>
                    <a:pt x="732" y="1898"/>
                  </a:lnTo>
                  <a:lnTo>
                    <a:pt x="702" y="1887"/>
                  </a:lnTo>
                  <a:lnTo>
                    <a:pt x="673" y="1876"/>
                  </a:lnTo>
                  <a:lnTo>
                    <a:pt x="646" y="1864"/>
                  </a:lnTo>
                  <a:lnTo>
                    <a:pt x="619" y="1850"/>
                  </a:lnTo>
                  <a:lnTo>
                    <a:pt x="593" y="1837"/>
                  </a:lnTo>
                  <a:lnTo>
                    <a:pt x="570" y="1823"/>
                  </a:lnTo>
                  <a:lnTo>
                    <a:pt x="548" y="1809"/>
                  </a:lnTo>
                  <a:lnTo>
                    <a:pt x="528" y="1794"/>
                  </a:lnTo>
                  <a:lnTo>
                    <a:pt x="510" y="1779"/>
                  </a:lnTo>
                  <a:lnTo>
                    <a:pt x="493" y="1762"/>
                  </a:lnTo>
                  <a:lnTo>
                    <a:pt x="478" y="1746"/>
                  </a:lnTo>
                  <a:lnTo>
                    <a:pt x="465" y="1729"/>
                  </a:lnTo>
                  <a:lnTo>
                    <a:pt x="454" y="1711"/>
                  </a:lnTo>
                  <a:lnTo>
                    <a:pt x="445" y="1694"/>
                  </a:lnTo>
                  <a:lnTo>
                    <a:pt x="438" y="1674"/>
                  </a:lnTo>
                  <a:close/>
                  <a:moveTo>
                    <a:pt x="499" y="2350"/>
                  </a:moveTo>
                  <a:lnTo>
                    <a:pt x="499" y="2112"/>
                  </a:lnTo>
                  <a:lnTo>
                    <a:pt x="463" y="2100"/>
                  </a:lnTo>
                  <a:lnTo>
                    <a:pt x="430" y="2087"/>
                  </a:lnTo>
                  <a:lnTo>
                    <a:pt x="399" y="2074"/>
                  </a:lnTo>
                  <a:lnTo>
                    <a:pt x="368" y="2061"/>
                  </a:lnTo>
                  <a:lnTo>
                    <a:pt x="339" y="2046"/>
                  </a:lnTo>
                  <a:lnTo>
                    <a:pt x="312" y="2031"/>
                  </a:lnTo>
                  <a:lnTo>
                    <a:pt x="287" y="2015"/>
                  </a:lnTo>
                  <a:lnTo>
                    <a:pt x="264" y="1998"/>
                  </a:lnTo>
                  <a:lnTo>
                    <a:pt x="264" y="2172"/>
                  </a:lnTo>
                  <a:lnTo>
                    <a:pt x="265" y="2183"/>
                  </a:lnTo>
                  <a:lnTo>
                    <a:pt x="268" y="2194"/>
                  </a:lnTo>
                  <a:lnTo>
                    <a:pt x="273" y="2205"/>
                  </a:lnTo>
                  <a:lnTo>
                    <a:pt x="280" y="2217"/>
                  </a:lnTo>
                  <a:lnTo>
                    <a:pt x="289" y="2228"/>
                  </a:lnTo>
                  <a:lnTo>
                    <a:pt x="300" y="2240"/>
                  </a:lnTo>
                  <a:lnTo>
                    <a:pt x="312" y="2251"/>
                  </a:lnTo>
                  <a:lnTo>
                    <a:pt x="325" y="2263"/>
                  </a:lnTo>
                  <a:lnTo>
                    <a:pt x="341" y="2275"/>
                  </a:lnTo>
                  <a:lnTo>
                    <a:pt x="358" y="2286"/>
                  </a:lnTo>
                  <a:lnTo>
                    <a:pt x="378" y="2298"/>
                  </a:lnTo>
                  <a:lnTo>
                    <a:pt x="399" y="2309"/>
                  </a:lnTo>
                  <a:lnTo>
                    <a:pt x="422" y="2320"/>
                  </a:lnTo>
                  <a:lnTo>
                    <a:pt x="446" y="2330"/>
                  </a:lnTo>
                  <a:lnTo>
                    <a:pt x="472" y="2341"/>
                  </a:lnTo>
                  <a:lnTo>
                    <a:pt x="499" y="2350"/>
                  </a:lnTo>
                  <a:close/>
                  <a:moveTo>
                    <a:pt x="877" y="2426"/>
                  </a:moveTo>
                  <a:lnTo>
                    <a:pt x="877" y="2183"/>
                  </a:lnTo>
                  <a:lnTo>
                    <a:pt x="803" y="2175"/>
                  </a:lnTo>
                  <a:lnTo>
                    <a:pt x="732" y="2164"/>
                  </a:lnTo>
                  <a:lnTo>
                    <a:pt x="664" y="2152"/>
                  </a:lnTo>
                  <a:lnTo>
                    <a:pt x="597" y="2138"/>
                  </a:lnTo>
                  <a:lnTo>
                    <a:pt x="597" y="2380"/>
                  </a:lnTo>
                  <a:lnTo>
                    <a:pt x="660" y="2394"/>
                  </a:lnTo>
                  <a:lnTo>
                    <a:pt x="728" y="2407"/>
                  </a:lnTo>
                  <a:lnTo>
                    <a:pt x="800" y="2418"/>
                  </a:lnTo>
                  <a:lnTo>
                    <a:pt x="877" y="2426"/>
                  </a:lnTo>
                  <a:close/>
                  <a:moveTo>
                    <a:pt x="1255" y="2433"/>
                  </a:moveTo>
                  <a:lnTo>
                    <a:pt x="1255" y="2189"/>
                  </a:lnTo>
                  <a:lnTo>
                    <a:pt x="1181" y="2193"/>
                  </a:lnTo>
                  <a:lnTo>
                    <a:pt x="1108" y="2194"/>
                  </a:lnTo>
                  <a:lnTo>
                    <a:pt x="1042" y="2193"/>
                  </a:lnTo>
                  <a:lnTo>
                    <a:pt x="975" y="2190"/>
                  </a:lnTo>
                  <a:lnTo>
                    <a:pt x="975" y="2433"/>
                  </a:lnTo>
                  <a:lnTo>
                    <a:pt x="1041" y="2436"/>
                  </a:lnTo>
                  <a:lnTo>
                    <a:pt x="1108" y="2437"/>
                  </a:lnTo>
                  <a:lnTo>
                    <a:pt x="1182" y="2436"/>
                  </a:lnTo>
                  <a:lnTo>
                    <a:pt x="1255" y="2433"/>
                  </a:lnTo>
                  <a:close/>
                  <a:moveTo>
                    <a:pt x="1352" y="2182"/>
                  </a:moveTo>
                  <a:lnTo>
                    <a:pt x="1352" y="2425"/>
                  </a:lnTo>
                  <a:lnTo>
                    <a:pt x="1429" y="2416"/>
                  </a:lnTo>
                  <a:lnTo>
                    <a:pt x="1502" y="2405"/>
                  </a:lnTo>
                  <a:lnTo>
                    <a:pt x="1569" y="2392"/>
                  </a:lnTo>
                  <a:lnTo>
                    <a:pt x="1631" y="2376"/>
                  </a:lnTo>
                  <a:lnTo>
                    <a:pt x="1631" y="2135"/>
                  </a:lnTo>
                  <a:lnTo>
                    <a:pt x="1565" y="2150"/>
                  </a:lnTo>
                  <a:lnTo>
                    <a:pt x="1497" y="2163"/>
                  </a:lnTo>
                  <a:lnTo>
                    <a:pt x="1426" y="2173"/>
                  </a:lnTo>
                  <a:lnTo>
                    <a:pt x="1352" y="2182"/>
                  </a:lnTo>
                  <a:close/>
                  <a:moveTo>
                    <a:pt x="1373" y="1081"/>
                  </a:moveTo>
                  <a:lnTo>
                    <a:pt x="1373" y="1081"/>
                  </a:lnTo>
                  <a:lnTo>
                    <a:pt x="1433" y="1082"/>
                  </a:lnTo>
                  <a:lnTo>
                    <a:pt x="1491" y="1083"/>
                  </a:lnTo>
                  <a:lnTo>
                    <a:pt x="1548" y="1087"/>
                  </a:lnTo>
                  <a:lnTo>
                    <a:pt x="1603" y="1092"/>
                  </a:lnTo>
                  <a:lnTo>
                    <a:pt x="857" y="1427"/>
                  </a:lnTo>
                  <a:lnTo>
                    <a:pt x="817" y="1416"/>
                  </a:lnTo>
                  <a:lnTo>
                    <a:pt x="797" y="1410"/>
                  </a:lnTo>
                  <a:lnTo>
                    <a:pt x="779" y="1403"/>
                  </a:lnTo>
                  <a:lnTo>
                    <a:pt x="740" y="1387"/>
                  </a:lnTo>
                  <a:lnTo>
                    <a:pt x="706" y="1371"/>
                  </a:lnTo>
                  <a:lnTo>
                    <a:pt x="677" y="1355"/>
                  </a:lnTo>
                  <a:lnTo>
                    <a:pt x="666" y="1348"/>
                  </a:lnTo>
                  <a:lnTo>
                    <a:pt x="655" y="1339"/>
                  </a:lnTo>
                  <a:lnTo>
                    <a:pt x="647" y="1332"/>
                  </a:lnTo>
                  <a:lnTo>
                    <a:pt x="638" y="1324"/>
                  </a:lnTo>
                  <a:lnTo>
                    <a:pt x="632" y="1317"/>
                  </a:lnTo>
                  <a:lnTo>
                    <a:pt x="627" y="1308"/>
                  </a:lnTo>
                  <a:lnTo>
                    <a:pt x="624" y="1301"/>
                  </a:lnTo>
                  <a:lnTo>
                    <a:pt x="621" y="1294"/>
                  </a:lnTo>
                  <a:lnTo>
                    <a:pt x="620" y="1286"/>
                  </a:lnTo>
                  <a:lnTo>
                    <a:pt x="620" y="1279"/>
                  </a:lnTo>
                  <a:lnTo>
                    <a:pt x="621" y="1272"/>
                  </a:lnTo>
                  <a:lnTo>
                    <a:pt x="624" y="1264"/>
                  </a:lnTo>
                  <a:lnTo>
                    <a:pt x="627" y="1257"/>
                  </a:lnTo>
                  <a:lnTo>
                    <a:pt x="632" y="1250"/>
                  </a:lnTo>
                  <a:lnTo>
                    <a:pt x="638" y="1242"/>
                  </a:lnTo>
                  <a:lnTo>
                    <a:pt x="644" y="1235"/>
                  </a:lnTo>
                  <a:lnTo>
                    <a:pt x="653" y="1228"/>
                  </a:lnTo>
                  <a:lnTo>
                    <a:pt x="663" y="1222"/>
                  </a:lnTo>
                  <a:lnTo>
                    <a:pt x="686" y="1207"/>
                  </a:lnTo>
                  <a:lnTo>
                    <a:pt x="712" y="1194"/>
                  </a:lnTo>
                  <a:lnTo>
                    <a:pt x="743" y="1180"/>
                  </a:lnTo>
                  <a:lnTo>
                    <a:pt x="779" y="1167"/>
                  </a:lnTo>
                  <a:lnTo>
                    <a:pt x="807" y="1157"/>
                  </a:lnTo>
                  <a:lnTo>
                    <a:pt x="836" y="1148"/>
                  </a:lnTo>
                  <a:lnTo>
                    <a:pt x="868" y="1140"/>
                  </a:lnTo>
                  <a:lnTo>
                    <a:pt x="900" y="1131"/>
                  </a:lnTo>
                  <a:lnTo>
                    <a:pt x="934" y="1124"/>
                  </a:lnTo>
                  <a:lnTo>
                    <a:pt x="968" y="1116"/>
                  </a:lnTo>
                  <a:lnTo>
                    <a:pt x="1005" y="1110"/>
                  </a:lnTo>
                  <a:lnTo>
                    <a:pt x="1042" y="1104"/>
                  </a:lnTo>
                  <a:lnTo>
                    <a:pt x="1080" y="1099"/>
                  </a:lnTo>
                  <a:lnTo>
                    <a:pt x="1119" y="1094"/>
                  </a:lnTo>
                  <a:lnTo>
                    <a:pt x="1159" y="1091"/>
                  </a:lnTo>
                  <a:lnTo>
                    <a:pt x="1201" y="1087"/>
                  </a:lnTo>
                  <a:lnTo>
                    <a:pt x="1242" y="1085"/>
                  </a:lnTo>
                  <a:lnTo>
                    <a:pt x="1285" y="1082"/>
                  </a:lnTo>
                  <a:lnTo>
                    <a:pt x="1329" y="1081"/>
                  </a:lnTo>
                  <a:lnTo>
                    <a:pt x="1373" y="1081"/>
                  </a:lnTo>
                  <a:close/>
                </a:path>
              </a:pathLst>
            </a:custGeom>
            <a:solidFill>
              <a:srgbClr val="333333"/>
            </a:solidFill>
            <a:ln w="9525">
              <a:noFill/>
              <a:round/>
              <a:headEnd/>
              <a:tailEnd/>
            </a:ln>
          </p:spPr>
          <p:txBody>
            <a:bodyPr lIns="88324" tIns="44163" rIns="88324" bIns="44163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333" name="Rectangle 56"/>
            <p:cNvSpPr/>
            <p:nvPr/>
          </p:nvSpPr>
          <p:spPr>
            <a:xfrm>
              <a:off x="7452045" y="4419365"/>
              <a:ext cx="2000508" cy="1565786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50385" rIns="79346" bIns="79346" rtlCol="0" anchor="t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Ölçeklenebilir</a:t>
              </a:r>
              <a:endParaRPr lang="tr-TR" sz="1157" b="1" kern="0" dirty="0">
                <a:solidFill>
                  <a:srgbClr val="FFFFFF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Talep artış ve azalışlarında kapasiteyi anında değiştirmeyi mümkün kılar</a:t>
              </a:r>
            </a:p>
          </p:txBody>
        </p:sp>
        <p:sp>
          <p:nvSpPr>
            <p:cNvPr id="334" name="Rectangle 58"/>
            <p:cNvSpPr/>
            <p:nvPr/>
          </p:nvSpPr>
          <p:spPr>
            <a:xfrm>
              <a:off x="7452045" y="2770062"/>
              <a:ext cx="2000508" cy="1565786"/>
            </a:xfrm>
            <a:prstGeom prst="rect">
              <a:avLst/>
            </a:prstGeom>
            <a:solidFill>
              <a:srgbClr val="7FD1D6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0" rIns="79346" bIns="50385" rtlCol="0" anchor="b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Verimlilik</a:t>
              </a:r>
              <a:endParaRPr lang="tr-TR" sz="771" b="1" kern="0" dirty="0">
                <a:solidFill>
                  <a:srgbClr val="333333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İnsan kaynağının daha katma değerli aktivitelerde kullanılmasına imkan verir</a:t>
              </a:r>
            </a:p>
          </p:txBody>
        </p:sp>
        <p:sp>
          <p:nvSpPr>
            <p:cNvPr id="335" name="Freeform 51"/>
            <p:cNvSpPr>
              <a:spLocks noEditPoints="1"/>
            </p:cNvSpPr>
            <p:nvPr/>
          </p:nvSpPr>
          <p:spPr bwMode="auto">
            <a:xfrm>
              <a:off x="8798485" y="5413286"/>
              <a:ext cx="545781" cy="475200"/>
            </a:xfrm>
            <a:custGeom>
              <a:avLst/>
              <a:gdLst>
                <a:gd name="T0" fmla="*/ 58 w 110"/>
                <a:gd name="T1" fmla="*/ 7 h 126"/>
                <a:gd name="T2" fmla="*/ 58 w 110"/>
                <a:gd name="T3" fmla="*/ 3 h 126"/>
                <a:gd name="T4" fmla="*/ 55 w 110"/>
                <a:gd name="T5" fmla="*/ 0 h 126"/>
                <a:gd name="T6" fmla="*/ 52 w 110"/>
                <a:gd name="T7" fmla="*/ 3 h 126"/>
                <a:gd name="T8" fmla="*/ 52 w 110"/>
                <a:gd name="T9" fmla="*/ 7 h 126"/>
                <a:gd name="T10" fmla="*/ 0 w 110"/>
                <a:gd name="T11" fmla="*/ 7 h 126"/>
                <a:gd name="T12" fmla="*/ 0 w 110"/>
                <a:gd name="T13" fmla="*/ 23 h 126"/>
                <a:gd name="T14" fmla="*/ 110 w 110"/>
                <a:gd name="T15" fmla="*/ 23 h 126"/>
                <a:gd name="T16" fmla="*/ 110 w 110"/>
                <a:gd name="T17" fmla="*/ 7 h 126"/>
                <a:gd name="T18" fmla="*/ 58 w 110"/>
                <a:gd name="T19" fmla="*/ 7 h 126"/>
                <a:gd name="T20" fmla="*/ 9 w 110"/>
                <a:gd name="T21" fmla="*/ 89 h 126"/>
                <a:gd name="T22" fmla="*/ 49 w 110"/>
                <a:gd name="T23" fmla="*/ 89 h 126"/>
                <a:gd name="T24" fmla="*/ 49 w 110"/>
                <a:gd name="T25" fmla="*/ 108 h 126"/>
                <a:gd name="T26" fmla="*/ 35 w 110"/>
                <a:gd name="T27" fmla="*/ 108 h 126"/>
                <a:gd name="T28" fmla="*/ 35 w 110"/>
                <a:gd name="T29" fmla="*/ 105 h 126"/>
                <a:gd name="T30" fmla="*/ 29 w 110"/>
                <a:gd name="T31" fmla="*/ 105 h 126"/>
                <a:gd name="T32" fmla="*/ 29 w 110"/>
                <a:gd name="T33" fmla="*/ 126 h 126"/>
                <a:gd name="T34" fmla="*/ 35 w 110"/>
                <a:gd name="T35" fmla="*/ 126 h 126"/>
                <a:gd name="T36" fmla="*/ 35 w 110"/>
                <a:gd name="T37" fmla="*/ 115 h 126"/>
                <a:gd name="T38" fmla="*/ 76 w 110"/>
                <a:gd name="T39" fmla="*/ 115 h 126"/>
                <a:gd name="T40" fmla="*/ 76 w 110"/>
                <a:gd name="T41" fmla="*/ 126 h 126"/>
                <a:gd name="T42" fmla="*/ 81 w 110"/>
                <a:gd name="T43" fmla="*/ 126 h 126"/>
                <a:gd name="T44" fmla="*/ 81 w 110"/>
                <a:gd name="T45" fmla="*/ 105 h 126"/>
                <a:gd name="T46" fmla="*/ 76 w 110"/>
                <a:gd name="T47" fmla="*/ 105 h 126"/>
                <a:gd name="T48" fmla="*/ 76 w 110"/>
                <a:gd name="T49" fmla="*/ 108 h 126"/>
                <a:gd name="T50" fmla="*/ 61 w 110"/>
                <a:gd name="T51" fmla="*/ 108 h 126"/>
                <a:gd name="T52" fmla="*/ 61 w 110"/>
                <a:gd name="T53" fmla="*/ 89 h 126"/>
                <a:gd name="T54" fmla="*/ 101 w 110"/>
                <a:gd name="T55" fmla="*/ 89 h 126"/>
                <a:gd name="T56" fmla="*/ 101 w 110"/>
                <a:gd name="T57" fmla="*/ 27 h 126"/>
                <a:gd name="T58" fmla="*/ 9 w 110"/>
                <a:gd name="T59" fmla="*/ 27 h 126"/>
                <a:gd name="T60" fmla="*/ 9 w 110"/>
                <a:gd name="T61" fmla="*/ 89 h 126"/>
                <a:gd name="T62" fmla="*/ 68 w 110"/>
                <a:gd name="T63" fmla="*/ 46 h 126"/>
                <a:gd name="T64" fmla="*/ 95 w 110"/>
                <a:gd name="T65" fmla="*/ 46 h 126"/>
                <a:gd name="T66" fmla="*/ 95 w 110"/>
                <a:gd name="T67" fmla="*/ 52 h 126"/>
                <a:gd name="T68" fmla="*/ 68 w 110"/>
                <a:gd name="T69" fmla="*/ 52 h 126"/>
                <a:gd name="T70" fmla="*/ 68 w 110"/>
                <a:gd name="T71" fmla="*/ 46 h 126"/>
                <a:gd name="T72" fmla="*/ 68 w 110"/>
                <a:gd name="T73" fmla="*/ 57 h 126"/>
                <a:gd name="T74" fmla="*/ 95 w 110"/>
                <a:gd name="T75" fmla="*/ 57 h 126"/>
                <a:gd name="T76" fmla="*/ 95 w 110"/>
                <a:gd name="T77" fmla="*/ 63 h 126"/>
                <a:gd name="T78" fmla="*/ 68 w 110"/>
                <a:gd name="T79" fmla="*/ 63 h 126"/>
                <a:gd name="T80" fmla="*/ 68 w 110"/>
                <a:gd name="T81" fmla="*/ 57 h 126"/>
                <a:gd name="T82" fmla="*/ 68 w 110"/>
                <a:gd name="T83" fmla="*/ 69 h 126"/>
                <a:gd name="T84" fmla="*/ 95 w 110"/>
                <a:gd name="T85" fmla="*/ 69 h 126"/>
                <a:gd name="T86" fmla="*/ 95 w 110"/>
                <a:gd name="T87" fmla="*/ 75 h 126"/>
                <a:gd name="T88" fmla="*/ 68 w 110"/>
                <a:gd name="T89" fmla="*/ 75 h 126"/>
                <a:gd name="T90" fmla="*/ 68 w 110"/>
                <a:gd name="T91" fmla="*/ 69 h 126"/>
                <a:gd name="T92" fmla="*/ 41 w 110"/>
                <a:gd name="T93" fmla="*/ 36 h 126"/>
                <a:gd name="T94" fmla="*/ 60 w 110"/>
                <a:gd name="T95" fmla="*/ 55 h 126"/>
                <a:gd name="T96" fmla="*/ 41 w 110"/>
                <a:gd name="T97" fmla="*/ 55 h 126"/>
                <a:gd name="T98" fmla="*/ 41 w 110"/>
                <a:gd name="T99" fmla="*/ 36 h 126"/>
                <a:gd name="T100" fmla="*/ 36 w 110"/>
                <a:gd name="T101" fmla="*/ 41 h 126"/>
                <a:gd name="T102" fmla="*/ 36 w 110"/>
                <a:gd name="T103" fmla="*/ 61 h 126"/>
                <a:gd name="T104" fmla="*/ 55 w 110"/>
                <a:gd name="T105" fmla="*/ 61 h 126"/>
                <a:gd name="T106" fmla="*/ 36 w 110"/>
                <a:gd name="T107" fmla="*/ 80 h 126"/>
                <a:gd name="T108" fmla="*/ 16 w 110"/>
                <a:gd name="T109" fmla="*/ 61 h 126"/>
                <a:gd name="T110" fmla="*/ 36 w 110"/>
                <a:gd name="T111" fmla="*/ 4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0" h="126">
                  <a:moveTo>
                    <a:pt x="58" y="7"/>
                  </a:moveTo>
                  <a:cubicBezTo>
                    <a:pt x="58" y="3"/>
                    <a:pt x="58" y="3"/>
                    <a:pt x="58" y="3"/>
                  </a:cubicBezTo>
                  <a:cubicBezTo>
                    <a:pt x="58" y="2"/>
                    <a:pt x="57" y="0"/>
                    <a:pt x="55" y="0"/>
                  </a:cubicBezTo>
                  <a:cubicBezTo>
                    <a:pt x="53" y="0"/>
                    <a:pt x="52" y="2"/>
                    <a:pt x="52" y="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7"/>
                    <a:pt x="110" y="7"/>
                    <a:pt x="110" y="7"/>
                  </a:cubicBezTo>
                  <a:lnTo>
                    <a:pt x="58" y="7"/>
                  </a:lnTo>
                  <a:close/>
                  <a:moveTo>
                    <a:pt x="9" y="89"/>
                  </a:moveTo>
                  <a:cubicBezTo>
                    <a:pt x="49" y="89"/>
                    <a:pt x="49" y="89"/>
                    <a:pt x="49" y="89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15"/>
                    <a:pt x="35" y="115"/>
                    <a:pt x="35" y="115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61" y="108"/>
                    <a:pt x="61" y="108"/>
                    <a:pt x="61" y="108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" y="27"/>
                    <a:pt x="9" y="27"/>
                    <a:pt x="9" y="27"/>
                  </a:cubicBezTo>
                  <a:lnTo>
                    <a:pt x="9" y="89"/>
                  </a:lnTo>
                  <a:close/>
                  <a:moveTo>
                    <a:pt x="68" y="46"/>
                  </a:moveTo>
                  <a:cubicBezTo>
                    <a:pt x="95" y="46"/>
                    <a:pt x="95" y="46"/>
                    <a:pt x="95" y="46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68" y="52"/>
                    <a:pt x="68" y="52"/>
                    <a:pt x="68" y="52"/>
                  </a:cubicBezTo>
                  <a:lnTo>
                    <a:pt x="68" y="46"/>
                  </a:lnTo>
                  <a:close/>
                  <a:moveTo>
                    <a:pt x="68" y="57"/>
                  </a:moveTo>
                  <a:cubicBezTo>
                    <a:pt x="95" y="57"/>
                    <a:pt x="95" y="57"/>
                    <a:pt x="95" y="57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68" y="63"/>
                    <a:pt x="68" y="63"/>
                    <a:pt x="68" y="63"/>
                  </a:cubicBezTo>
                  <a:lnTo>
                    <a:pt x="68" y="57"/>
                  </a:lnTo>
                  <a:close/>
                  <a:moveTo>
                    <a:pt x="68" y="69"/>
                  </a:moveTo>
                  <a:cubicBezTo>
                    <a:pt x="95" y="69"/>
                    <a:pt x="95" y="69"/>
                    <a:pt x="95" y="69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68" y="75"/>
                    <a:pt x="68" y="75"/>
                    <a:pt x="68" y="75"/>
                  </a:cubicBezTo>
                  <a:lnTo>
                    <a:pt x="68" y="69"/>
                  </a:lnTo>
                  <a:close/>
                  <a:moveTo>
                    <a:pt x="41" y="36"/>
                  </a:moveTo>
                  <a:cubicBezTo>
                    <a:pt x="52" y="36"/>
                    <a:pt x="60" y="45"/>
                    <a:pt x="60" y="55"/>
                  </a:cubicBezTo>
                  <a:cubicBezTo>
                    <a:pt x="41" y="55"/>
                    <a:pt x="41" y="55"/>
                    <a:pt x="41" y="55"/>
                  </a:cubicBezTo>
                  <a:lnTo>
                    <a:pt x="41" y="36"/>
                  </a:lnTo>
                  <a:close/>
                  <a:moveTo>
                    <a:pt x="36" y="4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71"/>
                    <a:pt x="46" y="80"/>
                    <a:pt x="36" y="80"/>
                  </a:cubicBezTo>
                  <a:cubicBezTo>
                    <a:pt x="25" y="80"/>
                    <a:pt x="16" y="71"/>
                    <a:pt x="16" y="61"/>
                  </a:cubicBezTo>
                  <a:cubicBezTo>
                    <a:pt x="16" y="50"/>
                    <a:pt x="25" y="41"/>
                    <a:pt x="36" y="41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/>
          </p:spPr>
          <p:txBody>
            <a:bodyPr vert="horz" wrap="square" lIns="100770" tIns="50385" rIns="100770" bIns="50385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336" name="Group 335"/>
            <p:cNvGrpSpPr/>
            <p:nvPr/>
          </p:nvGrpSpPr>
          <p:grpSpPr>
            <a:xfrm>
              <a:off x="7452045" y="1109187"/>
              <a:ext cx="2000508" cy="1565786"/>
              <a:chOff x="7147148" y="1386726"/>
              <a:chExt cx="1583456" cy="1423442"/>
            </a:xfrm>
          </p:grpSpPr>
          <p:sp>
            <p:nvSpPr>
              <p:cNvPr id="368" name="Rectangle 54"/>
              <p:cNvSpPr/>
              <p:nvPr/>
            </p:nvSpPr>
            <p:spPr>
              <a:xfrm>
                <a:off x="7147148" y="1386726"/>
                <a:ext cx="1583456" cy="1423442"/>
              </a:xfrm>
              <a:prstGeom prst="rect">
                <a:avLst/>
              </a:prstGeom>
              <a:solidFill>
                <a:srgbClr val="FFE6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9346" tIns="158692" rIns="79346" bIns="79346" rtlCol="0" anchor="b" anchorCtr="0"/>
              <a:lstStyle/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endPara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endPara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endPara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endPara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endPara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661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r>
                  <a:rPr lang="tr-TR" sz="1322" b="1" kern="0" dirty="0">
                    <a:solidFill>
                      <a:srgbClr val="333333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Tutarlılık</a:t>
                </a: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defRPr/>
                </a:pPr>
                <a:r>
                  <a:rPr lang="tr-TR" sz="1400" kern="0" dirty="0">
                    <a:solidFill>
                      <a:srgbClr val="333333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Süreç ve aktivitelerin tamamen aynı şekilde yürütülmesi sonucu çıktı farklarını </a:t>
                </a: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defRPr/>
                </a:pPr>
                <a:r>
                  <a:rPr lang="tr-TR" sz="1400" kern="0" dirty="0">
                    <a:solidFill>
                      <a:srgbClr val="333333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ortadan kaldırır</a:t>
                </a:r>
              </a:p>
            </p:txBody>
          </p:sp>
          <p:grpSp>
            <p:nvGrpSpPr>
              <p:cNvPr id="369" name="Group 368"/>
              <p:cNvGrpSpPr/>
              <p:nvPr/>
            </p:nvGrpSpPr>
            <p:grpSpPr>
              <a:xfrm>
                <a:off x="7203319" y="1410341"/>
                <a:ext cx="432001" cy="432005"/>
                <a:chOff x="4978592" y="1497842"/>
                <a:chExt cx="458509" cy="438882"/>
              </a:xfrm>
            </p:grpSpPr>
            <p:sp>
              <p:nvSpPr>
                <p:cNvPr id="370" name="Freeform 8"/>
                <p:cNvSpPr>
                  <a:spLocks noChangeArrowheads="1"/>
                </p:cNvSpPr>
                <p:nvPr/>
              </p:nvSpPr>
              <p:spPr bwMode="auto">
                <a:xfrm>
                  <a:off x="4978593" y="1689751"/>
                  <a:ext cx="258020" cy="246973"/>
                </a:xfrm>
                <a:custGeom>
                  <a:avLst/>
                  <a:gdLst>
                    <a:gd name="T0" fmla="*/ 2147483647 w 1960"/>
                    <a:gd name="T1" fmla="*/ 2147483647 h 1958"/>
                    <a:gd name="T2" fmla="*/ 2147483647 w 1960"/>
                    <a:gd name="T3" fmla="*/ 2147483647 h 1958"/>
                    <a:gd name="T4" fmla="*/ 2147483647 w 1960"/>
                    <a:gd name="T5" fmla="*/ 2147483647 h 1958"/>
                    <a:gd name="T6" fmla="*/ 2147483647 w 1960"/>
                    <a:gd name="T7" fmla="*/ 2147483647 h 1958"/>
                    <a:gd name="T8" fmla="*/ 2147483647 w 1960"/>
                    <a:gd name="T9" fmla="*/ 2147483647 h 1958"/>
                    <a:gd name="T10" fmla="*/ 2147483647 w 1960"/>
                    <a:gd name="T11" fmla="*/ 2147483647 h 1958"/>
                    <a:gd name="T12" fmla="*/ 2147483647 w 1960"/>
                    <a:gd name="T13" fmla="*/ 2147483647 h 1958"/>
                    <a:gd name="T14" fmla="*/ 2147483647 w 1960"/>
                    <a:gd name="T15" fmla="*/ 2147483647 h 1958"/>
                    <a:gd name="T16" fmla="*/ 2147483647 w 1960"/>
                    <a:gd name="T17" fmla="*/ 2147483647 h 1958"/>
                    <a:gd name="T18" fmla="*/ 2147483647 w 1960"/>
                    <a:gd name="T19" fmla="*/ 2147483647 h 1958"/>
                    <a:gd name="T20" fmla="*/ 2147483647 w 1960"/>
                    <a:gd name="T21" fmla="*/ 2147483647 h 1958"/>
                    <a:gd name="T22" fmla="*/ 2147483647 w 1960"/>
                    <a:gd name="T23" fmla="*/ 2147483647 h 1958"/>
                    <a:gd name="T24" fmla="*/ 2147483647 w 1960"/>
                    <a:gd name="T25" fmla="*/ 2147483647 h 1958"/>
                    <a:gd name="T26" fmla="*/ 2147483647 w 1960"/>
                    <a:gd name="T27" fmla="*/ 2147483647 h 1958"/>
                    <a:gd name="T28" fmla="*/ 2147483647 w 1960"/>
                    <a:gd name="T29" fmla="*/ 2147483647 h 1958"/>
                    <a:gd name="T30" fmla="*/ 2147483647 w 1960"/>
                    <a:gd name="T31" fmla="*/ 2147483647 h 1958"/>
                    <a:gd name="T32" fmla="*/ 2147483647 w 1960"/>
                    <a:gd name="T33" fmla="*/ 0 h 1958"/>
                    <a:gd name="T34" fmla="*/ 2147483647 w 1960"/>
                    <a:gd name="T35" fmla="*/ 2147483647 h 1958"/>
                    <a:gd name="T36" fmla="*/ 2147483647 w 1960"/>
                    <a:gd name="T37" fmla="*/ 2147483647 h 1958"/>
                    <a:gd name="T38" fmla="*/ 2147483647 w 1960"/>
                    <a:gd name="T39" fmla="*/ 2147483647 h 1958"/>
                    <a:gd name="T40" fmla="*/ 2147483647 w 1960"/>
                    <a:gd name="T41" fmla="*/ 2147483647 h 1958"/>
                    <a:gd name="T42" fmla="*/ 2147483647 w 1960"/>
                    <a:gd name="T43" fmla="*/ 2147483647 h 1958"/>
                    <a:gd name="T44" fmla="*/ 0 w 1960"/>
                    <a:gd name="T45" fmla="*/ 2147483647 h 1958"/>
                    <a:gd name="T46" fmla="*/ 0 w 1960"/>
                    <a:gd name="T47" fmla="*/ 2147483647 h 1958"/>
                    <a:gd name="T48" fmla="*/ 2147483647 w 1960"/>
                    <a:gd name="T49" fmla="*/ 2147483647 h 1958"/>
                    <a:gd name="T50" fmla="*/ 2147483647 w 1960"/>
                    <a:gd name="T51" fmla="*/ 2147483647 h 1958"/>
                    <a:gd name="T52" fmla="*/ 2147483647 w 1960"/>
                    <a:gd name="T53" fmla="*/ 2147483647 h 1958"/>
                    <a:gd name="T54" fmla="*/ 2147483647 w 1960"/>
                    <a:gd name="T55" fmla="*/ 2147483647 h 1958"/>
                    <a:gd name="T56" fmla="*/ 2147483647 w 1960"/>
                    <a:gd name="T57" fmla="*/ 2147483647 h 1958"/>
                    <a:gd name="T58" fmla="*/ 2147483647 w 1960"/>
                    <a:gd name="T59" fmla="*/ 2147483647 h 1958"/>
                    <a:gd name="T60" fmla="*/ 2147483647 w 1960"/>
                    <a:gd name="T61" fmla="*/ 2147483647 h 1958"/>
                    <a:gd name="T62" fmla="*/ 2147483647 w 1960"/>
                    <a:gd name="T63" fmla="*/ 2147483647 h 1958"/>
                    <a:gd name="T64" fmla="*/ 2147483647 w 1960"/>
                    <a:gd name="T65" fmla="*/ 2147483647 h 1958"/>
                    <a:gd name="T66" fmla="*/ 0 w 1960"/>
                    <a:gd name="T67" fmla="*/ 2147483647 h 1958"/>
                    <a:gd name="T68" fmla="*/ 0 w 1960"/>
                    <a:gd name="T69" fmla="*/ 2147483647 h 1958"/>
                    <a:gd name="T70" fmla="*/ 2147483647 w 1960"/>
                    <a:gd name="T71" fmla="*/ 2147483647 h 1958"/>
                    <a:gd name="T72" fmla="*/ 2147483647 w 1960"/>
                    <a:gd name="T73" fmla="*/ 2147483647 h 1958"/>
                    <a:gd name="T74" fmla="*/ 2147483647 w 1960"/>
                    <a:gd name="T75" fmla="*/ 2147483647 h 1958"/>
                    <a:gd name="T76" fmla="*/ 2147483647 w 1960"/>
                    <a:gd name="T77" fmla="*/ 2147483647 h 1958"/>
                    <a:gd name="T78" fmla="*/ 2147483647 w 1960"/>
                    <a:gd name="T79" fmla="*/ 2147483647 h 1958"/>
                    <a:gd name="T80" fmla="*/ 2147483647 w 1960"/>
                    <a:gd name="T81" fmla="*/ 2147483647 h 1958"/>
                    <a:gd name="T82" fmla="*/ 2147483647 w 1960"/>
                    <a:gd name="T83" fmla="*/ 2147483647 h 1958"/>
                    <a:gd name="T84" fmla="*/ 2147483647 w 1960"/>
                    <a:gd name="T85" fmla="*/ 2147483647 h 1958"/>
                    <a:gd name="T86" fmla="*/ 2147483647 w 1960"/>
                    <a:gd name="T87" fmla="*/ 2147483647 h 1958"/>
                    <a:gd name="T88" fmla="*/ 2147483647 w 1960"/>
                    <a:gd name="T89" fmla="*/ 2147483647 h 1958"/>
                    <a:gd name="T90" fmla="*/ 2147483647 w 1960"/>
                    <a:gd name="T91" fmla="*/ 2147483647 h 1958"/>
                    <a:gd name="T92" fmla="*/ 2147483647 w 1960"/>
                    <a:gd name="T93" fmla="*/ 2147483647 h 1958"/>
                    <a:gd name="T94" fmla="*/ 2147483647 w 1960"/>
                    <a:gd name="T95" fmla="*/ 2147483647 h 195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60" h="1958">
                      <a:moveTo>
                        <a:pt x="1500" y="1406"/>
                      </a:moveTo>
                      <a:lnTo>
                        <a:pt x="1500" y="1406"/>
                      </a:lnTo>
                      <a:cubicBezTo>
                        <a:pt x="1500" y="1385"/>
                        <a:pt x="1511" y="1375"/>
                        <a:pt x="1521" y="1364"/>
                      </a:cubicBezTo>
                      <a:cubicBezTo>
                        <a:pt x="1532" y="1364"/>
                        <a:pt x="1552" y="1364"/>
                        <a:pt x="1563" y="1375"/>
                      </a:cubicBezTo>
                      <a:cubicBezTo>
                        <a:pt x="1604" y="1406"/>
                        <a:pt x="1657" y="1415"/>
                        <a:pt x="1709" y="1415"/>
                      </a:cubicBezTo>
                      <a:cubicBezTo>
                        <a:pt x="1844" y="1415"/>
                        <a:pt x="1959" y="1302"/>
                        <a:pt x="1959" y="1166"/>
                      </a:cubicBezTo>
                      <a:cubicBezTo>
                        <a:pt x="1959" y="1031"/>
                        <a:pt x="1844" y="916"/>
                        <a:pt x="1709" y="916"/>
                      </a:cubicBezTo>
                      <a:cubicBezTo>
                        <a:pt x="1657" y="916"/>
                        <a:pt x="1604" y="927"/>
                        <a:pt x="1563" y="958"/>
                      </a:cubicBezTo>
                      <a:cubicBezTo>
                        <a:pt x="1552" y="968"/>
                        <a:pt x="1532" y="968"/>
                        <a:pt x="1521" y="968"/>
                      </a:cubicBezTo>
                      <a:cubicBezTo>
                        <a:pt x="1511" y="958"/>
                        <a:pt x="1500" y="948"/>
                        <a:pt x="1500" y="927"/>
                      </a:cubicBezTo>
                      <a:cubicBezTo>
                        <a:pt x="1500" y="583"/>
                        <a:pt x="1500" y="583"/>
                        <a:pt x="1500" y="583"/>
                      </a:cubicBezTo>
                      <a:cubicBezTo>
                        <a:pt x="1500" y="510"/>
                        <a:pt x="1448" y="458"/>
                        <a:pt x="1375" y="458"/>
                      </a:cubicBezTo>
                      <a:cubicBezTo>
                        <a:pt x="990" y="458"/>
                        <a:pt x="990" y="458"/>
                        <a:pt x="990" y="458"/>
                      </a:cubicBezTo>
                      <a:cubicBezTo>
                        <a:pt x="969" y="458"/>
                        <a:pt x="959" y="448"/>
                        <a:pt x="948" y="437"/>
                      </a:cubicBezTo>
                      <a:cubicBezTo>
                        <a:pt x="948" y="427"/>
                        <a:pt x="948" y="406"/>
                        <a:pt x="959" y="395"/>
                      </a:cubicBezTo>
                      <a:cubicBezTo>
                        <a:pt x="990" y="354"/>
                        <a:pt x="1000" y="302"/>
                        <a:pt x="1000" y="250"/>
                      </a:cubicBezTo>
                      <a:cubicBezTo>
                        <a:pt x="1000" y="114"/>
                        <a:pt x="886" y="0"/>
                        <a:pt x="750" y="0"/>
                      </a:cubicBezTo>
                      <a:cubicBezTo>
                        <a:pt x="615" y="0"/>
                        <a:pt x="500" y="114"/>
                        <a:pt x="500" y="250"/>
                      </a:cubicBezTo>
                      <a:cubicBezTo>
                        <a:pt x="500" y="302"/>
                        <a:pt x="511" y="354"/>
                        <a:pt x="542" y="395"/>
                      </a:cubicBezTo>
                      <a:cubicBezTo>
                        <a:pt x="552" y="406"/>
                        <a:pt x="552" y="427"/>
                        <a:pt x="552" y="437"/>
                      </a:cubicBezTo>
                      <a:cubicBezTo>
                        <a:pt x="542" y="448"/>
                        <a:pt x="532" y="458"/>
                        <a:pt x="511" y="458"/>
                      </a:cubicBezTo>
                      <a:cubicBezTo>
                        <a:pt x="125" y="458"/>
                        <a:pt x="125" y="458"/>
                        <a:pt x="125" y="458"/>
                      </a:cubicBezTo>
                      <a:cubicBezTo>
                        <a:pt x="52" y="458"/>
                        <a:pt x="0" y="510"/>
                        <a:pt x="0" y="583"/>
                      </a:cubicBezTo>
                      <a:cubicBezTo>
                        <a:pt x="0" y="916"/>
                        <a:pt x="0" y="916"/>
                        <a:pt x="0" y="916"/>
                      </a:cubicBezTo>
                      <a:cubicBezTo>
                        <a:pt x="0" y="927"/>
                        <a:pt x="11" y="948"/>
                        <a:pt x="21" y="948"/>
                      </a:cubicBezTo>
                      <a:cubicBezTo>
                        <a:pt x="32" y="958"/>
                        <a:pt x="32" y="958"/>
                        <a:pt x="42" y="958"/>
                      </a:cubicBezTo>
                      <a:cubicBezTo>
                        <a:pt x="52" y="958"/>
                        <a:pt x="63" y="958"/>
                        <a:pt x="63" y="948"/>
                      </a:cubicBezTo>
                      <a:cubicBezTo>
                        <a:pt x="105" y="916"/>
                        <a:pt x="157" y="906"/>
                        <a:pt x="209" y="906"/>
                      </a:cubicBezTo>
                      <a:cubicBezTo>
                        <a:pt x="355" y="906"/>
                        <a:pt x="469" y="1021"/>
                        <a:pt x="469" y="1166"/>
                      </a:cubicBezTo>
                      <a:cubicBezTo>
                        <a:pt x="469" y="1312"/>
                        <a:pt x="355" y="1426"/>
                        <a:pt x="209" y="1426"/>
                      </a:cubicBezTo>
                      <a:cubicBezTo>
                        <a:pt x="157" y="1426"/>
                        <a:pt x="105" y="1415"/>
                        <a:pt x="63" y="1385"/>
                      </a:cubicBezTo>
                      <a:cubicBezTo>
                        <a:pt x="63" y="1375"/>
                        <a:pt x="52" y="1375"/>
                        <a:pt x="42" y="1375"/>
                      </a:cubicBezTo>
                      <a:cubicBezTo>
                        <a:pt x="32" y="1375"/>
                        <a:pt x="32" y="1375"/>
                        <a:pt x="21" y="1385"/>
                      </a:cubicBezTo>
                      <a:cubicBezTo>
                        <a:pt x="11" y="1385"/>
                        <a:pt x="0" y="1406"/>
                        <a:pt x="0" y="1415"/>
                      </a:cubicBezTo>
                      <a:cubicBezTo>
                        <a:pt x="0" y="1832"/>
                        <a:pt x="0" y="1832"/>
                        <a:pt x="0" y="1832"/>
                      </a:cubicBezTo>
                      <a:cubicBezTo>
                        <a:pt x="0" y="1905"/>
                        <a:pt x="52" y="1957"/>
                        <a:pt x="125" y="1957"/>
                      </a:cubicBezTo>
                      <a:cubicBezTo>
                        <a:pt x="500" y="1957"/>
                        <a:pt x="500" y="1957"/>
                        <a:pt x="500" y="1957"/>
                      </a:cubicBezTo>
                      <a:cubicBezTo>
                        <a:pt x="511" y="1957"/>
                        <a:pt x="532" y="1947"/>
                        <a:pt x="532" y="1936"/>
                      </a:cubicBezTo>
                      <a:cubicBezTo>
                        <a:pt x="542" y="1926"/>
                        <a:pt x="542" y="1905"/>
                        <a:pt x="532" y="1895"/>
                      </a:cubicBezTo>
                      <a:cubicBezTo>
                        <a:pt x="500" y="1853"/>
                        <a:pt x="490" y="1801"/>
                        <a:pt x="490" y="1749"/>
                      </a:cubicBezTo>
                      <a:cubicBezTo>
                        <a:pt x="490" y="1603"/>
                        <a:pt x="605" y="1488"/>
                        <a:pt x="750" y="1488"/>
                      </a:cubicBezTo>
                      <a:cubicBezTo>
                        <a:pt x="896" y="1488"/>
                        <a:pt x="1011" y="1603"/>
                        <a:pt x="1011" y="1749"/>
                      </a:cubicBezTo>
                      <a:cubicBezTo>
                        <a:pt x="1011" y="1801"/>
                        <a:pt x="1000" y="1853"/>
                        <a:pt x="969" y="1895"/>
                      </a:cubicBezTo>
                      <a:cubicBezTo>
                        <a:pt x="959" y="1905"/>
                        <a:pt x="959" y="1926"/>
                        <a:pt x="969" y="1936"/>
                      </a:cubicBezTo>
                      <a:cubicBezTo>
                        <a:pt x="969" y="1947"/>
                        <a:pt x="990" y="1957"/>
                        <a:pt x="1000" y="1957"/>
                      </a:cubicBezTo>
                      <a:cubicBezTo>
                        <a:pt x="1375" y="1957"/>
                        <a:pt x="1375" y="1957"/>
                        <a:pt x="1375" y="1957"/>
                      </a:cubicBezTo>
                      <a:cubicBezTo>
                        <a:pt x="1448" y="1957"/>
                        <a:pt x="1500" y="1905"/>
                        <a:pt x="1500" y="1832"/>
                      </a:cubicBezTo>
                      <a:lnTo>
                        <a:pt x="1500" y="1406"/>
                      </a:lnTo>
                    </a:path>
                  </a:pathLst>
                </a:custGeom>
                <a:solidFill>
                  <a:srgbClr val="333333"/>
                </a:solidFill>
                <a:ln w="9525" cap="flat" cmpd="sng" algn="ctr">
                  <a:solidFill>
                    <a:srgbClr val="FFE600"/>
                  </a:solidFill>
                  <a:prstDash val="solid"/>
                </a:ln>
                <a:effectLst/>
                <a:ex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  <a:defRPr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371" name="Freeform 8"/>
                <p:cNvSpPr>
                  <a:spLocks noChangeArrowheads="1"/>
                </p:cNvSpPr>
                <p:nvPr/>
              </p:nvSpPr>
              <p:spPr bwMode="auto">
                <a:xfrm>
                  <a:off x="5179081" y="1689746"/>
                  <a:ext cx="258020" cy="246973"/>
                </a:xfrm>
                <a:custGeom>
                  <a:avLst/>
                  <a:gdLst>
                    <a:gd name="T0" fmla="*/ 2147483647 w 1960"/>
                    <a:gd name="T1" fmla="*/ 2147483647 h 1958"/>
                    <a:gd name="T2" fmla="*/ 2147483647 w 1960"/>
                    <a:gd name="T3" fmla="*/ 2147483647 h 1958"/>
                    <a:gd name="T4" fmla="*/ 2147483647 w 1960"/>
                    <a:gd name="T5" fmla="*/ 2147483647 h 1958"/>
                    <a:gd name="T6" fmla="*/ 2147483647 w 1960"/>
                    <a:gd name="T7" fmla="*/ 2147483647 h 1958"/>
                    <a:gd name="T8" fmla="*/ 2147483647 w 1960"/>
                    <a:gd name="T9" fmla="*/ 2147483647 h 1958"/>
                    <a:gd name="T10" fmla="*/ 2147483647 w 1960"/>
                    <a:gd name="T11" fmla="*/ 2147483647 h 1958"/>
                    <a:gd name="T12" fmla="*/ 2147483647 w 1960"/>
                    <a:gd name="T13" fmla="*/ 2147483647 h 1958"/>
                    <a:gd name="T14" fmla="*/ 2147483647 w 1960"/>
                    <a:gd name="T15" fmla="*/ 2147483647 h 1958"/>
                    <a:gd name="T16" fmla="*/ 2147483647 w 1960"/>
                    <a:gd name="T17" fmla="*/ 2147483647 h 1958"/>
                    <a:gd name="T18" fmla="*/ 2147483647 w 1960"/>
                    <a:gd name="T19" fmla="*/ 2147483647 h 1958"/>
                    <a:gd name="T20" fmla="*/ 2147483647 w 1960"/>
                    <a:gd name="T21" fmla="*/ 2147483647 h 1958"/>
                    <a:gd name="T22" fmla="*/ 2147483647 w 1960"/>
                    <a:gd name="T23" fmla="*/ 2147483647 h 1958"/>
                    <a:gd name="T24" fmla="*/ 2147483647 w 1960"/>
                    <a:gd name="T25" fmla="*/ 2147483647 h 1958"/>
                    <a:gd name="T26" fmla="*/ 2147483647 w 1960"/>
                    <a:gd name="T27" fmla="*/ 2147483647 h 1958"/>
                    <a:gd name="T28" fmla="*/ 2147483647 w 1960"/>
                    <a:gd name="T29" fmla="*/ 2147483647 h 1958"/>
                    <a:gd name="T30" fmla="*/ 2147483647 w 1960"/>
                    <a:gd name="T31" fmla="*/ 2147483647 h 1958"/>
                    <a:gd name="T32" fmla="*/ 2147483647 w 1960"/>
                    <a:gd name="T33" fmla="*/ 0 h 1958"/>
                    <a:gd name="T34" fmla="*/ 2147483647 w 1960"/>
                    <a:gd name="T35" fmla="*/ 2147483647 h 1958"/>
                    <a:gd name="T36" fmla="*/ 2147483647 w 1960"/>
                    <a:gd name="T37" fmla="*/ 2147483647 h 1958"/>
                    <a:gd name="T38" fmla="*/ 2147483647 w 1960"/>
                    <a:gd name="T39" fmla="*/ 2147483647 h 1958"/>
                    <a:gd name="T40" fmla="*/ 2147483647 w 1960"/>
                    <a:gd name="T41" fmla="*/ 2147483647 h 1958"/>
                    <a:gd name="T42" fmla="*/ 2147483647 w 1960"/>
                    <a:gd name="T43" fmla="*/ 2147483647 h 1958"/>
                    <a:gd name="T44" fmla="*/ 0 w 1960"/>
                    <a:gd name="T45" fmla="*/ 2147483647 h 1958"/>
                    <a:gd name="T46" fmla="*/ 0 w 1960"/>
                    <a:gd name="T47" fmla="*/ 2147483647 h 1958"/>
                    <a:gd name="T48" fmla="*/ 2147483647 w 1960"/>
                    <a:gd name="T49" fmla="*/ 2147483647 h 1958"/>
                    <a:gd name="T50" fmla="*/ 2147483647 w 1960"/>
                    <a:gd name="T51" fmla="*/ 2147483647 h 1958"/>
                    <a:gd name="T52" fmla="*/ 2147483647 w 1960"/>
                    <a:gd name="T53" fmla="*/ 2147483647 h 1958"/>
                    <a:gd name="T54" fmla="*/ 2147483647 w 1960"/>
                    <a:gd name="T55" fmla="*/ 2147483647 h 1958"/>
                    <a:gd name="T56" fmla="*/ 2147483647 w 1960"/>
                    <a:gd name="T57" fmla="*/ 2147483647 h 1958"/>
                    <a:gd name="T58" fmla="*/ 2147483647 w 1960"/>
                    <a:gd name="T59" fmla="*/ 2147483647 h 1958"/>
                    <a:gd name="T60" fmla="*/ 2147483647 w 1960"/>
                    <a:gd name="T61" fmla="*/ 2147483647 h 1958"/>
                    <a:gd name="T62" fmla="*/ 2147483647 w 1960"/>
                    <a:gd name="T63" fmla="*/ 2147483647 h 1958"/>
                    <a:gd name="T64" fmla="*/ 2147483647 w 1960"/>
                    <a:gd name="T65" fmla="*/ 2147483647 h 1958"/>
                    <a:gd name="T66" fmla="*/ 0 w 1960"/>
                    <a:gd name="T67" fmla="*/ 2147483647 h 1958"/>
                    <a:gd name="T68" fmla="*/ 0 w 1960"/>
                    <a:gd name="T69" fmla="*/ 2147483647 h 1958"/>
                    <a:gd name="T70" fmla="*/ 2147483647 w 1960"/>
                    <a:gd name="T71" fmla="*/ 2147483647 h 1958"/>
                    <a:gd name="T72" fmla="*/ 2147483647 w 1960"/>
                    <a:gd name="T73" fmla="*/ 2147483647 h 1958"/>
                    <a:gd name="T74" fmla="*/ 2147483647 w 1960"/>
                    <a:gd name="T75" fmla="*/ 2147483647 h 1958"/>
                    <a:gd name="T76" fmla="*/ 2147483647 w 1960"/>
                    <a:gd name="T77" fmla="*/ 2147483647 h 1958"/>
                    <a:gd name="T78" fmla="*/ 2147483647 w 1960"/>
                    <a:gd name="T79" fmla="*/ 2147483647 h 1958"/>
                    <a:gd name="T80" fmla="*/ 2147483647 w 1960"/>
                    <a:gd name="T81" fmla="*/ 2147483647 h 1958"/>
                    <a:gd name="T82" fmla="*/ 2147483647 w 1960"/>
                    <a:gd name="T83" fmla="*/ 2147483647 h 1958"/>
                    <a:gd name="T84" fmla="*/ 2147483647 w 1960"/>
                    <a:gd name="T85" fmla="*/ 2147483647 h 1958"/>
                    <a:gd name="T86" fmla="*/ 2147483647 w 1960"/>
                    <a:gd name="T87" fmla="*/ 2147483647 h 1958"/>
                    <a:gd name="T88" fmla="*/ 2147483647 w 1960"/>
                    <a:gd name="T89" fmla="*/ 2147483647 h 1958"/>
                    <a:gd name="T90" fmla="*/ 2147483647 w 1960"/>
                    <a:gd name="T91" fmla="*/ 2147483647 h 1958"/>
                    <a:gd name="T92" fmla="*/ 2147483647 w 1960"/>
                    <a:gd name="T93" fmla="*/ 2147483647 h 1958"/>
                    <a:gd name="T94" fmla="*/ 2147483647 w 1960"/>
                    <a:gd name="T95" fmla="*/ 2147483647 h 195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60" h="1958">
                      <a:moveTo>
                        <a:pt x="1500" y="1406"/>
                      </a:moveTo>
                      <a:lnTo>
                        <a:pt x="1500" y="1406"/>
                      </a:lnTo>
                      <a:cubicBezTo>
                        <a:pt x="1500" y="1385"/>
                        <a:pt x="1511" y="1375"/>
                        <a:pt x="1521" y="1364"/>
                      </a:cubicBezTo>
                      <a:cubicBezTo>
                        <a:pt x="1532" y="1364"/>
                        <a:pt x="1552" y="1364"/>
                        <a:pt x="1563" y="1375"/>
                      </a:cubicBezTo>
                      <a:cubicBezTo>
                        <a:pt x="1604" y="1406"/>
                        <a:pt x="1657" y="1415"/>
                        <a:pt x="1709" y="1415"/>
                      </a:cubicBezTo>
                      <a:cubicBezTo>
                        <a:pt x="1844" y="1415"/>
                        <a:pt x="1959" y="1302"/>
                        <a:pt x="1959" y="1166"/>
                      </a:cubicBezTo>
                      <a:cubicBezTo>
                        <a:pt x="1959" y="1031"/>
                        <a:pt x="1844" y="916"/>
                        <a:pt x="1709" y="916"/>
                      </a:cubicBezTo>
                      <a:cubicBezTo>
                        <a:pt x="1657" y="916"/>
                        <a:pt x="1604" y="927"/>
                        <a:pt x="1563" y="958"/>
                      </a:cubicBezTo>
                      <a:cubicBezTo>
                        <a:pt x="1552" y="968"/>
                        <a:pt x="1532" y="968"/>
                        <a:pt x="1521" y="968"/>
                      </a:cubicBezTo>
                      <a:cubicBezTo>
                        <a:pt x="1511" y="958"/>
                        <a:pt x="1500" y="948"/>
                        <a:pt x="1500" y="927"/>
                      </a:cubicBezTo>
                      <a:cubicBezTo>
                        <a:pt x="1500" y="583"/>
                        <a:pt x="1500" y="583"/>
                        <a:pt x="1500" y="583"/>
                      </a:cubicBezTo>
                      <a:cubicBezTo>
                        <a:pt x="1500" y="510"/>
                        <a:pt x="1448" y="458"/>
                        <a:pt x="1375" y="458"/>
                      </a:cubicBezTo>
                      <a:cubicBezTo>
                        <a:pt x="990" y="458"/>
                        <a:pt x="990" y="458"/>
                        <a:pt x="990" y="458"/>
                      </a:cubicBezTo>
                      <a:cubicBezTo>
                        <a:pt x="969" y="458"/>
                        <a:pt x="959" y="448"/>
                        <a:pt x="948" y="437"/>
                      </a:cubicBezTo>
                      <a:cubicBezTo>
                        <a:pt x="948" y="427"/>
                        <a:pt x="948" y="406"/>
                        <a:pt x="959" y="395"/>
                      </a:cubicBezTo>
                      <a:cubicBezTo>
                        <a:pt x="990" y="354"/>
                        <a:pt x="1000" y="302"/>
                        <a:pt x="1000" y="250"/>
                      </a:cubicBezTo>
                      <a:cubicBezTo>
                        <a:pt x="1000" y="114"/>
                        <a:pt x="886" y="0"/>
                        <a:pt x="750" y="0"/>
                      </a:cubicBezTo>
                      <a:cubicBezTo>
                        <a:pt x="615" y="0"/>
                        <a:pt x="500" y="114"/>
                        <a:pt x="500" y="250"/>
                      </a:cubicBezTo>
                      <a:cubicBezTo>
                        <a:pt x="500" y="302"/>
                        <a:pt x="511" y="354"/>
                        <a:pt x="542" y="395"/>
                      </a:cubicBezTo>
                      <a:cubicBezTo>
                        <a:pt x="552" y="406"/>
                        <a:pt x="552" y="427"/>
                        <a:pt x="552" y="437"/>
                      </a:cubicBezTo>
                      <a:cubicBezTo>
                        <a:pt x="542" y="448"/>
                        <a:pt x="532" y="458"/>
                        <a:pt x="511" y="458"/>
                      </a:cubicBezTo>
                      <a:cubicBezTo>
                        <a:pt x="125" y="458"/>
                        <a:pt x="125" y="458"/>
                        <a:pt x="125" y="458"/>
                      </a:cubicBezTo>
                      <a:cubicBezTo>
                        <a:pt x="52" y="458"/>
                        <a:pt x="0" y="510"/>
                        <a:pt x="0" y="583"/>
                      </a:cubicBezTo>
                      <a:cubicBezTo>
                        <a:pt x="0" y="916"/>
                        <a:pt x="0" y="916"/>
                        <a:pt x="0" y="916"/>
                      </a:cubicBezTo>
                      <a:cubicBezTo>
                        <a:pt x="0" y="927"/>
                        <a:pt x="11" y="948"/>
                        <a:pt x="21" y="948"/>
                      </a:cubicBezTo>
                      <a:cubicBezTo>
                        <a:pt x="32" y="958"/>
                        <a:pt x="32" y="958"/>
                        <a:pt x="42" y="958"/>
                      </a:cubicBezTo>
                      <a:cubicBezTo>
                        <a:pt x="52" y="958"/>
                        <a:pt x="63" y="958"/>
                        <a:pt x="63" y="948"/>
                      </a:cubicBezTo>
                      <a:cubicBezTo>
                        <a:pt x="105" y="916"/>
                        <a:pt x="157" y="906"/>
                        <a:pt x="209" y="906"/>
                      </a:cubicBezTo>
                      <a:cubicBezTo>
                        <a:pt x="355" y="906"/>
                        <a:pt x="469" y="1021"/>
                        <a:pt x="469" y="1166"/>
                      </a:cubicBezTo>
                      <a:cubicBezTo>
                        <a:pt x="469" y="1312"/>
                        <a:pt x="355" y="1426"/>
                        <a:pt x="209" y="1426"/>
                      </a:cubicBezTo>
                      <a:cubicBezTo>
                        <a:pt x="157" y="1426"/>
                        <a:pt x="105" y="1415"/>
                        <a:pt x="63" y="1385"/>
                      </a:cubicBezTo>
                      <a:cubicBezTo>
                        <a:pt x="63" y="1375"/>
                        <a:pt x="52" y="1375"/>
                        <a:pt x="42" y="1375"/>
                      </a:cubicBezTo>
                      <a:cubicBezTo>
                        <a:pt x="32" y="1375"/>
                        <a:pt x="32" y="1375"/>
                        <a:pt x="21" y="1385"/>
                      </a:cubicBezTo>
                      <a:cubicBezTo>
                        <a:pt x="11" y="1385"/>
                        <a:pt x="0" y="1406"/>
                        <a:pt x="0" y="1415"/>
                      </a:cubicBezTo>
                      <a:cubicBezTo>
                        <a:pt x="0" y="1832"/>
                        <a:pt x="0" y="1832"/>
                        <a:pt x="0" y="1832"/>
                      </a:cubicBezTo>
                      <a:cubicBezTo>
                        <a:pt x="0" y="1905"/>
                        <a:pt x="52" y="1957"/>
                        <a:pt x="125" y="1957"/>
                      </a:cubicBezTo>
                      <a:cubicBezTo>
                        <a:pt x="500" y="1957"/>
                        <a:pt x="500" y="1957"/>
                        <a:pt x="500" y="1957"/>
                      </a:cubicBezTo>
                      <a:cubicBezTo>
                        <a:pt x="511" y="1957"/>
                        <a:pt x="532" y="1947"/>
                        <a:pt x="532" y="1936"/>
                      </a:cubicBezTo>
                      <a:cubicBezTo>
                        <a:pt x="542" y="1926"/>
                        <a:pt x="542" y="1905"/>
                        <a:pt x="532" y="1895"/>
                      </a:cubicBezTo>
                      <a:cubicBezTo>
                        <a:pt x="500" y="1853"/>
                        <a:pt x="490" y="1801"/>
                        <a:pt x="490" y="1749"/>
                      </a:cubicBezTo>
                      <a:cubicBezTo>
                        <a:pt x="490" y="1603"/>
                        <a:pt x="605" y="1488"/>
                        <a:pt x="750" y="1488"/>
                      </a:cubicBezTo>
                      <a:cubicBezTo>
                        <a:pt x="896" y="1488"/>
                        <a:pt x="1011" y="1603"/>
                        <a:pt x="1011" y="1749"/>
                      </a:cubicBezTo>
                      <a:cubicBezTo>
                        <a:pt x="1011" y="1801"/>
                        <a:pt x="1000" y="1853"/>
                        <a:pt x="969" y="1895"/>
                      </a:cubicBezTo>
                      <a:cubicBezTo>
                        <a:pt x="959" y="1905"/>
                        <a:pt x="959" y="1926"/>
                        <a:pt x="969" y="1936"/>
                      </a:cubicBezTo>
                      <a:cubicBezTo>
                        <a:pt x="969" y="1947"/>
                        <a:pt x="990" y="1957"/>
                        <a:pt x="1000" y="1957"/>
                      </a:cubicBezTo>
                      <a:cubicBezTo>
                        <a:pt x="1375" y="1957"/>
                        <a:pt x="1375" y="1957"/>
                        <a:pt x="1375" y="1957"/>
                      </a:cubicBezTo>
                      <a:cubicBezTo>
                        <a:pt x="1448" y="1957"/>
                        <a:pt x="1500" y="1905"/>
                        <a:pt x="1500" y="1832"/>
                      </a:cubicBezTo>
                      <a:lnTo>
                        <a:pt x="1500" y="1406"/>
                      </a:lnTo>
                    </a:path>
                  </a:pathLst>
                </a:custGeom>
                <a:solidFill>
                  <a:srgbClr val="333333"/>
                </a:solidFill>
                <a:ln w="9525" cap="flat" cmpd="sng" algn="ctr">
                  <a:solidFill>
                    <a:srgbClr val="FFE600"/>
                  </a:solidFill>
                  <a:prstDash val="solid"/>
                </a:ln>
                <a:effectLst/>
                <a:ex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  <a:defRPr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372" name="Freeform 8"/>
                <p:cNvSpPr>
                  <a:spLocks noChangeArrowheads="1"/>
                </p:cNvSpPr>
                <p:nvPr/>
              </p:nvSpPr>
              <p:spPr bwMode="auto">
                <a:xfrm>
                  <a:off x="4978592" y="1497845"/>
                  <a:ext cx="258020" cy="246973"/>
                </a:xfrm>
                <a:custGeom>
                  <a:avLst/>
                  <a:gdLst>
                    <a:gd name="T0" fmla="*/ 2147483647 w 1960"/>
                    <a:gd name="T1" fmla="*/ 2147483647 h 1958"/>
                    <a:gd name="T2" fmla="*/ 2147483647 w 1960"/>
                    <a:gd name="T3" fmla="*/ 2147483647 h 1958"/>
                    <a:gd name="T4" fmla="*/ 2147483647 w 1960"/>
                    <a:gd name="T5" fmla="*/ 2147483647 h 1958"/>
                    <a:gd name="T6" fmla="*/ 2147483647 w 1960"/>
                    <a:gd name="T7" fmla="*/ 2147483647 h 1958"/>
                    <a:gd name="T8" fmla="*/ 2147483647 w 1960"/>
                    <a:gd name="T9" fmla="*/ 2147483647 h 1958"/>
                    <a:gd name="T10" fmla="*/ 2147483647 w 1960"/>
                    <a:gd name="T11" fmla="*/ 2147483647 h 1958"/>
                    <a:gd name="T12" fmla="*/ 2147483647 w 1960"/>
                    <a:gd name="T13" fmla="*/ 2147483647 h 1958"/>
                    <a:gd name="T14" fmla="*/ 2147483647 w 1960"/>
                    <a:gd name="T15" fmla="*/ 2147483647 h 1958"/>
                    <a:gd name="T16" fmla="*/ 2147483647 w 1960"/>
                    <a:gd name="T17" fmla="*/ 2147483647 h 1958"/>
                    <a:gd name="T18" fmla="*/ 2147483647 w 1960"/>
                    <a:gd name="T19" fmla="*/ 2147483647 h 1958"/>
                    <a:gd name="T20" fmla="*/ 2147483647 w 1960"/>
                    <a:gd name="T21" fmla="*/ 2147483647 h 1958"/>
                    <a:gd name="T22" fmla="*/ 2147483647 w 1960"/>
                    <a:gd name="T23" fmla="*/ 2147483647 h 1958"/>
                    <a:gd name="T24" fmla="*/ 2147483647 w 1960"/>
                    <a:gd name="T25" fmla="*/ 2147483647 h 1958"/>
                    <a:gd name="T26" fmla="*/ 2147483647 w 1960"/>
                    <a:gd name="T27" fmla="*/ 2147483647 h 1958"/>
                    <a:gd name="T28" fmla="*/ 2147483647 w 1960"/>
                    <a:gd name="T29" fmla="*/ 2147483647 h 1958"/>
                    <a:gd name="T30" fmla="*/ 2147483647 w 1960"/>
                    <a:gd name="T31" fmla="*/ 2147483647 h 1958"/>
                    <a:gd name="T32" fmla="*/ 2147483647 w 1960"/>
                    <a:gd name="T33" fmla="*/ 0 h 1958"/>
                    <a:gd name="T34" fmla="*/ 2147483647 w 1960"/>
                    <a:gd name="T35" fmla="*/ 2147483647 h 1958"/>
                    <a:gd name="T36" fmla="*/ 2147483647 w 1960"/>
                    <a:gd name="T37" fmla="*/ 2147483647 h 1958"/>
                    <a:gd name="T38" fmla="*/ 2147483647 w 1960"/>
                    <a:gd name="T39" fmla="*/ 2147483647 h 1958"/>
                    <a:gd name="T40" fmla="*/ 2147483647 w 1960"/>
                    <a:gd name="T41" fmla="*/ 2147483647 h 1958"/>
                    <a:gd name="T42" fmla="*/ 2147483647 w 1960"/>
                    <a:gd name="T43" fmla="*/ 2147483647 h 1958"/>
                    <a:gd name="T44" fmla="*/ 0 w 1960"/>
                    <a:gd name="T45" fmla="*/ 2147483647 h 1958"/>
                    <a:gd name="T46" fmla="*/ 0 w 1960"/>
                    <a:gd name="T47" fmla="*/ 2147483647 h 1958"/>
                    <a:gd name="T48" fmla="*/ 2147483647 w 1960"/>
                    <a:gd name="T49" fmla="*/ 2147483647 h 1958"/>
                    <a:gd name="T50" fmla="*/ 2147483647 w 1960"/>
                    <a:gd name="T51" fmla="*/ 2147483647 h 1958"/>
                    <a:gd name="T52" fmla="*/ 2147483647 w 1960"/>
                    <a:gd name="T53" fmla="*/ 2147483647 h 1958"/>
                    <a:gd name="T54" fmla="*/ 2147483647 w 1960"/>
                    <a:gd name="T55" fmla="*/ 2147483647 h 1958"/>
                    <a:gd name="T56" fmla="*/ 2147483647 w 1960"/>
                    <a:gd name="T57" fmla="*/ 2147483647 h 1958"/>
                    <a:gd name="T58" fmla="*/ 2147483647 w 1960"/>
                    <a:gd name="T59" fmla="*/ 2147483647 h 1958"/>
                    <a:gd name="T60" fmla="*/ 2147483647 w 1960"/>
                    <a:gd name="T61" fmla="*/ 2147483647 h 1958"/>
                    <a:gd name="T62" fmla="*/ 2147483647 w 1960"/>
                    <a:gd name="T63" fmla="*/ 2147483647 h 1958"/>
                    <a:gd name="T64" fmla="*/ 2147483647 w 1960"/>
                    <a:gd name="T65" fmla="*/ 2147483647 h 1958"/>
                    <a:gd name="T66" fmla="*/ 0 w 1960"/>
                    <a:gd name="T67" fmla="*/ 2147483647 h 1958"/>
                    <a:gd name="T68" fmla="*/ 0 w 1960"/>
                    <a:gd name="T69" fmla="*/ 2147483647 h 1958"/>
                    <a:gd name="T70" fmla="*/ 2147483647 w 1960"/>
                    <a:gd name="T71" fmla="*/ 2147483647 h 1958"/>
                    <a:gd name="T72" fmla="*/ 2147483647 w 1960"/>
                    <a:gd name="T73" fmla="*/ 2147483647 h 1958"/>
                    <a:gd name="T74" fmla="*/ 2147483647 w 1960"/>
                    <a:gd name="T75" fmla="*/ 2147483647 h 1958"/>
                    <a:gd name="T76" fmla="*/ 2147483647 w 1960"/>
                    <a:gd name="T77" fmla="*/ 2147483647 h 1958"/>
                    <a:gd name="T78" fmla="*/ 2147483647 w 1960"/>
                    <a:gd name="T79" fmla="*/ 2147483647 h 1958"/>
                    <a:gd name="T80" fmla="*/ 2147483647 w 1960"/>
                    <a:gd name="T81" fmla="*/ 2147483647 h 1958"/>
                    <a:gd name="T82" fmla="*/ 2147483647 w 1960"/>
                    <a:gd name="T83" fmla="*/ 2147483647 h 1958"/>
                    <a:gd name="T84" fmla="*/ 2147483647 w 1960"/>
                    <a:gd name="T85" fmla="*/ 2147483647 h 1958"/>
                    <a:gd name="T86" fmla="*/ 2147483647 w 1960"/>
                    <a:gd name="T87" fmla="*/ 2147483647 h 1958"/>
                    <a:gd name="T88" fmla="*/ 2147483647 w 1960"/>
                    <a:gd name="T89" fmla="*/ 2147483647 h 1958"/>
                    <a:gd name="T90" fmla="*/ 2147483647 w 1960"/>
                    <a:gd name="T91" fmla="*/ 2147483647 h 1958"/>
                    <a:gd name="T92" fmla="*/ 2147483647 w 1960"/>
                    <a:gd name="T93" fmla="*/ 2147483647 h 1958"/>
                    <a:gd name="T94" fmla="*/ 2147483647 w 1960"/>
                    <a:gd name="T95" fmla="*/ 2147483647 h 195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60" h="1958">
                      <a:moveTo>
                        <a:pt x="1500" y="1406"/>
                      </a:moveTo>
                      <a:lnTo>
                        <a:pt x="1500" y="1406"/>
                      </a:lnTo>
                      <a:cubicBezTo>
                        <a:pt x="1500" y="1385"/>
                        <a:pt x="1511" y="1375"/>
                        <a:pt x="1521" y="1364"/>
                      </a:cubicBezTo>
                      <a:cubicBezTo>
                        <a:pt x="1532" y="1364"/>
                        <a:pt x="1552" y="1364"/>
                        <a:pt x="1563" y="1375"/>
                      </a:cubicBezTo>
                      <a:cubicBezTo>
                        <a:pt x="1604" y="1406"/>
                        <a:pt x="1657" y="1415"/>
                        <a:pt x="1709" y="1415"/>
                      </a:cubicBezTo>
                      <a:cubicBezTo>
                        <a:pt x="1844" y="1415"/>
                        <a:pt x="1959" y="1302"/>
                        <a:pt x="1959" y="1166"/>
                      </a:cubicBezTo>
                      <a:cubicBezTo>
                        <a:pt x="1959" y="1031"/>
                        <a:pt x="1844" y="916"/>
                        <a:pt x="1709" y="916"/>
                      </a:cubicBezTo>
                      <a:cubicBezTo>
                        <a:pt x="1657" y="916"/>
                        <a:pt x="1604" y="927"/>
                        <a:pt x="1563" y="958"/>
                      </a:cubicBezTo>
                      <a:cubicBezTo>
                        <a:pt x="1552" y="968"/>
                        <a:pt x="1532" y="968"/>
                        <a:pt x="1521" y="968"/>
                      </a:cubicBezTo>
                      <a:cubicBezTo>
                        <a:pt x="1511" y="958"/>
                        <a:pt x="1500" y="948"/>
                        <a:pt x="1500" y="927"/>
                      </a:cubicBezTo>
                      <a:cubicBezTo>
                        <a:pt x="1500" y="583"/>
                        <a:pt x="1500" y="583"/>
                        <a:pt x="1500" y="583"/>
                      </a:cubicBezTo>
                      <a:cubicBezTo>
                        <a:pt x="1500" y="510"/>
                        <a:pt x="1448" y="458"/>
                        <a:pt x="1375" y="458"/>
                      </a:cubicBezTo>
                      <a:cubicBezTo>
                        <a:pt x="990" y="458"/>
                        <a:pt x="990" y="458"/>
                        <a:pt x="990" y="458"/>
                      </a:cubicBezTo>
                      <a:cubicBezTo>
                        <a:pt x="969" y="458"/>
                        <a:pt x="959" y="448"/>
                        <a:pt x="948" y="437"/>
                      </a:cubicBezTo>
                      <a:cubicBezTo>
                        <a:pt x="948" y="427"/>
                        <a:pt x="948" y="406"/>
                        <a:pt x="959" y="395"/>
                      </a:cubicBezTo>
                      <a:cubicBezTo>
                        <a:pt x="990" y="354"/>
                        <a:pt x="1000" y="302"/>
                        <a:pt x="1000" y="250"/>
                      </a:cubicBezTo>
                      <a:cubicBezTo>
                        <a:pt x="1000" y="114"/>
                        <a:pt x="886" y="0"/>
                        <a:pt x="750" y="0"/>
                      </a:cubicBezTo>
                      <a:cubicBezTo>
                        <a:pt x="615" y="0"/>
                        <a:pt x="500" y="114"/>
                        <a:pt x="500" y="250"/>
                      </a:cubicBezTo>
                      <a:cubicBezTo>
                        <a:pt x="500" y="302"/>
                        <a:pt x="511" y="354"/>
                        <a:pt x="542" y="395"/>
                      </a:cubicBezTo>
                      <a:cubicBezTo>
                        <a:pt x="552" y="406"/>
                        <a:pt x="552" y="427"/>
                        <a:pt x="552" y="437"/>
                      </a:cubicBezTo>
                      <a:cubicBezTo>
                        <a:pt x="542" y="448"/>
                        <a:pt x="532" y="458"/>
                        <a:pt x="511" y="458"/>
                      </a:cubicBezTo>
                      <a:cubicBezTo>
                        <a:pt x="125" y="458"/>
                        <a:pt x="125" y="458"/>
                        <a:pt x="125" y="458"/>
                      </a:cubicBezTo>
                      <a:cubicBezTo>
                        <a:pt x="52" y="458"/>
                        <a:pt x="0" y="510"/>
                        <a:pt x="0" y="583"/>
                      </a:cubicBezTo>
                      <a:cubicBezTo>
                        <a:pt x="0" y="916"/>
                        <a:pt x="0" y="916"/>
                        <a:pt x="0" y="916"/>
                      </a:cubicBezTo>
                      <a:cubicBezTo>
                        <a:pt x="0" y="927"/>
                        <a:pt x="11" y="948"/>
                        <a:pt x="21" y="948"/>
                      </a:cubicBezTo>
                      <a:cubicBezTo>
                        <a:pt x="32" y="958"/>
                        <a:pt x="32" y="958"/>
                        <a:pt x="42" y="958"/>
                      </a:cubicBezTo>
                      <a:cubicBezTo>
                        <a:pt x="52" y="958"/>
                        <a:pt x="63" y="958"/>
                        <a:pt x="63" y="948"/>
                      </a:cubicBezTo>
                      <a:cubicBezTo>
                        <a:pt x="105" y="916"/>
                        <a:pt x="157" y="906"/>
                        <a:pt x="209" y="906"/>
                      </a:cubicBezTo>
                      <a:cubicBezTo>
                        <a:pt x="355" y="906"/>
                        <a:pt x="469" y="1021"/>
                        <a:pt x="469" y="1166"/>
                      </a:cubicBezTo>
                      <a:cubicBezTo>
                        <a:pt x="469" y="1312"/>
                        <a:pt x="355" y="1426"/>
                        <a:pt x="209" y="1426"/>
                      </a:cubicBezTo>
                      <a:cubicBezTo>
                        <a:pt x="157" y="1426"/>
                        <a:pt x="105" y="1415"/>
                        <a:pt x="63" y="1385"/>
                      </a:cubicBezTo>
                      <a:cubicBezTo>
                        <a:pt x="63" y="1375"/>
                        <a:pt x="52" y="1375"/>
                        <a:pt x="42" y="1375"/>
                      </a:cubicBezTo>
                      <a:cubicBezTo>
                        <a:pt x="32" y="1375"/>
                        <a:pt x="32" y="1375"/>
                        <a:pt x="21" y="1385"/>
                      </a:cubicBezTo>
                      <a:cubicBezTo>
                        <a:pt x="11" y="1385"/>
                        <a:pt x="0" y="1406"/>
                        <a:pt x="0" y="1415"/>
                      </a:cubicBezTo>
                      <a:cubicBezTo>
                        <a:pt x="0" y="1832"/>
                        <a:pt x="0" y="1832"/>
                        <a:pt x="0" y="1832"/>
                      </a:cubicBezTo>
                      <a:cubicBezTo>
                        <a:pt x="0" y="1905"/>
                        <a:pt x="52" y="1957"/>
                        <a:pt x="125" y="1957"/>
                      </a:cubicBezTo>
                      <a:cubicBezTo>
                        <a:pt x="500" y="1957"/>
                        <a:pt x="500" y="1957"/>
                        <a:pt x="500" y="1957"/>
                      </a:cubicBezTo>
                      <a:cubicBezTo>
                        <a:pt x="511" y="1957"/>
                        <a:pt x="532" y="1947"/>
                        <a:pt x="532" y="1936"/>
                      </a:cubicBezTo>
                      <a:cubicBezTo>
                        <a:pt x="542" y="1926"/>
                        <a:pt x="542" y="1905"/>
                        <a:pt x="532" y="1895"/>
                      </a:cubicBezTo>
                      <a:cubicBezTo>
                        <a:pt x="500" y="1853"/>
                        <a:pt x="490" y="1801"/>
                        <a:pt x="490" y="1749"/>
                      </a:cubicBezTo>
                      <a:cubicBezTo>
                        <a:pt x="490" y="1603"/>
                        <a:pt x="605" y="1488"/>
                        <a:pt x="750" y="1488"/>
                      </a:cubicBezTo>
                      <a:cubicBezTo>
                        <a:pt x="896" y="1488"/>
                        <a:pt x="1011" y="1603"/>
                        <a:pt x="1011" y="1749"/>
                      </a:cubicBezTo>
                      <a:cubicBezTo>
                        <a:pt x="1011" y="1801"/>
                        <a:pt x="1000" y="1853"/>
                        <a:pt x="969" y="1895"/>
                      </a:cubicBezTo>
                      <a:cubicBezTo>
                        <a:pt x="959" y="1905"/>
                        <a:pt x="959" y="1926"/>
                        <a:pt x="969" y="1936"/>
                      </a:cubicBezTo>
                      <a:cubicBezTo>
                        <a:pt x="969" y="1947"/>
                        <a:pt x="990" y="1957"/>
                        <a:pt x="1000" y="1957"/>
                      </a:cubicBezTo>
                      <a:cubicBezTo>
                        <a:pt x="1375" y="1957"/>
                        <a:pt x="1375" y="1957"/>
                        <a:pt x="1375" y="1957"/>
                      </a:cubicBezTo>
                      <a:cubicBezTo>
                        <a:pt x="1448" y="1957"/>
                        <a:pt x="1500" y="1905"/>
                        <a:pt x="1500" y="1832"/>
                      </a:cubicBezTo>
                      <a:lnTo>
                        <a:pt x="1500" y="1406"/>
                      </a:lnTo>
                    </a:path>
                  </a:pathLst>
                </a:custGeom>
                <a:solidFill>
                  <a:srgbClr val="333333"/>
                </a:solidFill>
                <a:ln w="9525" cap="flat" cmpd="sng" algn="ctr">
                  <a:solidFill>
                    <a:srgbClr val="FFE600"/>
                  </a:solidFill>
                  <a:prstDash val="solid"/>
                </a:ln>
                <a:effectLst/>
                <a:ex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  <a:defRPr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373" name="Freeform 8"/>
                <p:cNvSpPr>
                  <a:spLocks noChangeArrowheads="1"/>
                </p:cNvSpPr>
                <p:nvPr/>
              </p:nvSpPr>
              <p:spPr bwMode="auto">
                <a:xfrm>
                  <a:off x="5179081" y="1497842"/>
                  <a:ext cx="258020" cy="246973"/>
                </a:xfrm>
                <a:custGeom>
                  <a:avLst/>
                  <a:gdLst>
                    <a:gd name="T0" fmla="*/ 2147483647 w 1960"/>
                    <a:gd name="T1" fmla="*/ 2147483647 h 1958"/>
                    <a:gd name="T2" fmla="*/ 2147483647 w 1960"/>
                    <a:gd name="T3" fmla="*/ 2147483647 h 1958"/>
                    <a:gd name="T4" fmla="*/ 2147483647 w 1960"/>
                    <a:gd name="T5" fmla="*/ 2147483647 h 1958"/>
                    <a:gd name="T6" fmla="*/ 2147483647 w 1960"/>
                    <a:gd name="T7" fmla="*/ 2147483647 h 1958"/>
                    <a:gd name="T8" fmla="*/ 2147483647 w 1960"/>
                    <a:gd name="T9" fmla="*/ 2147483647 h 1958"/>
                    <a:gd name="T10" fmla="*/ 2147483647 w 1960"/>
                    <a:gd name="T11" fmla="*/ 2147483647 h 1958"/>
                    <a:gd name="T12" fmla="*/ 2147483647 w 1960"/>
                    <a:gd name="T13" fmla="*/ 2147483647 h 1958"/>
                    <a:gd name="T14" fmla="*/ 2147483647 w 1960"/>
                    <a:gd name="T15" fmla="*/ 2147483647 h 1958"/>
                    <a:gd name="T16" fmla="*/ 2147483647 w 1960"/>
                    <a:gd name="T17" fmla="*/ 2147483647 h 1958"/>
                    <a:gd name="T18" fmla="*/ 2147483647 w 1960"/>
                    <a:gd name="T19" fmla="*/ 2147483647 h 1958"/>
                    <a:gd name="T20" fmla="*/ 2147483647 w 1960"/>
                    <a:gd name="T21" fmla="*/ 2147483647 h 1958"/>
                    <a:gd name="T22" fmla="*/ 2147483647 w 1960"/>
                    <a:gd name="T23" fmla="*/ 2147483647 h 1958"/>
                    <a:gd name="T24" fmla="*/ 2147483647 w 1960"/>
                    <a:gd name="T25" fmla="*/ 2147483647 h 1958"/>
                    <a:gd name="T26" fmla="*/ 2147483647 w 1960"/>
                    <a:gd name="T27" fmla="*/ 2147483647 h 1958"/>
                    <a:gd name="T28" fmla="*/ 2147483647 w 1960"/>
                    <a:gd name="T29" fmla="*/ 2147483647 h 1958"/>
                    <a:gd name="T30" fmla="*/ 2147483647 w 1960"/>
                    <a:gd name="T31" fmla="*/ 2147483647 h 1958"/>
                    <a:gd name="T32" fmla="*/ 2147483647 w 1960"/>
                    <a:gd name="T33" fmla="*/ 0 h 1958"/>
                    <a:gd name="T34" fmla="*/ 2147483647 w 1960"/>
                    <a:gd name="T35" fmla="*/ 2147483647 h 1958"/>
                    <a:gd name="T36" fmla="*/ 2147483647 w 1960"/>
                    <a:gd name="T37" fmla="*/ 2147483647 h 1958"/>
                    <a:gd name="T38" fmla="*/ 2147483647 w 1960"/>
                    <a:gd name="T39" fmla="*/ 2147483647 h 1958"/>
                    <a:gd name="T40" fmla="*/ 2147483647 w 1960"/>
                    <a:gd name="T41" fmla="*/ 2147483647 h 1958"/>
                    <a:gd name="T42" fmla="*/ 2147483647 w 1960"/>
                    <a:gd name="T43" fmla="*/ 2147483647 h 1958"/>
                    <a:gd name="T44" fmla="*/ 0 w 1960"/>
                    <a:gd name="T45" fmla="*/ 2147483647 h 1958"/>
                    <a:gd name="T46" fmla="*/ 0 w 1960"/>
                    <a:gd name="T47" fmla="*/ 2147483647 h 1958"/>
                    <a:gd name="T48" fmla="*/ 2147483647 w 1960"/>
                    <a:gd name="T49" fmla="*/ 2147483647 h 1958"/>
                    <a:gd name="T50" fmla="*/ 2147483647 w 1960"/>
                    <a:gd name="T51" fmla="*/ 2147483647 h 1958"/>
                    <a:gd name="T52" fmla="*/ 2147483647 w 1960"/>
                    <a:gd name="T53" fmla="*/ 2147483647 h 1958"/>
                    <a:gd name="T54" fmla="*/ 2147483647 w 1960"/>
                    <a:gd name="T55" fmla="*/ 2147483647 h 1958"/>
                    <a:gd name="T56" fmla="*/ 2147483647 w 1960"/>
                    <a:gd name="T57" fmla="*/ 2147483647 h 1958"/>
                    <a:gd name="T58" fmla="*/ 2147483647 w 1960"/>
                    <a:gd name="T59" fmla="*/ 2147483647 h 1958"/>
                    <a:gd name="T60" fmla="*/ 2147483647 w 1960"/>
                    <a:gd name="T61" fmla="*/ 2147483647 h 1958"/>
                    <a:gd name="T62" fmla="*/ 2147483647 w 1960"/>
                    <a:gd name="T63" fmla="*/ 2147483647 h 1958"/>
                    <a:gd name="T64" fmla="*/ 2147483647 w 1960"/>
                    <a:gd name="T65" fmla="*/ 2147483647 h 1958"/>
                    <a:gd name="T66" fmla="*/ 0 w 1960"/>
                    <a:gd name="T67" fmla="*/ 2147483647 h 1958"/>
                    <a:gd name="T68" fmla="*/ 0 w 1960"/>
                    <a:gd name="T69" fmla="*/ 2147483647 h 1958"/>
                    <a:gd name="T70" fmla="*/ 2147483647 w 1960"/>
                    <a:gd name="T71" fmla="*/ 2147483647 h 1958"/>
                    <a:gd name="T72" fmla="*/ 2147483647 w 1960"/>
                    <a:gd name="T73" fmla="*/ 2147483647 h 1958"/>
                    <a:gd name="T74" fmla="*/ 2147483647 w 1960"/>
                    <a:gd name="T75" fmla="*/ 2147483647 h 1958"/>
                    <a:gd name="T76" fmla="*/ 2147483647 w 1960"/>
                    <a:gd name="T77" fmla="*/ 2147483647 h 1958"/>
                    <a:gd name="T78" fmla="*/ 2147483647 w 1960"/>
                    <a:gd name="T79" fmla="*/ 2147483647 h 1958"/>
                    <a:gd name="T80" fmla="*/ 2147483647 w 1960"/>
                    <a:gd name="T81" fmla="*/ 2147483647 h 1958"/>
                    <a:gd name="T82" fmla="*/ 2147483647 w 1960"/>
                    <a:gd name="T83" fmla="*/ 2147483647 h 1958"/>
                    <a:gd name="T84" fmla="*/ 2147483647 w 1960"/>
                    <a:gd name="T85" fmla="*/ 2147483647 h 1958"/>
                    <a:gd name="T86" fmla="*/ 2147483647 w 1960"/>
                    <a:gd name="T87" fmla="*/ 2147483647 h 1958"/>
                    <a:gd name="T88" fmla="*/ 2147483647 w 1960"/>
                    <a:gd name="T89" fmla="*/ 2147483647 h 1958"/>
                    <a:gd name="T90" fmla="*/ 2147483647 w 1960"/>
                    <a:gd name="T91" fmla="*/ 2147483647 h 1958"/>
                    <a:gd name="T92" fmla="*/ 2147483647 w 1960"/>
                    <a:gd name="T93" fmla="*/ 2147483647 h 1958"/>
                    <a:gd name="T94" fmla="*/ 2147483647 w 1960"/>
                    <a:gd name="T95" fmla="*/ 2147483647 h 195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60" h="1958">
                      <a:moveTo>
                        <a:pt x="1500" y="1406"/>
                      </a:moveTo>
                      <a:lnTo>
                        <a:pt x="1500" y="1406"/>
                      </a:lnTo>
                      <a:cubicBezTo>
                        <a:pt x="1500" y="1385"/>
                        <a:pt x="1511" y="1375"/>
                        <a:pt x="1521" y="1364"/>
                      </a:cubicBezTo>
                      <a:cubicBezTo>
                        <a:pt x="1532" y="1364"/>
                        <a:pt x="1552" y="1364"/>
                        <a:pt x="1563" y="1375"/>
                      </a:cubicBezTo>
                      <a:cubicBezTo>
                        <a:pt x="1604" y="1406"/>
                        <a:pt x="1657" y="1415"/>
                        <a:pt x="1709" y="1415"/>
                      </a:cubicBezTo>
                      <a:cubicBezTo>
                        <a:pt x="1844" y="1415"/>
                        <a:pt x="1959" y="1302"/>
                        <a:pt x="1959" y="1166"/>
                      </a:cubicBezTo>
                      <a:cubicBezTo>
                        <a:pt x="1959" y="1031"/>
                        <a:pt x="1844" y="916"/>
                        <a:pt x="1709" y="916"/>
                      </a:cubicBezTo>
                      <a:cubicBezTo>
                        <a:pt x="1657" y="916"/>
                        <a:pt x="1604" y="927"/>
                        <a:pt x="1563" y="958"/>
                      </a:cubicBezTo>
                      <a:cubicBezTo>
                        <a:pt x="1552" y="968"/>
                        <a:pt x="1532" y="968"/>
                        <a:pt x="1521" y="968"/>
                      </a:cubicBezTo>
                      <a:cubicBezTo>
                        <a:pt x="1511" y="958"/>
                        <a:pt x="1500" y="948"/>
                        <a:pt x="1500" y="927"/>
                      </a:cubicBezTo>
                      <a:cubicBezTo>
                        <a:pt x="1500" y="583"/>
                        <a:pt x="1500" y="583"/>
                        <a:pt x="1500" y="583"/>
                      </a:cubicBezTo>
                      <a:cubicBezTo>
                        <a:pt x="1500" y="510"/>
                        <a:pt x="1448" y="458"/>
                        <a:pt x="1375" y="458"/>
                      </a:cubicBezTo>
                      <a:cubicBezTo>
                        <a:pt x="990" y="458"/>
                        <a:pt x="990" y="458"/>
                        <a:pt x="990" y="458"/>
                      </a:cubicBezTo>
                      <a:cubicBezTo>
                        <a:pt x="969" y="458"/>
                        <a:pt x="959" y="448"/>
                        <a:pt x="948" y="437"/>
                      </a:cubicBezTo>
                      <a:cubicBezTo>
                        <a:pt x="948" y="427"/>
                        <a:pt x="948" y="406"/>
                        <a:pt x="959" y="395"/>
                      </a:cubicBezTo>
                      <a:cubicBezTo>
                        <a:pt x="990" y="354"/>
                        <a:pt x="1000" y="302"/>
                        <a:pt x="1000" y="250"/>
                      </a:cubicBezTo>
                      <a:cubicBezTo>
                        <a:pt x="1000" y="114"/>
                        <a:pt x="886" y="0"/>
                        <a:pt x="750" y="0"/>
                      </a:cubicBezTo>
                      <a:cubicBezTo>
                        <a:pt x="615" y="0"/>
                        <a:pt x="500" y="114"/>
                        <a:pt x="500" y="250"/>
                      </a:cubicBezTo>
                      <a:cubicBezTo>
                        <a:pt x="500" y="302"/>
                        <a:pt x="511" y="354"/>
                        <a:pt x="542" y="395"/>
                      </a:cubicBezTo>
                      <a:cubicBezTo>
                        <a:pt x="552" y="406"/>
                        <a:pt x="552" y="427"/>
                        <a:pt x="552" y="437"/>
                      </a:cubicBezTo>
                      <a:cubicBezTo>
                        <a:pt x="542" y="448"/>
                        <a:pt x="532" y="458"/>
                        <a:pt x="511" y="458"/>
                      </a:cubicBezTo>
                      <a:cubicBezTo>
                        <a:pt x="125" y="458"/>
                        <a:pt x="125" y="458"/>
                        <a:pt x="125" y="458"/>
                      </a:cubicBezTo>
                      <a:cubicBezTo>
                        <a:pt x="52" y="458"/>
                        <a:pt x="0" y="510"/>
                        <a:pt x="0" y="583"/>
                      </a:cubicBezTo>
                      <a:cubicBezTo>
                        <a:pt x="0" y="916"/>
                        <a:pt x="0" y="916"/>
                        <a:pt x="0" y="916"/>
                      </a:cubicBezTo>
                      <a:cubicBezTo>
                        <a:pt x="0" y="927"/>
                        <a:pt x="11" y="948"/>
                        <a:pt x="21" y="948"/>
                      </a:cubicBezTo>
                      <a:cubicBezTo>
                        <a:pt x="32" y="958"/>
                        <a:pt x="32" y="958"/>
                        <a:pt x="42" y="958"/>
                      </a:cubicBezTo>
                      <a:cubicBezTo>
                        <a:pt x="52" y="958"/>
                        <a:pt x="63" y="958"/>
                        <a:pt x="63" y="948"/>
                      </a:cubicBezTo>
                      <a:cubicBezTo>
                        <a:pt x="105" y="916"/>
                        <a:pt x="157" y="906"/>
                        <a:pt x="209" y="906"/>
                      </a:cubicBezTo>
                      <a:cubicBezTo>
                        <a:pt x="355" y="906"/>
                        <a:pt x="469" y="1021"/>
                        <a:pt x="469" y="1166"/>
                      </a:cubicBezTo>
                      <a:cubicBezTo>
                        <a:pt x="469" y="1312"/>
                        <a:pt x="355" y="1426"/>
                        <a:pt x="209" y="1426"/>
                      </a:cubicBezTo>
                      <a:cubicBezTo>
                        <a:pt x="157" y="1426"/>
                        <a:pt x="105" y="1415"/>
                        <a:pt x="63" y="1385"/>
                      </a:cubicBezTo>
                      <a:cubicBezTo>
                        <a:pt x="63" y="1375"/>
                        <a:pt x="52" y="1375"/>
                        <a:pt x="42" y="1375"/>
                      </a:cubicBezTo>
                      <a:cubicBezTo>
                        <a:pt x="32" y="1375"/>
                        <a:pt x="32" y="1375"/>
                        <a:pt x="21" y="1385"/>
                      </a:cubicBezTo>
                      <a:cubicBezTo>
                        <a:pt x="11" y="1385"/>
                        <a:pt x="0" y="1406"/>
                        <a:pt x="0" y="1415"/>
                      </a:cubicBezTo>
                      <a:cubicBezTo>
                        <a:pt x="0" y="1832"/>
                        <a:pt x="0" y="1832"/>
                        <a:pt x="0" y="1832"/>
                      </a:cubicBezTo>
                      <a:cubicBezTo>
                        <a:pt x="0" y="1905"/>
                        <a:pt x="52" y="1957"/>
                        <a:pt x="125" y="1957"/>
                      </a:cubicBezTo>
                      <a:cubicBezTo>
                        <a:pt x="500" y="1957"/>
                        <a:pt x="500" y="1957"/>
                        <a:pt x="500" y="1957"/>
                      </a:cubicBezTo>
                      <a:cubicBezTo>
                        <a:pt x="511" y="1957"/>
                        <a:pt x="532" y="1947"/>
                        <a:pt x="532" y="1936"/>
                      </a:cubicBezTo>
                      <a:cubicBezTo>
                        <a:pt x="542" y="1926"/>
                        <a:pt x="542" y="1905"/>
                        <a:pt x="532" y="1895"/>
                      </a:cubicBezTo>
                      <a:cubicBezTo>
                        <a:pt x="500" y="1853"/>
                        <a:pt x="490" y="1801"/>
                        <a:pt x="490" y="1749"/>
                      </a:cubicBezTo>
                      <a:cubicBezTo>
                        <a:pt x="490" y="1603"/>
                        <a:pt x="605" y="1488"/>
                        <a:pt x="750" y="1488"/>
                      </a:cubicBezTo>
                      <a:cubicBezTo>
                        <a:pt x="896" y="1488"/>
                        <a:pt x="1011" y="1603"/>
                        <a:pt x="1011" y="1749"/>
                      </a:cubicBezTo>
                      <a:cubicBezTo>
                        <a:pt x="1011" y="1801"/>
                        <a:pt x="1000" y="1853"/>
                        <a:pt x="969" y="1895"/>
                      </a:cubicBezTo>
                      <a:cubicBezTo>
                        <a:pt x="959" y="1905"/>
                        <a:pt x="959" y="1926"/>
                        <a:pt x="969" y="1936"/>
                      </a:cubicBezTo>
                      <a:cubicBezTo>
                        <a:pt x="969" y="1947"/>
                        <a:pt x="990" y="1957"/>
                        <a:pt x="1000" y="1957"/>
                      </a:cubicBezTo>
                      <a:cubicBezTo>
                        <a:pt x="1375" y="1957"/>
                        <a:pt x="1375" y="1957"/>
                        <a:pt x="1375" y="1957"/>
                      </a:cubicBezTo>
                      <a:cubicBezTo>
                        <a:pt x="1448" y="1957"/>
                        <a:pt x="1500" y="1905"/>
                        <a:pt x="1500" y="1832"/>
                      </a:cubicBezTo>
                      <a:lnTo>
                        <a:pt x="1500" y="1406"/>
                      </a:lnTo>
                    </a:path>
                  </a:pathLst>
                </a:custGeom>
                <a:solidFill>
                  <a:srgbClr val="333333"/>
                </a:solidFill>
                <a:ln w="9525" cap="flat" cmpd="sng" algn="ctr">
                  <a:solidFill>
                    <a:srgbClr val="FFE600"/>
                  </a:solidFill>
                  <a:prstDash val="solid"/>
                </a:ln>
                <a:effectLst/>
                <a:ex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  <a:defRPr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  <a:sym typeface="Arial"/>
                  </a:endParaRPr>
                </a:p>
              </p:txBody>
            </p:sp>
          </p:grpSp>
        </p:grpSp>
        <p:sp>
          <p:nvSpPr>
            <p:cNvPr id="337" name="Freeform 9"/>
            <p:cNvSpPr>
              <a:spLocks noChangeAspect="1" noEditPoints="1"/>
            </p:cNvSpPr>
            <p:nvPr/>
          </p:nvSpPr>
          <p:spPr bwMode="auto">
            <a:xfrm>
              <a:off x="8629130" y="2852408"/>
              <a:ext cx="727707" cy="353206"/>
            </a:xfrm>
            <a:custGeom>
              <a:avLst/>
              <a:gdLst>
                <a:gd name="T0" fmla="*/ 2310 w 3402"/>
                <a:gd name="T1" fmla="*/ 5 h 1788"/>
                <a:gd name="T2" fmla="*/ 1458 w 3402"/>
                <a:gd name="T3" fmla="*/ 1413 h 1788"/>
                <a:gd name="T4" fmla="*/ 1396 w 3402"/>
                <a:gd name="T5" fmla="*/ 1567 h 1788"/>
                <a:gd name="T6" fmla="*/ 1428 w 3402"/>
                <a:gd name="T7" fmla="*/ 1686 h 1788"/>
                <a:gd name="T8" fmla="*/ 1521 w 3402"/>
                <a:gd name="T9" fmla="*/ 1769 h 1788"/>
                <a:gd name="T10" fmla="*/ 1612 w 3402"/>
                <a:gd name="T11" fmla="*/ 1788 h 1788"/>
                <a:gd name="T12" fmla="*/ 1595 w 3402"/>
                <a:gd name="T13" fmla="*/ 1724 h 1788"/>
                <a:gd name="T14" fmla="*/ 1521 w 3402"/>
                <a:gd name="T15" fmla="*/ 1695 h 1788"/>
                <a:gd name="T16" fmla="*/ 1469 w 3402"/>
                <a:gd name="T17" fmla="*/ 1627 h 1788"/>
                <a:gd name="T18" fmla="*/ 1463 w 3402"/>
                <a:gd name="T19" fmla="*/ 1541 h 1788"/>
                <a:gd name="T20" fmla="*/ 1498 w 3402"/>
                <a:gd name="T21" fmla="*/ 1473 h 1788"/>
                <a:gd name="T22" fmla="*/ 1572 w 3402"/>
                <a:gd name="T23" fmla="*/ 1428 h 1788"/>
                <a:gd name="T24" fmla="*/ 1659 w 3402"/>
                <a:gd name="T25" fmla="*/ 1431 h 1788"/>
                <a:gd name="T26" fmla="*/ 1723 w 3402"/>
                <a:gd name="T27" fmla="*/ 1472 h 1788"/>
                <a:gd name="T28" fmla="*/ 1760 w 3402"/>
                <a:gd name="T29" fmla="*/ 1550 h 1788"/>
                <a:gd name="T30" fmla="*/ 1748 w 3402"/>
                <a:gd name="T31" fmla="*/ 1636 h 1788"/>
                <a:gd name="T32" fmla="*/ 1771 w 3402"/>
                <a:gd name="T33" fmla="*/ 1716 h 1788"/>
                <a:gd name="T34" fmla="*/ 1833 w 3402"/>
                <a:gd name="T35" fmla="*/ 1584 h 1788"/>
                <a:gd name="T36" fmla="*/ 2343 w 3402"/>
                <a:gd name="T37" fmla="*/ 19 h 1788"/>
                <a:gd name="T38" fmla="*/ 3395 w 3402"/>
                <a:gd name="T39" fmla="*/ 1536 h 1788"/>
                <a:gd name="T40" fmla="*/ 3328 w 3402"/>
                <a:gd name="T41" fmla="*/ 1211 h 1788"/>
                <a:gd name="T42" fmla="*/ 3205 w 3402"/>
                <a:gd name="T43" fmla="*/ 913 h 1788"/>
                <a:gd name="T44" fmla="*/ 3028 w 3402"/>
                <a:gd name="T45" fmla="*/ 645 h 1788"/>
                <a:gd name="T46" fmla="*/ 2807 w 3402"/>
                <a:gd name="T47" fmla="*/ 418 h 1788"/>
                <a:gd name="T48" fmla="*/ 2546 w 3402"/>
                <a:gd name="T49" fmla="*/ 234 h 1788"/>
                <a:gd name="T50" fmla="*/ 2497 w 3402"/>
                <a:gd name="T51" fmla="*/ 343 h 1788"/>
                <a:gd name="T52" fmla="*/ 2727 w 3402"/>
                <a:gd name="T53" fmla="*/ 507 h 1788"/>
                <a:gd name="T54" fmla="*/ 2924 w 3402"/>
                <a:gd name="T55" fmla="*/ 707 h 1788"/>
                <a:gd name="T56" fmla="*/ 3083 w 3402"/>
                <a:gd name="T57" fmla="*/ 939 h 1788"/>
                <a:gd name="T58" fmla="*/ 3200 w 3402"/>
                <a:gd name="T59" fmla="*/ 1199 h 1788"/>
                <a:gd name="T60" fmla="*/ 3268 w 3402"/>
                <a:gd name="T61" fmla="*/ 1483 h 1788"/>
                <a:gd name="T62" fmla="*/ 2897 w 3402"/>
                <a:gd name="T63" fmla="*/ 1346 h 1788"/>
                <a:gd name="T64" fmla="*/ 2819 w 3402"/>
                <a:gd name="T65" fmla="*/ 1154 h 1788"/>
                <a:gd name="T66" fmla="*/ 2712 w 3402"/>
                <a:gd name="T67" fmla="*/ 980 h 1788"/>
                <a:gd name="T68" fmla="*/ 2580 w 3402"/>
                <a:gd name="T69" fmla="*/ 826 h 1788"/>
                <a:gd name="T70" fmla="*/ 2425 w 3402"/>
                <a:gd name="T71" fmla="*/ 694 h 1788"/>
                <a:gd name="T72" fmla="*/ 2271 w 3402"/>
                <a:gd name="T73" fmla="*/ 737 h 1788"/>
                <a:gd name="T74" fmla="*/ 2426 w 3402"/>
                <a:gd name="T75" fmla="*/ 845 h 1788"/>
                <a:gd name="T76" fmla="*/ 2560 w 3402"/>
                <a:gd name="T77" fmla="*/ 977 h 1788"/>
                <a:gd name="T78" fmla="*/ 2670 w 3402"/>
                <a:gd name="T79" fmla="*/ 1131 h 1788"/>
                <a:gd name="T80" fmla="*/ 2755 w 3402"/>
                <a:gd name="T81" fmla="*/ 1301 h 1788"/>
                <a:gd name="T82" fmla="*/ 2810 w 3402"/>
                <a:gd name="T83" fmla="*/ 1486 h 1788"/>
                <a:gd name="T84" fmla="*/ 1704 w 3402"/>
                <a:gd name="T85" fmla="*/ 577 h 1788"/>
                <a:gd name="T86" fmla="*/ 2100 w 3402"/>
                <a:gd name="T87" fmla="*/ 60 h 1788"/>
                <a:gd name="T88" fmla="*/ 1799 w 3402"/>
                <a:gd name="T89" fmla="*/ 14 h 1788"/>
                <a:gd name="T90" fmla="*/ 1641 w 3402"/>
                <a:gd name="T91" fmla="*/ 12 h 1788"/>
                <a:gd name="T92" fmla="*/ 1395 w 3402"/>
                <a:gd name="T93" fmla="*/ 37 h 1788"/>
                <a:gd name="T94" fmla="*/ 1161 w 3402"/>
                <a:gd name="T95" fmla="*/ 97 h 1788"/>
                <a:gd name="T96" fmla="*/ 941 w 3402"/>
                <a:gd name="T97" fmla="*/ 187 h 1788"/>
                <a:gd name="T98" fmla="*/ 737 w 3402"/>
                <a:gd name="T99" fmla="*/ 306 h 1788"/>
                <a:gd name="T100" fmla="*/ 554 w 3402"/>
                <a:gd name="T101" fmla="*/ 452 h 1788"/>
                <a:gd name="T102" fmla="*/ 391 w 3402"/>
                <a:gd name="T103" fmla="*/ 622 h 1788"/>
                <a:gd name="T104" fmla="*/ 254 w 3402"/>
                <a:gd name="T105" fmla="*/ 812 h 1788"/>
                <a:gd name="T106" fmla="*/ 143 w 3402"/>
                <a:gd name="T107" fmla="*/ 1021 h 1788"/>
                <a:gd name="T108" fmla="*/ 61 w 3402"/>
                <a:gd name="T109" fmla="*/ 1247 h 1788"/>
                <a:gd name="T110" fmla="*/ 12 w 3402"/>
                <a:gd name="T111" fmla="*/ 1485 h 1788"/>
                <a:gd name="T112" fmla="*/ 572 w 3402"/>
                <a:gd name="T113" fmla="*/ 1554 h 1788"/>
                <a:gd name="T114" fmla="*/ 659 w 3402"/>
                <a:gd name="T115" fmla="*/ 1251 h 1788"/>
                <a:gd name="T116" fmla="*/ 822 w 3402"/>
                <a:gd name="T117" fmla="*/ 989 h 1788"/>
                <a:gd name="T118" fmla="*/ 1048 w 3402"/>
                <a:gd name="T119" fmla="*/ 780 h 1788"/>
                <a:gd name="T120" fmla="*/ 1325 w 3402"/>
                <a:gd name="T121" fmla="*/ 640 h 1788"/>
                <a:gd name="T122" fmla="*/ 1638 w 3402"/>
                <a:gd name="T123" fmla="*/ 578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2" h="1788">
                  <a:moveTo>
                    <a:pt x="2331" y="1"/>
                  </a:moveTo>
                  <a:lnTo>
                    <a:pt x="2331" y="1"/>
                  </a:lnTo>
                  <a:lnTo>
                    <a:pt x="2328" y="0"/>
                  </a:lnTo>
                  <a:lnTo>
                    <a:pt x="2324" y="0"/>
                  </a:lnTo>
                  <a:lnTo>
                    <a:pt x="2317" y="1"/>
                  </a:lnTo>
                  <a:lnTo>
                    <a:pt x="2310" y="5"/>
                  </a:lnTo>
                  <a:lnTo>
                    <a:pt x="2308" y="7"/>
                  </a:lnTo>
                  <a:lnTo>
                    <a:pt x="2306" y="9"/>
                  </a:lnTo>
                  <a:lnTo>
                    <a:pt x="2306" y="9"/>
                  </a:lnTo>
                  <a:lnTo>
                    <a:pt x="1866" y="736"/>
                  </a:lnTo>
                  <a:lnTo>
                    <a:pt x="1560" y="1242"/>
                  </a:lnTo>
                  <a:lnTo>
                    <a:pt x="1458" y="1413"/>
                  </a:lnTo>
                  <a:lnTo>
                    <a:pt x="1416" y="1485"/>
                  </a:lnTo>
                  <a:lnTo>
                    <a:pt x="1416" y="1485"/>
                  </a:lnTo>
                  <a:lnTo>
                    <a:pt x="1408" y="1505"/>
                  </a:lnTo>
                  <a:lnTo>
                    <a:pt x="1401" y="1525"/>
                  </a:lnTo>
                  <a:lnTo>
                    <a:pt x="1397" y="1546"/>
                  </a:lnTo>
                  <a:lnTo>
                    <a:pt x="1396" y="1567"/>
                  </a:lnTo>
                  <a:lnTo>
                    <a:pt x="1396" y="1588"/>
                  </a:lnTo>
                  <a:lnTo>
                    <a:pt x="1399" y="1609"/>
                  </a:lnTo>
                  <a:lnTo>
                    <a:pt x="1403" y="1630"/>
                  </a:lnTo>
                  <a:lnTo>
                    <a:pt x="1409" y="1649"/>
                  </a:lnTo>
                  <a:lnTo>
                    <a:pt x="1417" y="1668"/>
                  </a:lnTo>
                  <a:lnTo>
                    <a:pt x="1428" y="1686"/>
                  </a:lnTo>
                  <a:lnTo>
                    <a:pt x="1439" y="1702"/>
                  </a:lnTo>
                  <a:lnTo>
                    <a:pt x="1452" y="1719"/>
                  </a:lnTo>
                  <a:lnTo>
                    <a:pt x="1467" y="1734"/>
                  </a:lnTo>
                  <a:lnTo>
                    <a:pt x="1484" y="1748"/>
                  </a:lnTo>
                  <a:lnTo>
                    <a:pt x="1501" y="1759"/>
                  </a:lnTo>
                  <a:lnTo>
                    <a:pt x="1521" y="1769"/>
                  </a:lnTo>
                  <a:lnTo>
                    <a:pt x="1521" y="1769"/>
                  </a:lnTo>
                  <a:lnTo>
                    <a:pt x="1539" y="1776"/>
                  </a:lnTo>
                  <a:lnTo>
                    <a:pt x="1557" y="1782"/>
                  </a:lnTo>
                  <a:lnTo>
                    <a:pt x="1575" y="1786"/>
                  </a:lnTo>
                  <a:lnTo>
                    <a:pt x="1594" y="1788"/>
                  </a:lnTo>
                  <a:lnTo>
                    <a:pt x="1612" y="1788"/>
                  </a:lnTo>
                  <a:lnTo>
                    <a:pt x="1629" y="1788"/>
                  </a:lnTo>
                  <a:lnTo>
                    <a:pt x="1648" y="1786"/>
                  </a:lnTo>
                  <a:lnTo>
                    <a:pt x="1665" y="1781"/>
                  </a:lnTo>
                  <a:lnTo>
                    <a:pt x="1610" y="1724"/>
                  </a:lnTo>
                  <a:lnTo>
                    <a:pt x="1610" y="1724"/>
                  </a:lnTo>
                  <a:lnTo>
                    <a:pt x="1595" y="1724"/>
                  </a:lnTo>
                  <a:lnTo>
                    <a:pt x="1579" y="1722"/>
                  </a:lnTo>
                  <a:lnTo>
                    <a:pt x="1564" y="1717"/>
                  </a:lnTo>
                  <a:lnTo>
                    <a:pt x="1548" y="1712"/>
                  </a:lnTo>
                  <a:lnTo>
                    <a:pt x="1548" y="1712"/>
                  </a:lnTo>
                  <a:lnTo>
                    <a:pt x="1534" y="1705"/>
                  </a:lnTo>
                  <a:lnTo>
                    <a:pt x="1521" y="1695"/>
                  </a:lnTo>
                  <a:lnTo>
                    <a:pt x="1509" y="1686"/>
                  </a:lnTo>
                  <a:lnTo>
                    <a:pt x="1499" y="1676"/>
                  </a:lnTo>
                  <a:lnTo>
                    <a:pt x="1490" y="1665"/>
                  </a:lnTo>
                  <a:lnTo>
                    <a:pt x="1482" y="1653"/>
                  </a:lnTo>
                  <a:lnTo>
                    <a:pt x="1475" y="1640"/>
                  </a:lnTo>
                  <a:lnTo>
                    <a:pt x="1469" y="1627"/>
                  </a:lnTo>
                  <a:lnTo>
                    <a:pt x="1464" y="1613"/>
                  </a:lnTo>
                  <a:lnTo>
                    <a:pt x="1461" y="1598"/>
                  </a:lnTo>
                  <a:lnTo>
                    <a:pt x="1460" y="1584"/>
                  </a:lnTo>
                  <a:lnTo>
                    <a:pt x="1460" y="1569"/>
                  </a:lnTo>
                  <a:lnTo>
                    <a:pt x="1461" y="1554"/>
                  </a:lnTo>
                  <a:lnTo>
                    <a:pt x="1463" y="1541"/>
                  </a:lnTo>
                  <a:lnTo>
                    <a:pt x="1468" y="1525"/>
                  </a:lnTo>
                  <a:lnTo>
                    <a:pt x="1474" y="1512"/>
                  </a:lnTo>
                  <a:lnTo>
                    <a:pt x="1474" y="1512"/>
                  </a:lnTo>
                  <a:lnTo>
                    <a:pt x="1481" y="1498"/>
                  </a:lnTo>
                  <a:lnTo>
                    <a:pt x="1489" y="1485"/>
                  </a:lnTo>
                  <a:lnTo>
                    <a:pt x="1498" y="1473"/>
                  </a:lnTo>
                  <a:lnTo>
                    <a:pt x="1508" y="1463"/>
                  </a:lnTo>
                  <a:lnTo>
                    <a:pt x="1520" y="1453"/>
                  </a:lnTo>
                  <a:lnTo>
                    <a:pt x="1533" y="1445"/>
                  </a:lnTo>
                  <a:lnTo>
                    <a:pt x="1545" y="1438"/>
                  </a:lnTo>
                  <a:lnTo>
                    <a:pt x="1558" y="1432"/>
                  </a:lnTo>
                  <a:lnTo>
                    <a:pt x="1572" y="1428"/>
                  </a:lnTo>
                  <a:lnTo>
                    <a:pt x="1587" y="1425"/>
                  </a:lnTo>
                  <a:lnTo>
                    <a:pt x="1601" y="1424"/>
                  </a:lnTo>
                  <a:lnTo>
                    <a:pt x="1616" y="1423"/>
                  </a:lnTo>
                  <a:lnTo>
                    <a:pt x="1631" y="1424"/>
                  </a:lnTo>
                  <a:lnTo>
                    <a:pt x="1646" y="1427"/>
                  </a:lnTo>
                  <a:lnTo>
                    <a:pt x="1659" y="1431"/>
                  </a:lnTo>
                  <a:lnTo>
                    <a:pt x="1674" y="1436"/>
                  </a:lnTo>
                  <a:lnTo>
                    <a:pt x="1674" y="1436"/>
                  </a:lnTo>
                  <a:lnTo>
                    <a:pt x="1688" y="1443"/>
                  </a:lnTo>
                  <a:lnTo>
                    <a:pt x="1701" y="1453"/>
                  </a:lnTo>
                  <a:lnTo>
                    <a:pt x="1713" y="1462"/>
                  </a:lnTo>
                  <a:lnTo>
                    <a:pt x="1723" y="1472"/>
                  </a:lnTo>
                  <a:lnTo>
                    <a:pt x="1732" y="1483"/>
                  </a:lnTo>
                  <a:lnTo>
                    <a:pt x="1740" y="1495"/>
                  </a:lnTo>
                  <a:lnTo>
                    <a:pt x="1747" y="1508"/>
                  </a:lnTo>
                  <a:lnTo>
                    <a:pt x="1753" y="1521"/>
                  </a:lnTo>
                  <a:lnTo>
                    <a:pt x="1758" y="1535"/>
                  </a:lnTo>
                  <a:lnTo>
                    <a:pt x="1760" y="1550"/>
                  </a:lnTo>
                  <a:lnTo>
                    <a:pt x="1762" y="1564"/>
                  </a:lnTo>
                  <a:lnTo>
                    <a:pt x="1762" y="1579"/>
                  </a:lnTo>
                  <a:lnTo>
                    <a:pt x="1761" y="1594"/>
                  </a:lnTo>
                  <a:lnTo>
                    <a:pt x="1759" y="1608"/>
                  </a:lnTo>
                  <a:lnTo>
                    <a:pt x="1754" y="1623"/>
                  </a:lnTo>
                  <a:lnTo>
                    <a:pt x="1748" y="1636"/>
                  </a:lnTo>
                  <a:lnTo>
                    <a:pt x="1748" y="1636"/>
                  </a:lnTo>
                  <a:lnTo>
                    <a:pt x="1744" y="1646"/>
                  </a:lnTo>
                  <a:lnTo>
                    <a:pt x="1738" y="1655"/>
                  </a:lnTo>
                  <a:lnTo>
                    <a:pt x="1726" y="1671"/>
                  </a:lnTo>
                  <a:lnTo>
                    <a:pt x="1771" y="1716"/>
                  </a:lnTo>
                  <a:lnTo>
                    <a:pt x="1771" y="1716"/>
                  </a:lnTo>
                  <a:lnTo>
                    <a:pt x="1782" y="1705"/>
                  </a:lnTo>
                  <a:lnTo>
                    <a:pt x="1791" y="1692"/>
                  </a:lnTo>
                  <a:lnTo>
                    <a:pt x="1799" y="1678"/>
                  </a:lnTo>
                  <a:lnTo>
                    <a:pt x="1806" y="1663"/>
                  </a:lnTo>
                  <a:lnTo>
                    <a:pt x="1806" y="1663"/>
                  </a:lnTo>
                  <a:lnTo>
                    <a:pt x="1833" y="1584"/>
                  </a:lnTo>
                  <a:lnTo>
                    <a:pt x="1896" y="1395"/>
                  </a:lnTo>
                  <a:lnTo>
                    <a:pt x="2080" y="834"/>
                  </a:lnTo>
                  <a:lnTo>
                    <a:pt x="2341" y="27"/>
                  </a:lnTo>
                  <a:lnTo>
                    <a:pt x="2341" y="27"/>
                  </a:lnTo>
                  <a:lnTo>
                    <a:pt x="2343" y="22"/>
                  </a:lnTo>
                  <a:lnTo>
                    <a:pt x="2343" y="19"/>
                  </a:lnTo>
                  <a:lnTo>
                    <a:pt x="2341" y="12"/>
                  </a:lnTo>
                  <a:lnTo>
                    <a:pt x="2337" y="6"/>
                  </a:lnTo>
                  <a:lnTo>
                    <a:pt x="2335" y="3"/>
                  </a:lnTo>
                  <a:lnTo>
                    <a:pt x="2331" y="1"/>
                  </a:lnTo>
                  <a:close/>
                  <a:moveTo>
                    <a:pt x="3395" y="1536"/>
                  </a:moveTo>
                  <a:lnTo>
                    <a:pt x="3395" y="1536"/>
                  </a:lnTo>
                  <a:lnTo>
                    <a:pt x="3388" y="1480"/>
                  </a:lnTo>
                  <a:lnTo>
                    <a:pt x="3380" y="1425"/>
                  </a:lnTo>
                  <a:lnTo>
                    <a:pt x="3370" y="1370"/>
                  </a:lnTo>
                  <a:lnTo>
                    <a:pt x="3357" y="1317"/>
                  </a:lnTo>
                  <a:lnTo>
                    <a:pt x="3344" y="1264"/>
                  </a:lnTo>
                  <a:lnTo>
                    <a:pt x="3328" y="1211"/>
                  </a:lnTo>
                  <a:lnTo>
                    <a:pt x="3312" y="1160"/>
                  </a:lnTo>
                  <a:lnTo>
                    <a:pt x="3294" y="1108"/>
                  </a:lnTo>
                  <a:lnTo>
                    <a:pt x="3273" y="1058"/>
                  </a:lnTo>
                  <a:lnTo>
                    <a:pt x="3252" y="1008"/>
                  </a:lnTo>
                  <a:lnTo>
                    <a:pt x="3229" y="960"/>
                  </a:lnTo>
                  <a:lnTo>
                    <a:pt x="3205" y="913"/>
                  </a:lnTo>
                  <a:lnTo>
                    <a:pt x="3178" y="866"/>
                  </a:lnTo>
                  <a:lnTo>
                    <a:pt x="3150" y="820"/>
                  </a:lnTo>
                  <a:lnTo>
                    <a:pt x="3122" y="775"/>
                  </a:lnTo>
                  <a:lnTo>
                    <a:pt x="3092" y="731"/>
                  </a:lnTo>
                  <a:lnTo>
                    <a:pt x="3060" y="688"/>
                  </a:lnTo>
                  <a:lnTo>
                    <a:pt x="3028" y="645"/>
                  </a:lnTo>
                  <a:lnTo>
                    <a:pt x="2993" y="605"/>
                  </a:lnTo>
                  <a:lnTo>
                    <a:pt x="2959" y="566"/>
                  </a:lnTo>
                  <a:lnTo>
                    <a:pt x="2922" y="526"/>
                  </a:lnTo>
                  <a:lnTo>
                    <a:pt x="2885" y="489"/>
                  </a:lnTo>
                  <a:lnTo>
                    <a:pt x="2846" y="452"/>
                  </a:lnTo>
                  <a:lnTo>
                    <a:pt x="2807" y="418"/>
                  </a:lnTo>
                  <a:lnTo>
                    <a:pt x="2765" y="384"/>
                  </a:lnTo>
                  <a:lnTo>
                    <a:pt x="2723" y="350"/>
                  </a:lnTo>
                  <a:lnTo>
                    <a:pt x="2681" y="319"/>
                  </a:lnTo>
                  <a:lnTo>
                    <a:pt x="2637" y="289"/>
                  </a:lnTo>
                  <a:lnTo>
                    <a:pt x="2592" y="261"/>
                  </a:lnTo>
                  <a:lnTo>
                    <a:pt x="2546" y="234"/>
                  </a:lnTo>
                  <a:lnTo>
                    <a:pt x="2498" y="208"/>
                  </a:lnTo>
                  <a:lnTo>
                    <a:pt x="2451" y="183"/>
                  </a:lnTo>
                  <a:lnTo>
                    <a:pt x="2414" y="298"/>
                  </a:lnTo>
                  <a:lnTo>
                    <a:pt x="2414" y="298"/>
                  </a:lnTo>
                  <a:lnTo>
                    <a:pt x="2456" y="320"/>
                  </a:lnTo>
                  <a:lnTo>
                    <a:pt x="2497" y="343"/>
                  </a:lnTo>
                  <a:lnTo>
                    <a:pt x="2538" y="368"/>
                  </a:lnTo>
                  <a:lnTo>
                    <a:pt x="2577" y="393"/>
                  </a:lnTo>
                  <a:lnTo>
                    <a:pt x="2616" y="420"/>
                  </a:lnTo>
                  <a:lnTo>
                    <a:pt x="2653" y="448"/>
                  </a:lnTo>
                  <a:lnTo>
                    <a:pt x="2690" y="476"/>
                  </a:lnTo>
                  <a:lnTo>
                    <a:pt x="2727" y="507"/>
                  </a:lnTo>
                  <a:lnTo>
                    <a:pt x="2762" y="537"/>
                  </a:lnTo>
                  <a:lnTo>
                    <a:pt x="2796" y="569"/>
                  </a:lnTo>
                  <a:lnTo>
                    <a:pt x="2830" y="603"/>
                  </a:lnTo>
                  <a:lnTo>
                    <a:pt x="2862" y="636"/>
                  </a:lnTo>
                  <a:lnTo>
                    <a:pt x="2893" y="671"/>
                  </a:lnTo>
                  <a:lnTo>
                    <a:pt x="2924" y="707"/>
                  </a:lnTo>
                  <a:lnTo>
                    <a:pt x="2953" y="744"/>
                  </a:lnTo>
                  <a:lnTo>
                    <a:pt x="2981" y="781"/>
                  </a:lnTo>
                  <a:lnTo>
                    <a:pt x="3008" y="819"/>
                  </a:lnTo>
                  <a:lnTo>
                    <a:pt x="3034" y="858"/>
                  </a:lnTo>
                  <a:lnTo>
                    <a:pt x="3059" y="899"/>
                  </a:lnTo>
                  <a:lnTo>
                    <a:pt x="3083" y="939"/>
                  </a:lnTo>
                  <a:lnTo>
                    <a:pt x="3105" y="981"/>
                  </a:lnTo>
                  <a:lnTo>
                    <a:pt x="3127" y="1024"/>
                  </a:lnTo>
                  <a:lnTo>
                    <a:pt x="3147" y="1066"/>
                  </a:lnTo>
                  <a:lnTo>
                    <a:pt x="3165" y="1110"/>
                  </a:lnTo>
                  <a:lnTo>
                    <a:pt x="3183" y="1154"/>
                  </a:lnTo>
                  <a:lnTo>
                    <a:pt x="3200" y="1199"/>
                  </a:lnTo>
                  <a:lnTo>
                    <a:pt x="3214" y="1246"/>
                  </a:lnTo>
                  <a:lnTo>
                    <a:pt x="3228" y="1292"/>
                  </a:lnTo>
                  <a:lnTo>
                    <a:pt x="3240" y="1338"/>
                  </a:lnTo>
                  <a:lnTo>
                    <a:pt x="3251" y="1386"/>
                  </a:lnTo>
                  <a:lnTo>
                    <a:pt x="3260" y="1434"/>
                  </a:lnTo>
                  <a:lnTo>
                    <a:pt x="3268" y="1483"/>
                  </a:lnTo>
                  <a:lnTo>
                    <a:pt x="2930" y="1483"/>
                  </a:lnTo>
                  <a:lnTo>
                    <a:pt x="2930" y="1483"/>
                  </a:lnTo>
                  <a:lnTo>
                    <a:pt x="2923" y="1448"/>
                  </a:lnTo>
                  <a:lnTo>
                    <a:pt x="2915" y="1413"/>
                  </a:lnTo>
                  <a:lnTo>
                    <a:pt x="2906" y="1380"/>
                  </a:lnTo>
                  <a:lnTo>
                    <a:pt x="2897" y="1346"/>
                  </a:lnTo>
                  <a:lnTo>
                    <a:pt x="2885" y="1313"/>
                  </a:lnTo>
                  <a:lnTo>
                    <a:pt x="2873" y="1280"/>
                  </a:lnTo>
                  <a:lnTo>
                    <a:pt x="2862" y="1248"/>
                  </a:lnTo>
                  <a:lnTo>
                    <a:pt x="2848" y="1217"/>
                  </a:lnTo>
                  <a:lnTo>
                    <a:pt x="2834" y="1185"/>
                  </a:lnTo>
                  <a:lnTo>
                    <a:pt x="2819" y="1154"/>
                  </a:lnTo>
                  <a:lnTo>
                    <a:pt x="2803" y="1124"/>
                  </a:lnTo>
                  <a:lnTo>
                    <a:pt x="2787" y="1094"/>
                  </a:lnTo>
                  <a:lnTo>
                    <a:pt x="2770" y="1064"/>
                  </a:lnTo>
                  <a:lnTo>
                    <a:pt x="2751" y="1035"/>
                  </a:lnTo>
                  <a:lnTo>
                    <a:pt x="2733" y="1007"/>
                  </a:lnTo>
                  <a:lnTo>
                    <a:pt x="2712" y="980"/>
                  </a:lnTo>
                  <a:lnTo>
                    <a:pt x="2692" y="952"/>
                  </a:lnTo>
                  <a:lnTo>
                    <a:pt x="2672" y="925"/>
                  </a:lnTo>
                  <a:lnTo>
                    <a:pt x="2650" y="900"/>
                  </a:lnTo>
                  <a:lnTo>
                    <a:pt x="2627" y="874"/>
                  </a:lnTo>
                  <a:lnTo>
                    <a:pt x="2603" y="849"/>
                  </a:lnTo>
                  <a:lnTo>
                    <a:pt x="2580" y="826"/>
                  </a:lnTo>
                  <a:lnTo>
                    <a:pt x="2555" y="801"/>
                  </a:lnTo>
                  <a:lnTo>
                    <a:pt x="2531" y="778"/>
                  </a:lnTo>
                  <a:lnTo>
                    <a:pt x="2504" y="756"/>
                  </a:lnTo>
                  <a:lnTo>
                    <a:pt x="2479" y="736"/>
                  </a:lnTo>
                  <a:lnTo>
                    <a:pt x="2451" y="715"/>
                  </a:lnTo>
                  <a:lnTo>
                    <a:pt x="2425" y="694"/>
                  </a:lnTo>
                  <a:lnTo>
                    <a:pt x="2396" y="675"/>
                  </a:lnTo>
                  <a:lnTo>
                    <a:pt x="2368" y="656"/>
                  </a:lnTo>
                  <a:lnTo>
                    <a:pt x="2339" y="638"/>
                  </a:lnTo>
                  <a:lnTo>
                    <a:pt x="2309" y="621"/>
                  </a:lnTo>
                  <a:lnTo>
                    <a:pt x="2271" y="737"/>
                  </a:lnTo>
                  <a:lnTo>
                    <a:pt x="2271" y="737"/>
                  </a:lnTo>
                  <a:lnTo>
                    <a:pt x="2299" y="753"/>
                  </a:lnTo>
                  <a:lnTo>
                    <a:pt x="2325" y="770"/>
                  </a:lnTo>
                  <a:lnTo>
                    <a:pt x="2351" y="789"/>
                  </a:lnTo>
                  <a:lnTo>
                    <a:pt x="2376" y="807"/>
                  </a:lnTo>
                  <a:lnTo>
                    <a:pt x="2401" y="826"/>
                  </a:lnTo>
                  <a:lnTo>
                    <a:pt x="2426" y="845"/>
                  </a:lnTo>
                  <a:lnTo>
                    <a:pt x="2450" y="866"/>
                  </a:lnTo>
                  <a:lnTo>
                    <a:pt x="2473" y="887"/>
                  </a:lnTo>
                  <a:lnTo>
                    <a:pt x="2495" y="909"/>
                  </a:lnTo>
                  <a:lnTo>
                    <a:pt x="2517" y="931"/>
                  </a:lnTo>
                  <a:lnTo>
                    <a:pt x="2539" y="954"/>
                  </a:lnTo>
                  <a:lnTo>
                    <a:pt x="2560" y="977"/>
                  </a:lnTo>
                  <a:lnTo>
                    <a:pt x="2579" y="1002"/>
                  </a:lnTo>
                  <a:lnTo>
                    <a:pt x="2599" y="1027"/>
                  </a:lnTo>
                  <a:lnTo>
                    <a:pt x="2617" y="1051"/>
                  </a:lnTo>
                  <a:lnTo>
                    <a:pt x="2636" y="1078"/>
                  </a:lnTo>
                  <a:lnTo>
                    <a:pt x="2653" y="1103"/>
                  </a:lnTo>
                  <a:lnTo>
                    <a:pt x="2670" y="1131"/>
                  </a:lnTo>
                  <a:lnTo>
                    <a:pt x="2685" y="1158"/>
                  </a:lnTo>
                  <a:lnTo>
                    <a:pt x="2702" y="1185"/>
                  </a:lnTo>
                  <a:lnTo>
                    <a:pt x="2715" y="1213"/>
                  </a:lnTo>
                  <a:lnTo>
                    <a:pt x="2729" y="1242"/>
                  </a:lnTo>
                  <a:lnTo>
                    <a:pt x="2742" y="1271"/>
                  </a:lnTo>
                  <a:lnTo>
                    <a:pt x="2755" y="1301"/>
                  </a:lnTo>
                  <a:lnTo>
                    <a:pt x="2765" y="1331"/>
                  </a:lnTo>
                  <a:lnTo>
                    <a:pt x="2777" y="1361"/>
                  </a:lnTo>
                  <a:lnTo>
                    <a:pt x="2786" y="1391"/>
                  </a:lnTo>
                  <a:lnTo>
                    <a:pt x="2795" y="1423"/>
                  </a:lnTo>
                  <a:lnTo>
                    <a:pt x="2802" y="1454"/>
                  </a:lnTo>
                  <a:lnTo>
                    <a:pt x="2810" y="1486"/>
                  </a:lnTo>
                  <a:lnTo>
                    <a:pt x="2816" y="1519"/>
                  </a:lnTo>
                  <a:lnTo>
                    <a:pt x="2820" y="1551"/>
                  </a:lnTo>
                  <a:lnTo>
                    <a:pt x="2828" y="1602"/>
                  </a:lnTo>
                  <a:lnTo>
                    <a:pt x="3402" y="1602"/>
                  </a:lnTo>
                  <a:lnTo>
                    <a:pt x="3395" y="1536"/>
                  </a:lnTo>
                  <a:close/>
                  <a:moveTo>
                    <a:pt x="1704" y="577"/>
                  </a:moveTo>
                  <a:lnTo>
                    <a:pt x="1706" y="577"/>
                  </a:lnTo>
                  <a:lnTo>
                    <a:pt x="1706" y="577"/>
                  </a:lnTo>
                  <a:lnTo>
                    <a:pt x="1745" y="578"/>
                  </a:lnTo>
                  <a:lnTo>
                    <a:pt x="1785" y="582"/>
                  </a:lnTo>
                  <a:lnTo>
                    <a:pt x="2100" y="60"/>
                  </a:lnTo>
                  <a:lnTo>
                    <a:pt x="2100" y="60"/>
                  </a:lnTo>
                  <a:lnTo>
                    <a:pt x="2052" y="49"/>
                  </a:lnTo>
                  <a:lnTo>
                    <a:pt x="2002" y="38"/>
                  </a:lnTo>
                  <a:lnTo>
                    <a:pt x="1951" y="30"/>
                  </a:lnTo>
                  <a:lnTo>
                    <a:pt x="1901" y="23"/>
                  </a:lnTo>
                  <a:lnTo>
                    <a:pt x="1850" y="17"/>
                  </a:lnTo>
                  <a:lnTo>
                    <a:pt x="1799" y="14"/>
                  </a:lnTo>
                  <a:lnTo>
                    <a:pt x="1747" y="12"/>
                  </a:lnTo>
                  <a:lnTo>
                    <a:pt x="1694" y="10"/>
                  </a:lnTo>
                  <a:lnTo>
                    <a:pt x="1694" y="10"/>
                  </a:lnTo>
                  <a:lnTo>
                    <a:pt x="1684" y="10"/>
                  </a:lnTo>
                  <a:lnTo>
                    <a:pt x="1684" y="10"/>
                  </a:lnTo>
                  <a:lnTo>
                    <a:pt x="1641" y="12"/>
                  </a:lnTo>
                  <a:lnTo>
                    <a:pt x="1599" y="14"/>
                  </a:lnTo>
                  <a:lnTo>
                    <a:pt x="1558" y="16"/>
                  </a:lnTo>
                  <a:lnTo>
                    <a:pt x="1518" y="20"/>
                  </a:lnTo>
                  <a:lnTo>
                    <a:pt x="1476" y="24"/>
                  </a:lnTo>
                  <a:lnTo>
                    <a:pt x="1436" y="30"/>
                  </a:lnTo>
                  <a:lnTo>
                    <a:pt x="1395" y="37"/>
                  </a:lnTo>
                  <a:lnTo>
                    <a:pt x="1356" y="45"/>
                  </a:lnTo>
                  <a:lnTo>
                    <a:pt x="1316" y="53"/>
                  </a:lnTo>
                  <a:lnTo>
                    <a:pt x="1276" y="62"/>
                  </a:lnTo>
                  <a:lnTo>
                    <a:pt x="1237" y="73"/>
                  </a:lnTo>
                  <a:lnTo>
                    <a:pt x="1199" y="84"/>
                  </a:lnTo>
                  <a:lnTo>
                    <a:pt x="1161" y="97"/>
                  </a:lnTo>
                  <a:lnTo>
                    <a:pt x="1123" y="110"/>
                  </a:lnTo>
                  <a:lnTo>
                    <a:pt x="1086" y="124"/>
                  </a:lnTo>
                  <a:lnTo>
                    <a:pt x="1049" y="138"/>
                  </a:lnTo>
                  <a:lnTo>
                    <a:pt x="1012" y="154"/>
                  </a:lnTo>
                  <a:lnTo>
                    <a:pt x="976" y="170"/>
                  </a:lnTo>
                  <a:lnTo>
                    <a:pt x="941" y="187"/>
                  </a:lnTo>
                  <a:lnTo>
                    <a:pt x="906" y="205"/>
                  </a:lnTo>
                  <a:lnTo>
                    <a:pt x="871" y="224"/>
                  </a:lnTo>
                  <a:lnTo>
                    <a:pt x="837" y="244"/>
                  </a:lnTo>
                  <a:lnTo>
                    <a:pt x="803" y="264"/>
                  </a:lnTo>
                  <a:lnTo>
                    <a:pt x="770" y="285"/>
                  </a:lnTo>
                  <a:lnTo>
                    <a:pt x="737" y="306"/>
                  </a:lnTo>
                  <a:lnTo>
                    <a:pt x="705" y="330"/>
                  </a:lnTo>
                  <a:lnTo>
                    <a:pt x="674" y="353"/>
                  </a:lnTo>
                  <a:lnTo>
                    <a:pt x="643" y="377"/>
                  </a:lnTo>
                  <a:lnTo>
                    <a:pt x="613" y="401"/>
                  </a:lnTo>
                  <a:lnTo>
                    <a:pt x="583" y="427"/>
                  </a:lnTo>
                  <a:lnTo>
                    <a:pt x="554" y="452"/>
                  </a:lnTo>
                  <a:lnTo>
                    <a:pt x="525" y="479"/>
                  </a:lnTo>
                  <a:lnTo>
                    <a:pt x="496" y="507"/>
                  </a:lnTo>
                  <a:lnTo>
                    <a:pt x="470" y="534"/>
                  </a:lnTo>
                  <a:lnTo>
                    <a:pt x="443" y="563"/>
                  </a:lnTo>
                  <a:lnTo>
                    <a:pt x="417" y="592"/>
                  </a:lnTo>
                  <a:lnTo>
                    <a:pt x="391" y="622"/>
                  </a:lnTo>
                  <a:lnTo>
                    <a:pt x="367" y="652"/>
                  </a:lnTo>
                  <a:lnTo>
                    <a:pt x="343" y="684"/>
                  </a:lnTo>
                  <a:lnTo>
                    <a:pt x="320" y="715"/>
                  </a:lnTo>
                  <a:lnTo>
                    <a:pt x="297" y="747"/>
                  </a:lnTo>
                  <a:lnTo>
                    <a:pt x="275" y="780"/>
                  </a:lnTo>
                  <a:lnTo>
                    <a:pt x="254" y="812"/>
                  </a:lnTo>
                  <a:lnTo>
                    <a:pt x="233" y="845"/>
                  </a:lnTo>
                  <a:lnTo>
                    <a:pt x="213" y="880"/>
                  </a:lnTo>
                  <a:lnTo>
                    <a:pt x="195" y="915"/>
                  </a:lnTo>
                  <a:lnTo>
                    <a:pt x="177" y="950"/>
                  </a:lnTo>
                  <a:lnTo>
                    <a:pt x="159" y="985"/>
                  </a:lnTo>
                  <a:lnTo>
                    <a:pt x="143" y="1021"/>
                  </a:lnTo>
                  <a:lnTo>
                    <a:pt x="127" y="1058"/>
                  </a:lnTo>
                  <a:lnTo>
                    <a:pt x="112" y="1095"/>
                  </a:lnTo>
                  <a:lnTo>
                    <a:pt x="98" y="1132"/>
                  </a:lnTo>
                  <a:lnTo>
                    <a:pt x="85" y="1170"/>
                  </a:lnTo>
                  <a:lnTo>
                    <a:pt x="73" y="1207"/>
                  </a:lnTo>
                  <a:lnTo>
                    <a:pt x="61" y="1247"/>
                  </a:lnTo>
                  <a:lnTo>
                    <a:pt x="51" y="1285"/>
                  </a:lnTo>
                  <a:lnTo>
                    <a:pt x="42" y="1324"/>
                  </a:lnTo>
                  <a:lnTo>
                    <a:pt x="32" y="1365"/>
                  </a:lnTo>
                  <a:lnTo>
                    <a:pt x="24" y="1404"/>
                  </a:lnTo>
                  <a:lnTo>
                    <a:pt x="17" y="1445"/>
                  </a:lnTo>
                  <a:lnTo>
                    <a:pt x="12" y="1485"/>
                  </a:lnTo>
                  <a:lnTo>
                    <a:pt x="7" y="1525"/>
                  </a:lnTo>
                  <a:lnTo>
                    <a:pt x="2" y="1567"/>
                  </a:lnTo>
                  <a:lnTo>
                    <a:pt x="0" y="1609"/>
                  </a:lnTo>
                  <a:lnTo>
                    <a:pt x="567" y="1609"/>
                  </a:lnTo>
                  <a:lnTo>
                    <a:pt x="567" y="1609"/>
                  </a:lnTo>
                  <a:lnTo>
                    <a:pt x="572" y="1554"/>
                  </a:lnTo>
                  <a:lnTo>
                    <a:pt x="582" y="1502"/>
                  </a:lnTo>
                  <a:lnTo>
                    <a:pt x="592" y="1450"/>
                  </a:lnTo>
                  <a:lnTo>
                    <a:pt x="606" y="1398"/>
                  </a:lnTo>
                  <a:lnTo>
                    <a:pt x="621" y="1349"/>
                  </a:lnTo>
                  <a:lnTo>
                    <a:pt x="639" y="1299"/>
                  </a:lnTo>
                  <a:lnTo>
                    <a:pt x="659" y="1251"/>
                  </a:lnTo>
                  <a:lnTo>
                    <a:pt x="682" y="1204"/>
                  </a:lnTo>
                  <a:lnTo>
                    <a:pt x="706" y="1158"/>
                  </a:lnTo>
                  <a:lnTo>
                    <a:pt x="732" y="1114"/>
                  </a:lnTo>
                  <a:lnTo>
                    <a:pt x="760" y="1071"/>
                  </a:lnTo>
                  <a:lnTo>
                    <a:pt x="790" y="1028"/>
                  </a:lnTo>
                  <a:lnTo>
                    <a:pt x="822" y="989"/>
                  </a:lnTo>
                  <a:lnTo>
                    <a:pt x="856" y="950"/>
                  </a:lnTo>
                  <a:lnTo>
                    <a:pt x="891" y="913"/>
                  </a:lnTo>
                  <a:lnTo>
                    <a:pt x="928" y="877"/>
                  </a:lnTo>
                  <a:lnTo>
                    <a:pt x="967" y="843"/>
                  </a:lnTo>
                  <a:lnTo>
                    <a:pt x="1006" y="811"/>
                  </a:lnTo>
                  <a:lnTo>
                    <a:pt x="1048" y="780"/>
                  </a:lnTo>
                  <a:lnTo>
                    <a:pt x="1091" y="752"/>
                  </a:lnTo>
                  <a:lnTo>
                    <a:pt x="1136" y="725"/>
                  </a:lnTo>
                  <a:lnTo>
                    <a:pt x="1181" y="701"/>
                  </a:lnTo>
                  <a:lnTo>
                    <a:pt x="1228" y="678"/>
                  </a:lnTo>
                  <a:lnTo>
                    <a:pt x="1275" y="657"/>
                  </a:lnTo>
                  <a:lnTo>
                    <a:pt x="1325" y="640"/>
                  </a:lnTo>
                  <a:lnTo>
                    <a:pt x="1374" y="623"/>
                  </a:lnTo>
                  <a:lnTo>
                    <a:pt x="1425" y="609"/>
                  </a:lnTo>
                  <a:lnTo>
                    <a:pt x="1477" y="598"/>
                  </a:lnTo>
                  <a:lnTo>
                    <a:pt x="1530" y="589"/>
                  </a:lnTo>
                  <a:lnTo>
                    <a:pt x="1583" y="583"/>
                  </a:lnTo>
                  <a:lnTo>
                    <a:pt x="1638" y="578"/>
                  </a:lnTo>
                  <a:lnTo>
                    <a:pt x="1693" y="577"/>
                  </a:lnTo>
                  <a:lnTo>
                    <a:pt x="1704" y="577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vert="horz" wrap="square" lIns="88324" tIns="44163" rIns="88324" bIns="44163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338" name="Rectangle 53"/>
            <p:cNvSpPr/>
            <p:nvPr/>
          </p:nvSpPr>
          <p:spPr>
            <a:xfrm>
              <a:off x="5318839" y="2770062"/>
              <a:ext cx="2000508" cy="1565786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50385" rIns="79346" bIns="79346" rtlCol="0" anchor="t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</a:pPr>
              <a:r>
                <a:rPr lang="tr-TR" sz="121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Denetim İzi</a:t>
              </a: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Tüm işleri kayıt altına alarak uyumluluğa katkıda bulunur</a:t>
              </a:r>
            </a:p>
          </p:txBody>
        </p:sp>
        <p:sp>
          <p:nvSpPr>
            <p:cNvPr id="339" name="Rectangle 57"/>
            <p:cNvSpPr/>
            <p:nvPr/>
          </p:nvSpPr>
          <p:spPr>
            <a:xfrm>
              <a:off x="5316163" y="4402317"/>
              <a:ext cx="2000508" cy="1565786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0" rIns="79346" bIns="79346" rtlCol="0" anchor="b" anchorCtr="0"/>
            <a:lstStyle/>
            <a:p>
              <a:pPr algn="r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 Çalışan Elde Tutma Oranı</a:t>
              </a:r>
            </a:p>
            <a:p>
              <a:pPr algn="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Daha ilham veren görevlere doğru transfer imkanı sağlar</a:t>
              </a:r>
            </a:p>
          </p:txBody>
        </p:sp>
        <p:grpSp>
          <p:nvGrpSpPr>
            <p:cNvPr id="340" name="Group 339"/>
            <p:cNvGrpSpPr/>
            <p:nvPr/>
          </p:nvGrpSpPr>
          <p:grpSpPr>
            <a:xfrm>
              <a:off x="5318925" y="1109187"/>
              <a:ext cx="2000508" cy="1565786"/>
              <a:chOff x="5458726" y="1386726"/>
              <a:chExt cx="1583456" cy="1423442"/>
            </a:xfrm>
          </p:grpSpPr>
          <p:sp>
            <p:nvSpPr>
              <p:cNvPr id="356" name="Rectangle 55"/>
              <p:cNvSpPr/>
              <p:nvPr/>
            </p:nvSpPr>
            <p:spPr>
              <a:xfrm>
                <a:off x="5458726" y="1386726"/>
                <a:ext cx="1583456" cy="1423442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9346" tIns="50385" rIns="79346" bIns="79346" rtlCol="0" anchor="t" anchorCtr="0"/>
              <a:lstStyle/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61"/>
                  </a:spcAft>
                  <a:buClr>
                    <a:srgbClr val="FFE600"/>
                  </a:buClr>
                  <a:defRPr/>
                </a:pPr>
                <a:r>
                  <a:rPr lang="tr-TR" sz="1322" b="1" kern="0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Doğruluk</a:t>
                </a:r>
                <a:endParaRPr lang="tr-TR" sz="1157" b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endParaRPr>
              </a:p>
              <a:p>
                <a:pPr algn="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defRPr/>
                </a:pPr>
                <a:r>
                  <a:rPr lang="tr-TR" sz="1400" kern="0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/>
                    <a:sym typeface="Arial"/>
                  </a:rPr>
                  <a:t>İlk denemede doğru sonuç, karar ve hesaplama</a:t>
                </a:r>
              </a:p>
            </p:txBody>
          </p:sp>
          <p:grpSp>
            <p:nvGrpSpPr>
              <p:cNvPr id="357" name="Group 356"/>
              <p:cNvGrpSpPr/>
              <p:nvPr/>
            </p:nvGrpSpPr>
            <p:grpSpPr>
              <a:xfrm>
                <a:off x="5553823" y="2181239"/>
                <a:ext cx="540000" cy="540001"/>
                <a:chOff x="9099015" y="2262003"/>
                <a:chExt cx="1852253" cy="1547261"/>
              </a:xfrm>
            </p:grpSpPr>
            <p:sp>
              <p:nvSpPr>
                <p:cNvPr id="358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9099015" y="2262006"/>
                  <a:ext cx="1852253" cy="15472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59" name="Freeform 358"/>
                <p:cNvSpPr>
                  <a:spLocks/>
                </p:cNvSpPr>
                <p:nvPr/>
              </p:nvSpPr>
              <p:spPr bwMode="auto">
                <a:xfrm>
                  <a:off x="9099015" y="2429376"/>
                  <a:ext cx="1564001" cy="1379888"/>
                </a:xfrm>
                <a:custGeom>
                  <a:avLst/>
                  <a:gdLst>
                    <a:gd name="T0" fmla="*/ 1470 w 1682"/>
                    <a:gd name="T1" fmla="*/ 380 h 1484"/>
                    <a:gd name="T2" fmla="*/ 1548 w 1682"/>
                    <a:gd name="T3" fmla="*/ 480 h 1484"/>
                    <a:gd name="T4" fmla="*/ 1612 w 1682"/>
                    <a:gd name="T5" fmla="*/ 592 h 1484"/>
                    <a:gd name="T6" fmla="*/ 1656 w 1682"/>
                    <a:gd name="T7" fmla="*/ 714 h 1484"/>
                    <a:gd name="T8" fmla="*/ 1680 w 1682"/>
                    <a:gd name="T9" fmla="*/ 842 h 1484"/>
                    <a:gd name="T10" fmla="*/ 1678 w 1682"/>
                    <a:gd name="T11" fmla="*/ 968 h 1484"/>
                    <a:gd name="T12" fmla="*/ 1650 w 1682"/>
                    <a:gd name="T13" fmla="*/ 1094 h 1484"/>
                    <a:gd name="T14" fmla="*/ 1590 w 1682"/>
                    <a:gd name="T15" fmla="*/ 1210 h 1484"/>
                    <a:gd name="T16" fmla="*/ 1500 w 1682"/>
                    <a:gd name="T17" fmla="*/ 1316 h 1484"/>
                    <a:gd name="T18" fmla="*/ 1416 w 1682"/>
                    <a:gd name="T19" fmla="*/ 1380 h 1484"/>
                    <a:gd name="T20" fmla="*/ 1296 w 1682"/>
                    <a:gd name="T21" fmla="*/ 1442 h 1484"/>
                    <a:gd name="T22" fmla="*/ 1166 w 1682"/>
                    <a:gd name="T23" fmla="*/ 1476 h 1484"/>
                    <a:gd name="T24" fmla="*/ 1028 w 1682"/>
                    <a:gd name="T25" fmla="*/ 1484 h 1484"/>
                    <a:gd name="T26" fmla="*/ 838 w 1682"/>
                    <a:gd name="T27" fmla="*/ 1464 h 1484"/>
                    <a:gd name="T28" fmla="*/ 624 w 1682"/>
                    <a:gd name="T29" fmla="*/ 1404 h 1484"/>
                    <a:gd name="T30" fmla="*/ 494 w 1682"/>
                    <a:gd name="T31" fmla="*/ 1344 h 1484"/>
                    <a:gd name="T32" fmla="*/ 378 w 1682"/>
                    <a:gd name="T33" fmla="*/ 1266 h 1484"/>
                    <a:gd name="T34" fmla="*/ 272 w 1682"/>
                    <a:gd name="T35" fmla="*/ 1172 h 1484"/>
                    <a:gd name="T36" fmla="*/ 178 w 1682"/>
                    <a:gd name="T37" fmla="*/ 1058 h 1484"/>
                    <a:gd name="T38" fmla="*/ 96 w 1682"/>
                    <a:gd name="T39" fmla="*/ 928 h 1484"/>
                    <a:gd name="T40" fmla="*/ 46 w 1682"/>
                    <a:gd name="T41" fmla="*/ 822 h 1484"/>
                    <a:gd name="T42" fmla="*/ 8 w 1682"/>
                    <a:gd name="T43" fmla="*/ 686 h 1484"/>
                    <a:gd name="T44" fmla="*/ 0 w 1682"/>
                    <a:gd name="T45" fmla="*/ 552 h 1484"/>
                    <a:gd name="T46" fmla="*/ 24 w 1682"/>
                    <a:gd name="T47" fmla="*/ 424 h 1484"/>
                    <a:gd name="T48" fmla="*/ 74 w 1682"/>
                    <a:gd name="T49" fmla="*/ 308 h 1484"/>
                    <a:gd name="T50" fmla="*/ 150 w 1682"/>
                    <a:gd name="T51" fmla="*/ 204 h 1484"/>
                    <a:gd name="T52" fmla="*/ 250 w 1682"/>
                    <a:gd name="T53" fmla="*/ 120 h 1484"/>
                    <a:gd name="T54" fmla="*/ 372 w 1682"/>
                    <a:gd name="T55" fmla="*/ 56 h 1484"/>
                    <a:gd name="T56" fmla="*/ 476 w 1682"/>
                    <a:gd name="T57" fmla="*/ 24 h 1484"/>
                    <a:gd name="T58" fmla="*/ 722 w 1682"/>
                    <a:gd name="T59" fmla="*/ 2 h 1484"/>
                    <a:gd name="T60" fmla="*/ 952 w 1682"/>
                    <a:gd name="T61" fmla="*/ 42 h 1484"/>
                    <a:gd name="T62" fmla="*/ 1170 w 1682"/>
                    <a:gd name="T63" fmla="*/ 136 h 1484"/>
                    <a:gd name="T64" fmla="*/ 1376 w 1682"/>
                    <a:gd name="T65" fmla="*/ 274 h 1484"/>
                    <a:gd name="T66" fmla="*/ 1292 w 1682"/>
                    <a:gd name="T67" fmla="*/ 280 h 1484"/>
                    <a:gd name="T68" fmla="*/ 1126 w 1682"/>
                    <a:gd name="T69" fmla="*/ 176 h 1484"/>
                    <a:gd name="T70" fmla="*/ 990 w 1682"/>
                    <a:gd name="T71" fmla="*/ 122 h 1484"/>
                    <a:gd name="T72" fmla="*/ 824 w 1682"/>
                    <a:gd name="T73" fmla="*/ 88 h 1484"/>
                    <a:gd name="T74" fmla="*/ 690 w 1682"/>
                    <a:gd name="T75" fmla="*/ 84 h 1484"/>
                    <a:gd name="T76" fmla="*/ 560 w 1682"/>
                    <a:gd name="T77" fmla="*/ 106 h 1484"/>
                    <a:gd name="T78" fmla="*/ 462 w 1682"/>
                    <a:gd name="T79" fmla="*/ 144 h 1484"/>
                    <a:gd name="T80" fmla="*/ 324 w 1682"/>
                    <a:gd name="T81" fmla="*/ 238 h 1484"/>
                    <a:gd name="T82" fmla="*/ 230 w 1682"/>
                    <a:gd name="T83" fmla="*/ 364 h 1484"/>
                    <a:gd name="T84" fmla="*/ 184 w 1682"/>
                    <a:gd name="T85" fmla="*/ 516 h 1484"/>
                    <a:gd name="T86" fmla="*/ 192 w 1682"/>
                    <a:gd name="T87" fmla="*/ 684 h 1484"/>
                    <a:gd name="T88" fmla="*/ 236 w 1682"/>
                    <a:gd name="T89" fmla="*/ 826 h 1484"/>
                    <a:gd name="T90" fmla="*/ 328 w 1682"/>
                    <a:gd name="T91" fmla="*/ 986 h 1484"/>
                    <a:gd name="T92" fmla="*/ 454 w 1682"/>
                    <a:gd name="T93" fmla="*/ 1120 h 1484"/>
                    <a:gd name="T94" fmla="*/ 610 w 1682"/>
                    <a:gd name="T95" fmla="*/ 1228 h 1484"/>
                    <a:gd name="T96" fmla="*/ 726 w 1682"/>
                    <a:gd name="T97" fmla="*/ 1286 h 1484"/>
                    <a:gd name="T98" fmla="*/ 876 w 1682"/>
                    <a:gd name="T99" fmla="*/ 1334 h 1484"/>
                    <a:gd name="T100" fmla="*/ 1030 w 1682"/>
                    <a:gd name="T101" fmla="*/ 1354 h 1484"/>
                    <a:gd name="T102" fmla="*/ 1186 w 1682"/>
                    <a:gd name="T103" fmla="*/ 1338 h 1484"/>
                    <a:gd name="T104" fmla="*/ 1292 w 1682"/>
                    <a:gd name="T105" fmla="*/ 1308 h 1484"/>
                    <a:gd name="T106" fmla="*/ 1386 w 1682"/>
                    <a:gd name="T107" fmla="*/ 1262 h 1484"/>
                    <a:gd name="T108" fmla="*/ 1466 w 1682"/>
                    <a:gd name="T109" fmla="*/ 1200 h 1484"/>
                    <a:gd name="T110" fmla="*/ 1530 w 1682"/>
                    <a:gd name="T111" fmla="*/ 1124 h 1484"/>
                    <a:gd name="T112" fmla="*/ 1576 w 1682"/>
                    <a:gd name="T113" fmla="*/ 1040 h 1484"/>
                    <a:gd name="T114" fmla="*/ 1604 w 1682"/>
                    <a:gd name="T115" fmla="*/ 946 h 1484"/>
                    <a:gd name="T116" fmla="*/ 1612 w 1682"/>
                    <a:gd name="T117" fmla="*/ 848 h 1484"/>
                    <a:gd name="T118" fmla="*/ 1600 w 1682"/>
                    <a:gd name="T119" fmla="*/ 746 h 1484"/>
                    <a:gd name="T120" fmla="*/ 1578 w 1682"/>
                    <a:gd name="T121" fmla="*/ 668 h 1484"/>
                    <a:gd name="T122" fmla="*/ 1518 w 1682"/>
                    <a:gd name="T123" fmla="*/ 536 h 1484"/>
                    <a:gd name="T124" fmla="*/ 1436 w 1682"/>
                    <a:gd name="T125" fmla="*/ 412 h 14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82" h="1484">
                      <a:moveTo>
                        <a:pt x="1436" y="412"/>
                      </a:moveTo>
                      <a:lnTo>
                        <a:pt x="1436" y="412"/>
                      </a:lnTo>
                      <a:lnTo>
                        <a:pt x="1470" y="380"/>
                      </a:lnTo>
                      <a:lnTo>
                        <a:pt x="1470" y="380"/>
                      </a:lnTo>
                      <a:lnTo>
                        <a:pt x="1492" y="404"/>
                      </a:lnTo>
                      <a:lnTo>
                        <a:pt x="1512" y="428"/>
                      </a:lnTo>
                      <a:lnTo>
                        <a:pt x="1530" y="454"/>
                      </a:lnTo>
                      <a:lnTo>
                        <a:pt x="1548" y="480"/>
                      </a:lnTo>
                      <a:lnTo>
                        <a:pt x="1566" y="506"/>
                      </a:lnTo>
                      <a:lnTo>
                        <a:pt x="1582" y="534"/>
                      </a:lnTo>
                      <a:lnTo>
                        <a:pt x="1598" y="564"/>
                      </a:lnTo>
                      <a:lnTo>
                        <a:pt x="1612" y="592"/>
                      </a:lnTo>
                      <a:lnTo>
                        <a:pt x="1624" y="622"/>
                      </a:lnTo>
                      <a:lnTo>
                        <a:pt x="1636" y="652"/>
                      </a:lnTo>
                      <a:lnTo>
                        <a:pt x="1648" y="684"/>
                      </a:lnTo>
                      <a:lnTo>
                        <a:pt x="1656" y="714"/>
                      </a:lnTo>
                      <a:lnTo>
                        <a:pt x="1664" y="746"/>
                      </a:lnTo>
                      <a:lnTo>
                        <a:pt x="1670" y="778"/>
                      </a:lnTo>
                      <a:lnTo>
                        <a:pt x="1676" y="810"/>
                      </a:lnTo>
                      <a:lnTo>
                        <a:pt x="1680" y="842"/>
                      </a:lnTo>
                      <a:lnTo>
                        <a:pt x="1682" y="874"/>
                      </a:lnTo>
                      <a:lnTo>
                        <a:pt x="1682" y="906"/>
                      </a:lnTo>
                      <a:lnTo>
                        <a:pt x="1680" y="938"/>
                      </a:lnTo>
                      <a:lnTo>
                        <a:pt x="1678" y="968"/>
                      </a:lnTo>
                      <a:lnTo>
                        <a:pt x="1674" y="1000"/>
                      </a:lnTo>
                      <a:lnTo>
                        <a:pt x="1668" y="1032"/>
                      </a:lnTo>
                      <a:lnTo>
                        <a:pt x="1660" y="1062"/>
                      </a:lnTo>
                      <a:lnTo>
                        <a:pt x="1650" y="1094"/>
                      </a:lnTo>
                      <a:lnTo>
                        <a:pt x="1638" y="1124"/>
                      </a:lnTo>
                      <a:lnTo>
                        <a:pt x="1624" y="1154"/>
                      </a:lnTo>
                      <a:lnTo>
                        <a:pt x="1608" y="1182"/>
                      </a:lnTo>
                      <a:lnTo>
                        <a:pt x="1590" y="1210"/>
                      </a:lnTo>
                      <a:lnTo>
                        <a:pt x="1572" y="1238"/>
                      </a:lnTo>
                      <a:lnTo>
                        <a:pt x="1550" y="1266"/>
                      </a:lnTo>
                      <a:lnTo>
                        <a:pt x="1526" y="1292"/>
                      </a:lnTo>
                      <a:lnTo>
                        <a:pt x="1500" y="1316"/>
                      </a:lnTo>
                      <a:lnTo>
                        <a:pt x="1500" y="1316"/>
                      </a:lnTo>
                      <a:lnTo>
                        <a:pt x="1472" y="1340"/>
                      </a:lnTo>
                      <a:lnTo>
                        <a:pt x="1444" y="1360"/>
                      </a:lnTo>
                      <a:lnTo>
                        <a:pt x="1416" y="1380"/>
                      </a:lnTo>
                      <a:lnTo>
                        <a:pt x="1386" y="1398"/>
                      </a:lnTo>
                      <a:lnTo>
                        <a:pt x="1356" y="1414"/>
                      </a:lnTo>
                      <a:lnTo>
                        <a:pt x="1326" y="1428"/>
                      </a:lnTo>
                      <a:lnTo>
                        <a:pt x="1296" y="1442"/>
                      </a:lnTo>
                      <a:lnTo>
                        <a:pt x="1264" y="1452"/>
                      </a:lnTo>
                      <a:lnTo>
                        <a:pt x="1232" y="1462"/>
                      </a:lnTo>
                      <a:lnTo>
                        <a:pt x="1198" y="1470"/>
                      </a:lnTo>
                      <a:lnTo>
                        <a:pt x="1166" y="1476"/>
                      </a:lnTo>
                      <a:lnTo>
                        <a:pt x="1132" y="1480"/>
                      </a:lnTo>
                      <a:lnTo>
                        <a:pt x="1098" y="1482"/>
                      </a:lnTo>
                      <a:lnTo>
                        <a:pt x="1064" y="1484"/>
                      </a:lnTo>
                      <a:lnTo>
                        <a:pt x="1028" y="1484"/>
                      </a:lnTo>
                      <a:lnTo>
                        <a:pt x="994" y="1482"/>
                      </a:lnTo>
                      <a:lnTo>
                        <a:pt x="994" y="1482"/>
                      </a:lnTo>
                      <a:lnTo>
                        <a:pt x="914" y="1474"/>
                      </a:lnTo>
                      <a:lnTo>
                        <a:pt x="838" y="1464"/>
                      </a:lnTo>
                      <a:lnTo>
                        <a:pt x="764" y="1448"/>
                      </a:lnTo>
                      <a:lnTo>
                        <a:pt x="692" y="1428"/>
                      </a:lnTo>
                      <a:lnTo>
                        <a:pt x="658" y="1416"/>
                      </a:lnTo>
                      <a:lnTo>
                        <a:pt x="624" y="1404"/>
                      </a:lnTo>
                      <a:lnTo>
                        <a:pt x="590" y="1390"/>
                      </a:lnTo>
                      <a:lnTo>
                        <a:pt x="558" y="1376"/>
                      </a:lnTo>
                      <a:lnTo>
                        <a:pt x="526" y="1360"/>
                      </a:lnTo>
                      <a:lnTo>
                        <a:pt x="494" y="1344"/>
                      </a:lnTo>
                      <a:lnTo>
                        <a:pt x="464" y="1326"/>
                      </a:lnTo>
                      <a:lnTo>
                        <a:pt x="434" y="1308"/>
                      </a:lnTo>
                      <a:lnTo>
                        <a:pt x="406" y="1288"/>
                      </a:lnTo>
                      <a:lnTo>
                        <a:pt x="378" y="1266"/>
                      </a:lnTo>
                      <a:lnTo>
                        <a:pt x="350" y="1244"/>
                      </a:lnTo>
                      <a:lnTo>
                        <a:pt x="322" y="1220"/>
                      </a:lnTo>
                      <a:lnTo>
                        <a:pt x="296" y="1196"/>
                      </a:lnTo>
                      <a:lnTo>
                        <a:pt x="272" y="1172"/>
                      </a:lnTo>
                      <a:lnTo>
                        <a:pt x="246" y="1144"/>
                      </a:lnTo>
                      <a:lnTo>
                        <a:pt x="222" y="1118"/>
                      </a:lnTo>
                      <a:lnTo>
                        <a:pt x="200" y="1088"/>
                      </a:lnTo>
                      <a:lnTo>
                        <a:pt x="178" y="1058"/>
                      </a:lnTo>
                      <a:lnTo>
                        <a:pt x="156" y="1028"/>
                      </a:lnTo>
                      <a:lnTo>
                        <a:pt x="136" y="996"/>
                      </a:lnTo>
                      <a:lnTo>
                        <a:pt x="116" y="962"/>
                      </a:lnTo>
                      <a:lnTo>
                        <a:pt x="96" y="928"/>
                      </a:lnTo>
                      <a:lnTo>
                        <a:pt x="78" y="894"/>
                      </a:lnTo>
                      <a:lnTo>
                        <a:pt x="60" y="856"/>
                      </a:lnTo>
                      <a:lnTo>
                        <a:pt x="60" y="856"/>
                      </a:lnTo>
                      <a:lnTo>
                        <a:pt x="46" y="822"/>
                      </a:lnTo>
                      <a:lnTo>
                        <a:pt x="34" y="788"/>
                      </a:lnTo>
                      <a:lnTo>
                        <a:pt x="22" y="754"/>
                      </a:lnTo>
                      <a:lnTo>
                        <a:pt x="14" y="720"/>
                      </a:lnTo>
                      <a:lnTo>
                        <a:pt x="8" y="686"/>
                      </a:lnTo>
                      <a:lnTo>
                        <a:pt x="2" y="652"/>
                      </a:lnTo>
                      <a:lnTo>
                        <a:pt x="0" y="618"/>
                      </a:lnTo>
                      <a:lnTo>
                        <a:pt x="0" y="586"/>
                      </a:lnTo>
                      <a:lnTo>
                        <a:pt x="0" y="552"/>
                      </a:lnTo>
                      <a:lnTo>
                        <a:pt x="4" y="520"/>
                      </a:lnTo>
                      <a:lnTo>
                        <a:pt x="8" y="488"/>
                      </a:lnTo>
                      <a:lnTo>
                        <a:pt x="14" y="456"/>
                      </a:lnTo>
                      <a:lnTo>
                        <a:pt x="24" y="424"/>
                      </a:lnTo>
                      <a:lnTo>
                        <a:pt x="34" y="394"/>
                      </a:lnTo>
                      <a:lnTo>
                        <a:pt x="46" y="364"/>
                      </a:lnTo>
                      <a:lnTo>
                        <a:pt x="58" y="336"/>
                      </a:lnTo>
                      <a:lnTo>
                        <a:pt x="74" y="308"/>
                      </a:lnTo>
                      <a:lnTo>
                        <a:pt x="90" y="280"/>
                      </a:lnTo>
                      <a:lnTo>
                        <a:pt x="108" y="254"/>
                      </a:lnTo>
                      <a:lnTo>
                        <a:pt x="128" y="230"/>
                      </a:lnTo>
                      <a:lnTo>
                        <a:pt x="150" y="204"/>
                      </a:lnTo>
                      <a:lnTo>
                        <a:pt x="172" y="182"/>
                      </a:lnTo>
                      <a:lnTo>
                        <a:pt x="196" y="160"/>
                      </a:lnTo>
                      <a:lnTo>
                        <a:pt x="222" y="140"/>
                      </a:lnTo>
                      <a:lnTo>
                        <a:pt x="250" y="120"/>
                      </a:lnTo>
                      <a:lnTo>
                        <a:pt x="278" y="102"/>
                      </a:lnTo>
                      <a:lnTo>
                        <a:pt x="308" y="84"/>
                      </a:lnTo>
                      <a:lnTo>
                        <a:pt x="338" y="70"/>
                      </a:lnTo>
                      <a:lnTo>
                        <a:pt x="372" y="56"/>
                      </a:lnTo>
                      <a:lnTo>
                        <a:pt x="406" y="44"/>
                      </a:lnTo>
                      <a:lnTo>
                        <a:pt x="440" y="32"/>
                      </a:lnTo>
                      <a:lnTo>
                        <a:pt x="476" y="24"/>
                      </a:lnTo>
                      <a:lnTo>
                        <a:pt x="476" y="24"/>
                      </a:lnTo>
                      <a:lnTo>
                        <a:pt x="540" y="12"/>
                      </a:lnTo>
                      <a:lnTo>
                        <a:pt x="602" y="4"/>
                      </a:lnTo>
                      <a:lnTo>
                        <a:pt x="662" y="0"/>
                      </a:lnTo>
                      <a:lnTo>
                        <a:pt x="722" y="2"/>
                      </a:lnTo>
                      <a:lnTo>
                        <a:pt x="782" y="6"/>
                      </a:lnTo>
                      <a:lnTo>
                        <a:pt x="840" y="14"/>
                      </a:lnTo>
                      <a:lnTo>
                        <a:pt x="896" y="26"/>
                      </a:lnTo>
                      <a:lnTo>
                        <a:pt x="952" y="42"/>
                      </a:lnTo>
                      <a:lnTo>
                        <a:pt x="1008" y="60"/>
                      </a:lnTo>
                      <a:lnTo>
                        <a:pt x="1062" y="82"/>
                      </a:lnTo>
                      <a:lnTo>
                        <a:pt x="1116" y="108"/>
                      </a:lnTo>
                      <a:lnTo>
                        <a:pt x="1170" y="136"/>
                      </a:lnTo>
                      <a:lnTo>
                        <a:pt x="1222" y="166"/>
                      </a:lnTo>
                      <a:lnTo>
                        <a:pt x="1274" y="200"/>
                      </a:lnTo>
                      <a:lnTo>
                        <a:pt x="1326" y="236"/>
                      </a:lnTo>
                      <a:lnTo>
                        <a:pt x="1376" y="274"/>
                      </a:lnTo>
                      <a:lnTo>
                        <a:pt x="1376" y="274"/>
                      </a:lnTo>
                      <a:lnTo>
                        <a:pt x="1332" y="310"/>
                      </a:lnTo>
                      <a:lnTo>
                        <a:pt x="1332" y="310"/>
                      </a:lnTo>
                      <a:lnTo>
                        <a:pt x="1292" y="280"/>
                      </a:lnTo>
                      <a:lnTo>
                        <a:pt x="1252" y="252"/>
                      </a:lnTo>
                      <a:lnTo>
                        <a:pt x="1212" y="224"/>
                      </a:lnTo>
                      <a:lnTo>
                        <a:pt x="1170" y="200"/>
                      </a:lnTo>
                      <a:lnTo>
                        <a:pt x="1126" y="176"/>
                      </a:lnTo>
                      <a:lnTo>
                        <a:pt x="1082" y="156"/>
                      </a:lnTo>
                      <a:lnTo>
                        <a:pt x="1036" y="138"/>
                      </a:lnTo>
                      <a:lnTo>
                        <a:pt x="990" y="122"/>
                      </a:lnTo>
                      <a:lnTo>
                        <a:pt x="990" y="122"/>
                      </a:lnTo>
                      <a:lnTo>
                        <a:pt x="924" y="104"/>
                      </a:lnTo>
                      <a:lnTo>
                        <a:pt x="890" y="98"/>
                      </a:lnTo>
                      <a:lnTo>
                        <a:pt x="856" y="92"/>
                      </a:lnTo>
                      <a:lnTo>
                        <a:pt x="824" y="88"/>
                      </a:lnTo>
                      <a:lnTo>
                        <a:pt x="790" y="84"/>
                      </a:lnTo>
                      <a:lnTo>
                        <a:pt x="758" y="82"/>
                      </a:lnTo>
                      <a:lnTo>
                        <a:pt x="724" y="82"/>
                      </a:lnTo>
                      <a:lnTo>
                        <a:pt x="690" y="84"/>
                      </a:lnTo>
                      <a:lnTo>
                        <a:pt x="658" y="88"/>
                      </a:lnTo>
                      <a:lnTo>
                        <a:pt x="626" y="92"/>
                      </a:lnTo>
                      <a:lnTo>
                        <a:pt x="592" y="98"/>
                      </a:lnTo>
                      <a:lnTo>
                        <a:pt x="560" y="106"/>
                      </a:lnTo>
                      <a:lnTo>
                        <a:pt x="528" y="116"/>
                      </a:lnTo>
                      <a:lnTo>
                        <a:pt x="494" y="130"/>
                      </a:lnTo>
                      <a:lnTo>
                        <a:pt x="462" y="144"/>
                      </a:lnTo>
                      <a:lnTo>
                        <a:pt x="462" y="144"/>
                      </a:lnTo>
                      <a:lnTo>
                        <a:pt x="424" y="164"/>
                      </a:lnTo>
                      <a:lnTo>
                        <a:pt x="388" y="186"/>
                      </a:lnTo>
                      <a:lnTo>
                        <a:pt x="354" y="210"/>
                      </a:lnTo>
                      <a:lnTo>
                        <a:pt x="324" y="238"/>
                      </a:lnTo>
                      <a:lnTo>
                        <a:pt x="296" y="266"/>
                      </a:lnTo>
                      <a:lnTo>
                        <a:pt x="270" y="298"/>
                      </a:lnTo>
                      <a:lnTo>
                        <a:pt x="248" y="330"/>
                      </a:lnTo>
                      <a:lnTo>
                        <a:pt x="230" y="364"/>
                      </a:lnTo>
                      <a:lnTo>
                        <a:pt x="214" y="400"/>
                      </a:lnTo>
                      <a:lnTo>
                        <a:pt x="200" y="438"/>
                      </a:lnTo>
                      <a:lnTo>
                        <a:pt x="190" y="476"/>
                      </a:lnTo>
                      <a:lnTo>
                        <a:pt x="184" y="516"/>
                      </a:lnTo>
                      <a:lnTo>
                        <a:pt x="182" y="556"/>
                      </a:lnTo>
                      <a:lnTo>
                        <a:pt x="182" y="598"/>
                      </a:lnTo>
                      <a:lnTo>
                        <a:pt x="186" y="640"/>
                      </a:lnTo>
                      <a:lnTo>
                        <a:pt x="192" y="684"/>
                      </a:lnTo>
                      <a:lnTo>
                        <a:pt x="192" y="684"/>
                      </a:lnTo>
                      <a:lnTo>
                        <a:pt x="204" y="732"/>
                      </a:lnTo>
                      <a:lnTo>
                        <a:pt x="218" y="780"/>
                      </a:lnTo>
                      <a:lnTo>
                        <a:pt x="236" y="826"/>
                      </a:lnTo>
                      <a:lnTo>
                        <a:pt x="254" y="868"/>
                      </a:lnTo>
                      <a:lnTo>
                        <a:pt x="276" y="910"/>
                      </a:lnTo>
                      <a:lnTo>
                        <a:pt x="300" y="948"/>
                      </a:lnTo>
                      <a:lnTo>
                        <a:pt x="328" y="986"/>
                      </a:lnTo>
                      <a:lnTo>
                        <a:pt x="356" y="1022"/>
                      </a:lnTo>
                      <a:lnTo>
                        <a:pt x="386" y="1056"/>
                      </a:lnTo>
                      <a:lnTo>
                        <a:pt x="420" y="1090"/>
                      </a:lnTo>
                      <a:lnTo>
                        <a:pt x="454" y="1120"/>
                      </a:lnTo>
                      <a:lnTo>
                        <a:pt x="490" y="1150"/>
                      </a:lnTo>
                      <a:lnTo>
                        <a:pt x="528" y="1176"/>
                      </a:lnTo>
                      <a:lnTo>
                        <a:pt x="568" y="1204"/>
                      </a:lnTo>
                      <a:lnTo>
                        <a:pt x="610" y="1228"/>
                      </a:lnTo>
                      <a:lnTo>
                        <a:pt x="654" y="1252"/>
                      </a:lnTo>
                      <a:lnTo>
                        <a:pt x="654" y="1252"/>
                      </a:lnTo>
                      <a:lnTo>
                        <a:pt x="690" y="1270"/>
                      </a:lnTo>
                      <a:lnTo>
                        <a:pt x="726" y="1286"/>
                      </a:lnTo>
                      <a:lnTo>
                        <a:pt x="764" y="1300"/>
                      </a:lnTo>
                      <a:lnTo>
                        <a:pt x="800" y="1314"/>
                      </a:lnTo>
                      <a:lnTo>
                        <a:pt x="838" y="1324"/>
                      </a:lnTo>
                      <a:lnTo>
                        <a:pt x="876" y="1334"/>
                      </a:lnTo>
                      <a:lnTo>
                        <a:pt x="914" y="1342"/>
                      </a:lnTo>
                      <a:lnTo>
                        <a:pt x="952" y="1348"/>
                      </a:lnTo>
                      <a:lnTo>
                        <a:pt x="992" y="1352"/>
                      </a:lnTo>
                      <a:lnTo>
                        <a:pt x="1030" y="1354"/>
                      </a:lnTo>
                      <a:lnTo>
                        <a:pt x="1068" y="1352"/>
                      </a:lnTo>
                      <a:lnTo>
                        <a:pt x="1108" y="1350"/>
                      </a:lnTo>
                      <a:lnTo>
                        <a:pt x="1148" y="1346"/>
                      </a:lnTo>
                      <a:lnTo>
                        <a:pt x="1186" y="1338"/>
                      </a:lnTo>
                      <a:lnTo>
                        <a:pt x="1226" y="1328"/>
                      </a:lnTo>
                      <a:lnTo>
                        <a:pt x="1266" y="1318"/>
                      </a:lnTo>
                      <a:lnTo>
                        <a:pt x="1266" y="1318"/>
                      </a:lnTo>
                      <a:lnTo>
                        <a:pt x="1292" y="1308"/>
                      </a:lnTo>
                      <a:lnTo>
                        <a:pt x="1318" y="1298"/>
                      </a:lnTo>
                      <a:lnTo>
                        <a:pt x="1342" y="1286"/>
                      </a:lnTo>
                      <a:lnTo>
                        <a:pt x="1364" y="1274"/>
                      </a:lnTo>
                      <a:lnTo>
                        <a:pt x="1386" y="1262"/>
                      </a:lnTo>
                      <a:lnTo>
                        <a:pt x="1408" y="1246"/>
                      </a:lnTo>
                      <a:lnTo>
                        <a:pt x="1428" y="1232"/>
                      </a:lnTo>
                      <a:lnTo>
                        <a:pt x="1448" y="1216"/>
                      </a:lnTo>
                      <a:lnTo>
                        <a:pt x="1466" y="1200"/>
                      </a:lnTo>
                      <a:lnTo>
                        <a:pt x="1484" y="1182"/>
                      </a:lnTo>
                      <a:lnTo>
                        <a:pt x="1500" y="1164"/>
                      </a:lnTo>
                      <a:lnTo>
                        <a:pt x="1514" y="1144"/>
                      </a:lnTo>
                      <a:lnTo>
                        <a:pt x="1530" y="1124"/>
                      </a:lnTo>
                      <a:lnTo>
                        <a:pt x="1542" y="1104"/>
                      </a:lnTo>
                      <a:lnTo>
                        <a:pt x="1554" y="1084"/>
                      </a:lnTo>
                      <a:lnTo>
                        <a:pt x="1566" y="1062"/>
                      </a:lnTo>
                      <a:lnTo>
                        <a:pt x="1576" y="1040"/>
                      </a:lnTo>
                      <a:lnTo>
                        <a:pt x="1584" y="1016"/>
                      </a:lnTo>
                      <a:lnTo>
                        <a:pt x="1592" y="994"/>
                      </a:lnTo>
                      <a:lnTo>
                        <a:pt x="1598" y="970"/>
                      </a:lnTo>
                      <a:lnTo>
                        <a:pt x="1604" y="946"/>
                      </a:lnTo>
                      <a:lnTo>
                        <a:pt x="1608" y="922"/>
                      </a:lnTo>
                      <a:lnTo>
                        <a:pt x="1610" y="898"/>
                      </a:lnTo>
                      <a:lnTo>
                        <a:pt x="1612" y="872"/>
                      </a:lnTo>
                      <a:lnTo>
                        <a:pt x="1612" y="848"/>
                      </a:lnTo>
                      <a:lnTo>
                        <a:pt x="1610" y="822"/>
                      </a:lnTo>
                      <a:lnTo>
                        <a:pt x="1608" y="796"/>
                      </a:lnTo>
                      <a:lnTo>
                        <a:pt x="1606" y="772"/>
                      </a:lnTo>
                      <a:lnTo>
                        <a:pt x="1600" y="746"/>
                      </a:lnTo>
                      <a:lnTo>
                        <a:pt x="1594" y="720"/>
                      </a:lnTo>
                      <a:lnTo>
                        <a:pt x="1586" y="694"/>
                      </a:lnTo>
                      <a:lnTo>
                        <a:pt x="1578" y="668"/>
                      </a:lnTo>
                      <a:lnTo>
                        <a:pt x="1578" y="668"/>
                      </a:lnTo>
                      <a:lnTo>
                        <a:pt x="1564" y="634"/>
                      </a:lnTo>
                      <a:lnTo>
                        <a:pt x="1550" y="602"/>
                      </a:lnTo>
                      <a:lnTo>
                        <a:pt x="1534" y="568"/>
                      </a:lnTo>
                      <a:lnTo>
                        <a:pt x="1518" y="536"/>
                      </a:lnTo>
                      <a:lnTo>
                        <a:pt x="1518" y="536"/>
                      </a:lnTo>
                      <a:lnTo>
                        <a:pt x="1500" y="506"/>
                      </a:lnTo>
                      <a:lnTo>
                        <a:pt x="1480" y="476"/>
                      </a:lnTo>
                      <a:lnTo>
                        <a:pt x="1436" y="412"/>
                      </a:lnTo>
                      <a:lnTo>
                        <a:pt x="1436" y="41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0" name="Freeform 359"/>
                <p:cNvSpPr>
                  <a:spLocks/>
                </p:cNvSpPr>
                <p:nvPr/>
              </p:nvSpPr>
              <p:spPr bwMode="auto">
                <a:xfrm>
                  <a:off x="9417023" y="2583733"/>
                  <a:ext cx="1104656" cy="985635"/>
                </a:xfrm>
                <a:custGeom>
                  <a:avLst/>
                  <a:gdLst>
                    <a:gd name="T0" fmla="*/ 1102 w 1188"/>
                    <a:gd name="T1" fmla="*/ 362 h 1060"/>
                    <a:gd name="T2" fmla="*/ 1166 w 1188"/>
                    <a:gd name="T3" fmla="*/ 508 h 1060"/>
                    <a:gd name="T4" fmla="*/ 1188 w 1188"/>
                    <a:gd name="T5" fmla="*/ 668 h 1060"/>
                    <a:gd name="T6" fmla="*/ 1156 w 1188"/>
                    <a:gd name="T7" fmla="*/ 820 h 1060"/>
                    <a:gd name="T8" fmla="*/ 1116 w 1188"/>
                    <a:gd name="T9" fmla="*/ 886 h 1060"/>
                    <a:gd name="T10" fmla="*/ 1044 w 1188"/>
                    <a:gd name="T11" fmla="*/ 958 h 1060"/>
                    <a:gd name="T12" fmla="*/ 962 w 1188"/>
                    <a:gd name="T13" fmla="*/ 1012 h 1060"/>
                    <a:gd name="T14" fmla="*/ 870 w 1188"/>
                    <a:gd name="T15" fmla="*/ 1044 h 1060"/>
                    <a:gd name="T16" fmla="*/ 738 w 1188"/>
                    <a:gd name="T17" fmla="*/ 1060 h 1060"/>
                    <a:gd name="T18" fmla="*/ 620 w 1188"/>
                    <a:gd name="T19" fmla="*/ 1052 h 1060"/>
                    <a:gd name="T20" fmla="*/ 504 w 1188"/>
                    <a:gd name="T21" fmla="*/ 1022 h 1060"/>
                    <a:gd name="T22" fmla="*/ 312 w 1188"/>
                    <a:gd name="T23" fmla="*/ 924 h 1060"/>
                    <a:gd name="T24" fmla="*/ 152 w 1188"/>
                    <a:gd name="T25" fmla="*/ 782 h 1060"/>
                    <a:gd name="T26" fmla="*/ 82 w 1188"/>
                    <a:gd name="T27" fmla="*/ 684 h 1060"/>
                    <a:gd name="T28" fmla="*/ 30 w 1188"/>
                    <a:gd name="T29" fmla="*/ 576 h 1060"/>
                    <a:gd name="T30" fmla="*/ 10 w 1188"/>
                    <a:gd name="T31" fmla="*/ 500 h 1060"/>
                    <a:gd name="T32" fmla="*/ 0 w 1188"/>
                    <a:gd name="T33" fmla="*/ 406 h 1060"/>
                    <a:gd name="T34" fmla="*/ 12 w 1188"/>
                    <a:gd name="T35" fmla="*/ 318 h 1060"/>
                    <a:gd name="T36" fmla="*/ 40 w 1188"/>
                    <a:gd name="T37" fmla="*/ 234 h 1060"/>
                    <a:gd name="T38" fmla="*/ 86 w 1188"/>
                    <a:gd name="T39" fmla="*/ 162 h 1060"/>
                    <a:gd name="T40" fmla="*/ 148 w 1188"/>
                    <a:gd name="T41" fmla="*/ 100 h 1060"/>
                    <a:gd name="T42" fmla="*/ 224 w 1188"/>
                    <a:gd name="T43" fmla="*/ 50 h 1060"/>
                    <a:gd name="T44" fmla="*/ 314 w 1188"/>
                    <a:gd name="T45" fmla="*/ 18 h 1060"/>
                    <a:gd name="T46" fmla="*/ 400 w 1188"/>
                    <a:gd name="T47" fmla="*/ 4 h 1060"/>
                    <a:gd name="T48" fmla="*/ 548 w 1188"/>
                    <a:gd name="T49" fmla="*/ 6 h 1060"/>
                    <a:gd name="T50" fmla="*/ 688 w 1188"/>
                    <a:gd name="T51" fmla="*/ 38 h 1060"/>
                    <a:gd name="T52" fmla="*/ 820 w 1188"/>
                    <a:gd name="T53" fmla="*/ 98 h 1060"/>
                    <a:gd name="T54" fmla="*/ 914 w 1188"/>
                    <a:gd name="T55" fmla="*/ 160 h 1060"/>
                    <a:gd name="T56" fmla="*/ 912 w 1188"/>
                    <a:gd name="T57" fmla="*/ 196 h 1060"/>
                    <a:gd name="T58" fmla="*/ 850 w 1188"/>
                    <a:gd name="T59" fmla="*/ 186 h 1060"/>
                    <a:gd name="T60" fmla="*/ 684 w 1188"/>
                    <a:gd name="T61" fmla="*/ 108 h 1060"/>
                    <a:gd name="T62" fmla="*/ 546 w 1188"/>
                    <a:gd name="T63" fmla="*/ 82 h 1060"/>
                    <a:gd name="T64" fmla="*/ 414 w 1188"/>
                    <a:gd name="T65" fmla="*/ 92 h 1060"/>
                    <a:gd name="T66" fmla="*/ 298 w 1188"/>
                    <a:gd name="T67" fmla="*/ 142 h 1060"/>
                    <a:gd name="T68" fmla="*/ 210 w 1188"/>
                    <a:gd name="T69" fmla="*/ 226 h 1060"/>
                    <a:gd name="T70" fmla="*/ 160 w 1188"/>
                    <a:gd name="T71" fmla="*/ 336 h 1060"/>
                    <a:gd name="T72" fmla="*/ 150 w 1188"/>
                    <a:gd name="T73" fmla="*/ 434 h 1060"/>
                    <a:gd name="T74" fmla="*/ 176 w 1188"/>
                    <a:gd name="T75" fmla="*/ 558 h 1060"/>
                    <a:gd name="T76" fmla="*/ 234 w 1188"/>
                    <a:gd name="T77" fmla="*/ 668 h 1060"/>
                    <a:gd name="T78" fmla="*/ 360 w 1188"/>
                    <a:gd name="T79" fmla="*/ 802 h 1060"/>
                    <a:gd name="T80" fmla="*/ 522 w 1188"/>
                    <a:gd name="T81" fmla="*/ 894 h 1060"/>
                    <a:gd name="T82" fmla="*/ 702 w 1188"/>
                    <a:gd name="T83" fmla="*/ 938 h 1060"/>
                    <a:gd name="T84" fmla="*/ 818 w 1188"/>
                    <a:gd name="T85" fmla="*/ 936 h 1060"/>
                    <a:gd name="T86" fmla="*/ 902 w 1188"/>
                    <a:gd name="T87" fmla="*/ 916 h 1060"/>
                    <a:gd name="T88" fmla="*/ 976 w 1188"/>
                    <a:gd name="T89" fmla="*/ 876 h 1060"/>
                    <a:gd name="T90" fmla="*/ 1036 w 1188"/>
                    <a:gd name="T91" fmla="*/ 822 h 1060"/>
                    <a:gd name="T92" fmla="*/ 1080 w 1188"/>
                    <a:gd name="T93" fmla="*/ 756 h 1060"/>
                    <a:gd name="T94" fmla="*/ 1106 w 1188"/>
                    <a:gd name="T95" fmla="*/ 680 h 1060"/>
                    <a:gd name="T96" fmla="*/ 1112 w 1188"/>
                    <a:gd name="T97" fmla="*/ 594 h 1060"/>
                    <a:gd name="T98" fmla="*/ 1096 w 1188"/>
                    <a:gd name="T99" fmla="*/ 504 h 1060"/>
                    <a:gd name="T100" fmla="*/ 1070 w 1188"/>
                    <a:gd name="T101" fmla="*/ 432 h 1060"/>
                    <a:gd name="T102" fmla="*/ 1036 w 1188"/>
                    <a:gd name="T103" fmla="*/ 374 h 1060"/>
                    <a:gd name="T104" fmla="*/ 1022 w 1188"/>
                    <a:gd name="T105" fmla="*/ 332 h 1060"/>
                    <a:gd name="T106" fmla="*/ 1056 w 1188"/>
                    <a:gd name="T107" fmla="*/ 302 h 1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188" h="1060">
                      <a:moveTo>
                        <a:pt x="1056" y="302"/>
                      </a:moveTo>
                      <a:lnTo>
                        <a:pt x="1056" y="302"/>
                      </a:lnTo>
                      <a:lnTo>
                        <a:pt x="1080" y="330"/>
                      </a:lnTo>
                      <a:lnTo>
                        <a:pt x="1102" y="362"/>
                      </a:lnTo>
                      <a:lnTo>
                        <a:pt x="1122" y="396"/>
                      </a:lnTo>
                      <a:lnTo>
                        <a:pt x="1140" y="432"/>
                      </a:lnTo>
                      <a:lnTo>
                        <a:pt x="1154" y="468"/>
                      </a:lnTo>
                      <a:lnTo>
                        <a:pt x="1166" y="508"/>
                      </a:lnTo>
                      <a:lnTo>
                        <a:pt x="1176" y="548"/>
                      </a:lnTo>
                      <a:lnTo>
                        <a:pt x="1184" y="588"/>
                      </a:lnTo>
                      <a:lnTo>
                        <a:pt x="1188" y="628"/>
                      </a:lnTo>
                      <a:lnTo>
                        <a:pt x="1188" y="668"/>
                      </a:lnTo>
                      <a:lnTo>
                        <a:pt x="1184" y="708"/>
                      </a:lnTo>
                      <a:lnTo>
                        <a:pt x="1178" y="746"/>
                      </a:lnTo>
                      <a:lnTo>
                        <a:pt x="1168" y="784"/>
                      </a:lnTo>
                      <a:lnTo>
                        <a:pt x="1156" y="820"/>
                      </a:lnTo>
                      <a:lnTo>
                        <a:pt x="1138" y="854"/>
                      </a:lnTo>
                      <a:lnTo>
                        <a:pt x="1128" y="870"/>
                      </a:lnTo>
                      <a:lnTo>
                        <a:pt x="1116" y="886"/>
                      </a:lnTo>
                      <a:lnTo>
                        <a:pt x="1116" y="886"/>
                      </a:lnTo>
                      <a:lnTo>
                        <a:pt x="1098" y="906"/>
                      </a:lnTo>
                      <a:lnTo>
                        <a:pt x="1082" y="924"/>
                      </a:lnTo>
                      <a:lnTo>
                        <a:pt x="1062" y="942"/>
                      </a:lnTo>
                      <a:lnTo>
                        <a:pt x="1044" y="958"/>
                      </a:lnTo>
                      <a:lnTo>
                        <a:pt x="1024" y="974"/>
                      </a:lnTo>
                      <a:lnTo>
                        <a:pt x="1004" y="988"/>
                      </a:lnTo>
                      <a:lnTo>
                        <a:pt x="982" y="1000"/>
                      </a:lnTo>
                      <a:lnTo>
                        <a:pt x="962" y="1012"/>
                      </a:lnTo>
                      <a:lnTo>
                        <a:pt x="938" y="1022"/>
                      </a:lnTo>
                      <a:lnTo>
                        <a:pt x="916" y="1030"/>
                      </a:lnTo>
                      <a:lnTo>
                        <a:pt x="892" y="1038"/>
                      </a:lnTo>
                      <a:lnTo>
                        <a:pt x="870" y="1044"/>
                      </a:lnTo>
                      <a:lnTo>
                        <a:pt x="820" y="1054"/>
                      </a:lnTo>
                      <a:lnTo>
                        <a:pt x="768" y="1058"/>
                      </a:lnTo>
                      <a:lnTo>
                        <a:pt x="768" y="1058"/>
                      </a:lnTo>
                      <a:lnTo>
                        <a:pt x="738" y="1060"/>
                      </a:lnTo>
                      <a:lnTo>
                        <a:pt x="710" y="1060"/>
                      </a:lnTo>
                      <a:lnTo>
                        <a:pt x="680" y="1058"/>
                      </a:lnTo>
                      <a:lnTo>
                        <a:pt x="650" y="1056"/>
                      </a:lnTo>
                      <a:lnTo>
                        <a:pt x="620" y="1052"/>
                      </a:lnTo>
                      <a:lnTo>
                        <a:pt x="590" y="1046"/>
                      </a:lnTo>
                      <a:lnTo>
                        <a:pt x="562" y="1038"/>
                      </a:lnTo>
                      <a:lnTo>
                        <a:pt x="532" y="1030"/>
                      </a:lnTo>
                      <a:lnTo>
                        <a:pt x="504" y="1022"/>
                      </a:lnTo>
                      <a:lnTo>
                        <a:pt x="474" y="1010"/>
                      </a:lnTo>
                      <a:lnTo>
                        <a:pt x="418" y="986"/>
                      </a:lnTo>
                      <a:lnTo>
                        <a:pt x="364" y="958"/>
                      </a:lnTo>
                      <a:lnTo>
                        <a:pt x="312" y="924"/>
                      </a:lnTo>
                      <a:lnTo>
                        <a:pt x="262" y="888"/>
                      </a:lnTo>
                      <a:lnTo>
                        <a:pt x="216" y="848"/>
                      </a:lnTo>
                      <a:lnTo>
                        <a:pt x="172" y="804"/>
                      </a:lnTo>
                      <a:lnTo>
                        <a:pt x="152" y="782"/>
                      </a:lnTo>
                      <a:lnTo>
                        <a:pt x="134" y="758"/>
                      </a:lnTo>
                      <a:lnTo>
                        <a:pt x="116" y="734"/>
                      </a:lnTo>
                      <a:lnTo>
                        <a:pt x="98" y="708"/>
                      </a:lnTo>
                      <a:lnTo>
                        <a:pt x="82" y="684"/>
                      </a:lnTo>
                      <a:lnTo>
                        <a:pt x="68" y="658"/>
                      </a:lnTo>
                      <a:lnTo>
                        <a:pt x="54" y="630"/>
                      </a:lnTo>
                      <a:lnTo>
                        <a:pt x="42" y="604"/>
                      </a:lnTo>
                      <a:lnTo>
                        <a:pt x="30" y="576"/>
                      </a:lnTo>
                      <a:lnTo>
                        <a:pt x="22" y="548"/>
                      </a:lnTo>
                      <a:lnTo>
                        <a:pt x="22" y="548"/>
                      </a:lnTo>
                      <a:lnTo>
                        <a:pt x="14" y="524"/>
                      </a:lnTo>
                      <a:lnTo>
                        <a:pt x="10" y="500"/>
                      </a:lnTo>
                      <a:lnTo>
                        <a:pt x="4" y="476"/>
                      </a:lnTo>
                      <a:lnTo>
                        <a:pt x="2" y="454"/>
                      </a:lnTo>
                      <a:lnTo>
                        <a:pt x="0" y="430"/>
                      </a:lnTo>
                      <a:lnTo>
                        <a:pt x="0" y="406"/>
                      </a:lnTo>
                      <a:lnTo>
                        <a:pt x="2" y="384"/>
                      </a:lnTo>
                      <a:lnTo>
                        <a:pt x="4" y="362"/>
                      </a:lnTo>
                      <a:lnTo>
                        <a:pt x="6" y="340"/>
                      </a:lnTo>
                      <a:lnTo>
                        <a:pt x="12" y="318"/>
                      </a:lnTo>
                      <a:lnTo>
                        <a:pt x="16" y="296"/>
                      </a:lnTo>
                      <a:lnTo>
                        <a:pt x="24" y="276"/>
                      </a:lnTo>
                      <a:lnTo>
                        <a:pt x="32" y="254"/>
                      </a:lnTo>
                      <a:lnTo>
                        <a:pt x="40" y="234"/>
                      </a:lnTo>
                      <a:lnTo>
                        <a:pt x="50" y="216"/>
                      </a:lnTo>
                      <a:lnTo>
                        <a:pt x="62" y="196"/>
                      </a:lnTo>
                      <a:lnTo>
                        <a:pt x="74" y="178"/>
                      </a:lnTo>
                      <a:lnTo>
                        <a:pt x="86" y="162"/>
                      </a:lnTo>
                      <a:lnTo>
                        <a:pt x="100" y="144"/>
                      </a:lnTo>
                      <a:lnTo>
                        <a:pt x="116" y="128"/>
                      </a:lnTo>
                      <a:lnTo>
                        <a:pt x="132" y="114"/>
                      </a:lnTo>
                      <a:lnTo>
                        <a:pt x="148" y="100"/>
                      </a:lnTo>
                      <a:lnTo>
                        <a:pt x="166" y="86"/>
                      </a:lnTo>
                      <a:lnTo>
                        <a:pt x="184" y="74"/>
                      </a:lnTo>
                      <a:lnTo>
                        <a:pt x="204" y="62"/>
                      </a:lnTo>
                      <a:lnTo>
                        <a:pt x="224" y="50"/>
                      </a:lnTo>
                      <a:lnTo>
                        <a:pt x="246" y="40"/>
                      </a:lnTo>
                      <a:lnTo>
                        <a:pt x="268" y="32"/>
                      </a:lnTo>
                      <a:lnTo>
                        <a:pt x="290" y="24"/>
                      </a:lnTo>
                      <a:lnTo>
                        <a:pt x="314" y="18"/>
                      </a:lnTo>
                      <a:lnTo>
                        <a:pt x="338" y="12"/>
                      </a:lnTo>
                      <a:lnTo>
                        <a:pt x="364" y="8"/>
                      </a:lnTo>
                      <a:lnTo>
                        <a:pt x="364" y="8"/>
                      </a:lnTo>
                      <a:lnTo>
                        <a:pt x="400" y="4"/>
                      </a:lnTo>
                      <a:lnTo>
                        <a:pt x="438" y="2"/>
                      </a:lnTo>
                      <a:lnTo>
                        <a:pt x="476" y="0"/>
                      </a:lnTo>
                      <a:lnTo>
                        <a:pt x="512" y="2"/>
                      </a:lnTo>
                      <a:lnTo>
                        <a:pt x="548" y="6"/>
                      </a:lnTo>
                      <a:lnTo>
                        <a:pt x="584" y="10"/>
                      </a:lnTo>
                      <a:lnTo>
                        <a:pt x="620" y="18"/>
                      </a:lnTo>
                      <a:lnTo>
                        <a:pt x="654" y="28"/>
                      </a:lnTo>
                      <a:lnTo>
                        <a:pt x="688" y="38"/>
                      </a:lnTo>
                      <a:lnTo>
                        <a:pt x="722" y="50"/>
                      </a:lnTo>
                      <a:lnTo>
                        <a:pt x="756" y="64"/>
                      </a:lnTo>
                      <a:lnTo>
                        <a:pt x="788" y="80"/>
                      </a:lnTo>
                      <a:lnTo>
                        <a:pt x="820" y="98"/>
                      </a:lnTo>
                      <a:lnTo>
                        <a:pt x="852" y="116"/>
                      </a:lnTo>
                      <a:lnTo>
                        <a:pt x="884" y="138"/>
                      </a:lnTo>
                      <a:lnTo>
                        <a:pt x="914" y="160"/>
                      </a:lnTo>
                      <a:lnTo>
                        <a:pt x="914" y="160"/>
                      </a:lnTo>
                      <a:lnTo>
                        <a:pt x="922" y="168"/>
                      </a:lnTo>
                      <a:lnTo>
                        <a:pt x="934" y="182"/>
                      </a:lnTo>
                      <a:lnTo>
                        <a:pt x="934" y="182"/>
                      </a:lnTo>
                      <a:lnTo>
                        <a:pt x="912" y="196"/>
                      </a:lnTo>
                      <a:lnTo>
                        <a:pt x="912" y="196"/>
                      </a:lnTo>
                      <a:lnTo>
                        <a:pt x="890" y="212"/>
                      </a:lnTo>
                      <a:lnTo>
                        <a:pt x="890" y="212"/>
                      </a:lnTo>
                      <a:lnTo>
                        <a:pt x="850" y="186"/>
                      </a:lnTo>
                      <a:lnTo>
                        <a:pt x="810" y="162"/>
                      </a:lnTo>
                      <a:lnTo>
                        <a:pt x="770" y="142"/>
                      </a:lnTo>
                      <a:lnTo>
                        <a:pt x="728" y="124"/>
                      </a:lnTo>
                      <a:lnTo>
                        <a:pt x="684" y="108"/>
                      </a:lnTo>
                      <a:lnTo>
                        <a:pt x="640" y="96"/>
                      </a:lnTo>
                      <a:lnTo>
                        <a:pt x="594" y="88"/>
                      </a:lnTo>
                      <a:lnTo>
                        <a:pt x="546" y="82"/>
                      </a:lnTo>
                      <a:lnTo>
                        <a:pt x="546" y="82"/>
                      </a:lnTo>
                      <a:lnTo>
                        <a:pt x="512" y="82"/>
                      </a:lnTo>
                      <a:lnTo>
                        <a:pt x="478" y="82"/>
                      </a:lnTo>
                      <a:lnTo>
                        <a:pt x="446" y="86"/>
                      </a:lnTo>
                      <a:lnTo>
                        <a:pt x="414" y="92"/>
                      </a:lnTo>
                      <a:lnTo>
                        <a:pt x="382" y="102"/>
                      </a:lnTo>
                      <a:lnTo>
                        <a:pt x="354" y="114"/>
                      </a:lnTo>
                      <a:lnTo>
                        <a:pt x="324" y="126"/>
                      </a:lnTo>
                      <a:lnTo>
                        <a:pt x="298" y="142"/>
                      </a:lnTo>
                      <a:lnTo>
                        <a:pt x="274" y="160"/>
                      </a:lnTo>
                      <a:lnTo>
                        <a:pt x="250" y="180"/>
                      </a:lnTo>
                      <a:lnTo>
                        <a:pt x="230" y="202"/>
                      </a:lnTo>
                      <a:lnTo>
                        <a:pt x="210" y="226"/>
                      </a:lnTo>
                      <a:lnTo>
                        <a:pt x="194" y="252"/>
                      </a:lnTo>
                      <a:lnTo>
                        <a:pt x="180" y="278"/>
                      </a:lnTo>
                      <a:lnTo>
                        <a:pt x="168" y="306"/>
                      </a:lnTo>
                      <a:lnTo>
                        <a:pt x="160" y="336"/>
                      </a:lnTo>
                      <a:lnTo>
                        <a:pt x="160" y="336"/>
                      </a:lnTo>
                      <a:lnTo>
                        <a:pt x="154" y="370"/>
                      </a:lnTo>
                      <a:lnTo>
                        <a:pt x="150" y="402"/>
                      </a:lnTo>
                      <a:lnTo>
                        <a:pt x="150" y="434"/>
                      </a:lnTo>
                      <a:lnTo>
                        <a:pt x="152" y="464"/>
                      </a:lnTo>
                      <a:lnTo>
                        <a:pt x="158" y="496"/>
                      </a:lnTo>
                      <a:lnTo>
                        <a:pt x="166" y="528"/>
                      </a:lnTo>
                      <a:lnTo>
                        <a:pt x="176" y="558"/>
                      </a:lnTo>
                      <a:lnTo>
                        <a:pt x="188" y="588"/>
                      </a:lnTo>
                      <a:lnTo>
                        <a:pt x="188" y="588"/>
                      </a:lnTo>
                      <a:lnTo>
                        <a:pt x="210" y="628"/>
                      </a:lnTo>
                      <a:lnTo>
                        <a:pt x="234" y="668"/>
                      </a:lnTo>
                      <a:lnTo>
                        <a:pt x="262" y="704"/>
                      </a:lnTo>
                      <a:lnTo>
                        <a:pt x="292" y="738"/>
                      </a:lnTo>
                      <a:lnTo>
                        <a:pt x="324" y="772"/>
                      </a:lnTo>
                      <a:lnTo>
                        <a:pt x="360" y="802"/>
                      </a:lnTo>
                      <a:lnTo>
                        <a:pt x="398" y="828"/>
                      </a:lnTo>
                      <a:lnTo>
                        <a:pt x="438" y="854"/>
                      </a:lnTo>
                      <a:lnTo>
                        <a:pt x="480" y="876"/>
                      </a:lnTo>
                      <a:lnTo>
                        <a:pt x="522" y="894"/>
                      </a:lnTo>
                      <a:lnTo>
                        <a:pt x="566" y="910"/>
                      </a:lnTo>
                      <a:lnTo>
                        <a:pt x="610" y="924"/>
                      </a:lnTo>
                      <a:lnTo>
                        <a:pt x="656" y="932"/>
                      </a:lnTo>
                      <a:lnTo>
                        <a:pt x="702" y="938"/>
                      </a:lnTo>
                      <a:lnTo>
                        <a:pt x="748" y="940"/>
                      </a:lnTo>
                      <a:lnTo>
                        <a:pt x="794" y="940"/>
                      </a:lnTo>
                      <a:lnTo>
                        <a:pt x="794" y="940"/>
                      </a:lnTo>
                      <a:lnTo>
                        <a:pt x="818" y="936"/>
                      </a:lnTo>
                      <a:lnTo>
                        <a:pt x="840" y="934"/>
                      </a:lnTo>
                      <a:lnTo>
                        <a:pt x="862" y="928"/>
                      </a:lnTo>
                      <a:lnTo>
                        <a:pt x="882" y="922"/>
                      </a:lnTo>
                      <a:lnTo>
                        <a:pt x="902" y="916"/>
                      </a:lnTo>
                      <a:lnTo>
                        <a:pt x="922" y="906"/>
                      </a:lnTo>
                      <a:lnTo>
                        <a:pt x="942" y="898"/>
                      </a:lnTo>
                      <a:lnTo>
                        <a:pt x="960" y="888"/>
                      </a:lnTo>
                      <a:lnTo>
                        <a:pt x="976" y="876"/>
                      </a:lnTo>
                      <a:lnTo>
                        <a:pt x="992" y="864"/>
                      </a:lnTo>
                      <a:lnTo>
                        <a:pt x="1008" y="852"/>
                      </a:lnTo>
                      <a:lnTo>
                        <a:pt x="1022" y="838"/>
                      </a:lnTo>
                      <a:lnTo>
                        <a:pt x="1036" y="822"/>
                      </a:lnTo>
                      <a:lnTo>
                        <a:pt x="1048" y="806"/>
                      </a:lnTo>
                      <a:lnTo>
                        <a:pt x="1060" y="790"/>
                      </a:lnTo>
                      <a:lnTo>
                        <a:pt x="1070" y="774"/>
                      </a:lnTo>
                      <a:lnTo>
                        <a:pt x="1080" y="756"/>
                      </a:lnTo>
                      <a:lnTo>
                        <a:pt x="1088" y="738"/>
                      </a:lnTo>
                      <a:lnTo>
                        <a:pt x="1094" y="718"/>
                      </a:lnTo>
                      <a:lnTo>
                        <a:pt x="1100" y="700"/>
                      </a:lnTo>
                      <a:lnTo>
                        <a:pt x="1106" y="680"/>
                      </a:lnTo>
                      <a:lnTo>
                        <a:pt x="1108" y="658"/>
                      </a:lnTo>
                      <a:lnTo>
                        <a:pt x="1112" y="638"/>
                      </a:lnTo>
                      <a:lnTo>
                        <a:pt x="1112" y="616"/>
                      </a:lnTo>
                      <a:lnTo>
                        <a:pt x="1112" y="594"/>
                      </a:lnTo>
                      <a:lnTo>
                        <a:pt x="1110" y="572"/>
                      </a:lnTo>
                      <a:lnTo>
                        <a:pt x="1106" y="550"/>
                      </a:lnTo>
                      <a:lnTo>
                        <a:pt x="1102" y="526"/>
                      </a:lnTo>
                      <a:lnTo>
                        <a:pt x="1096" y="504"/>
                      </a:lnTo>
                      <a:lnTo>
                        <a:pt x="1090" y="480"/>
                      </a:lnTo>
                      <a:lnTo>
                        <a:pt x="1080" y="456"/>
                      </a:lnTo>
                      <a:lnTo>
                        <a:pt x="1070" y="432"/>
                      </a:lnTo>
                      <a:lnTo>
                        <a:pt x="1070" y="432"/>
                      </a:lnTo>
                      <a:lnTo>
                        <a:pt x="1056" y="402"/>
                      </a:lnTo>
                      <a:lnTo>
                        <a:pt x="1046" y="388"/>
                      </a:lnTo>
                      <a:lnTo>
                        <a:pt x="1036" y="374"/>
                      </a:lnTo>
                      <a:lnTo>
                        <a:pt x="1036" y="374"/>
                      </a:lnTo>
                      <a:lnTo>
                        <a:pt x="1028" y="364"/>
                      </a:lnTo>
                      <a:lnTo>
                        <a:pt x="1024" y="352"/>
                      </a:lnTo>
                      <a:lnTo>
                        <a:pt x="1020" y="342"/>
                      </a:lnTo>
                      <a:lnTo>
                        <a:pt x="1022" y="332"/>
                      </a:lnTo>
                      <a:lnTo>
                        <a:pt x="1026" y="324"/>
                      </a:lnTo>
                      <a:lnTo>
                        <a:pt x="1032" y="316"/>
                      </a:lnTo>
                      <a:lnTo>
                        <a:pt x="1042" y="310"/>
                      </a:lnTo>
                      <a:lnTo>
                        <a:pt x="1056" y="302"/>
                      </a:lnTo>
                      <a:lnTo>
                        <a:pt x="1056" y="30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1" name="Freeform 360"/>
                <p:cNvSpPr>
                  <a:spLocks/>
                </p:cNvSpPr>
                <p:nvPr/>
              </p:nvSpPr>
              <p:spPr bwMode="auto">
                <a:xfrm>
                  <a:off x="9684814" y="2741805"/>
                  <a:ext cx="684366" cy="615557"/>
                </a:xfrm>
                <a:custGeom>
                  <a:avLst/>
                  <a:gdLst>
                    <a:gd name="T0" fmla="*/ 522 w 736"/>
                    <a:gd name="T1" fmla="*/ 142 h 662"/>
                    <a:gd name="T2" fmla="*/ 410 w 736"/>
                    <a:gd name="T3" fmla="*/ 100 h 662"/>
                    <a:gd name="T4" fmla="*/ 358 w 736"/>
                    <a:gd name="T5" fmla="*/ 86 h 662"/>
                    <a:gd name="T6" fmla="*/ 310 w 736"/>
                    <a:gd name="T7" fmla="*/ 84 h 662"/>
                    <a:gd name="T8" fmla="*/ 220 w 736"/>
                    <a:gd name="T9" fmla="*/ 110 h 662"/>
                    <a:gd name="T10" fmla="*/ 174 w 736"/>
                    <a:gd name="T11" fmla="*/ 146 h 662"/>
                    <a:gd name="T12" fmla="*/ 156 w 736"/>
                    <a:gd name="T13" fmla="*/ 170 h 662"/>
                    <a:gd name="T14" fmla="*/ 126 w 736"/>
                    <a:gd name="T15" fmla="*/ 254 h 662"/>
                    <a:gd name="T16" fmla="*/ 138 w 736"/>
                    <a:gd name="T17" fmla="*/ 336 h 662"/>
                    <a:gd name="T18" fmla="*/ 166 w 736"/>
                    <a:gd name="T19" fmla="*/ 388 h 662"/>
                    <a:gd name="T20" fmla="*/ 222 w 736"/>
                    <a:gd name="T21" fmla="*/ 460 h 662"/>
                    <a:gd name="T22" fmla="*/ 272 w 736"/>
                    <a:gd name="T23" fmla="*/ 502 h 662"/>
                    <a:gd name="T24" fmla="*/ 330 w 736"/>
                    <a:gd name="T25" fmla="*/ 532 h 662"/>
                    <a:gd name="T26" fmla="*/ 392 w 736"/>
                    <a:gd name="T27" fmla="*/ 550 h 662"/>
                    <a:gd name="T28" fmla="*/ 462 w 736"/>
                    <a:gd name="T29" fmla="*/ 556 h 662"/>
                    <a:gd name="T30" fmla="*/ 518 w 736"/>
                    <a:gd name="T31" fmla="*/ 548 h 662"/>
                    <a:gd name="T32" fmla="*/ 586 w 736"/>
                    <a:gd name="T33" fmla="*/ 516 h 662"/>
                    <a:gd name="T34" fmla="*/ 632 w 736"/>
                    <a:gd name="T35" fmla="*/ 464 h 662"/>
                    <a:gd name="T36" fmla="*/ 652 w 736"/>
                    <a:gd name="T37" fmla="*/ 396 h 662"/>
                    <a:gd name="T38" fmla="*/ 646 w 736"/>
                    <a:gd name="T39" fmla="*/ 320 h 662"/>
                    <a:gd name="T40" fmla="*/ 624 w 736"/>
                    <a:gd name="T41" fmla="*/ 268 h 662"/>
                    <a:gd name="T42" fmla="*/ 676 w 736"/>
                    <a:gd name="T43" fmla="*/ 218 h 662"/>
                    <a:gd name="T44" fmla="*/ 714 w 736"/>
                    <a:gd name="T45" fmla="*/ 294 h 662"/>
                    <a:gd name="T46" fmla="*/ 734 w 736"/>
                    <a:gd name="T47" fmla="*/ 372 h 662"/>
                    <a:gd name="T48" fmla="*/ 736 w 736"/>
                    <a:gd name="T49" fmla="*/ 430 h 662"/>
                    <a:gd name="T50" fmla="*/ 722 w 736"/>
                    <a:gd name="T51" fmla="*/ 490 h 662"/>
                    <a:gd name="T52" fmla="*/ 706 w 736"/>
                    <a:gd name="T53" fmla="*/ 530 h 662"/>
                    <a:gd name="T54" fmla="*/ 674 w 736"/>
                    <a:gd name="T55" fmla="*/ 580 h 662"/>
                    <a:gd name="T56" fmla="*/ 632 w 736"/>
                    <a:gd name="T57" fmla="*/ 616 h 662"/>
                    <a:gd name="T58" fmla="*/ 586 w 736"/>
                    <a:gd name="T59" fmla="*/ 640 h 662"/>
                    <a:gd name="T60" fmla="*/ 494 w 736"/>
                    <a:gd name="T61" fmla="*/ 660 h 662"/>
                    <a:gd name="T62" fmla="*/ 418 w 736"/>
                    <a:gd name="T63" fmla="*/ 660 h 662"/>
                    <a:gd name="T64" fmla="*/ 306 w 736"/>
                    <a:gd name="T65" fmla="*/ 634 h 662"/>
                    <a:gd name="T66" fmla="*/ 202 w 736"/>
                    <a:gd name="T67" fmla="*/ 580 h 662"/>
                    <a:gd name="T68" fmla="*/ 112 w 736"/>
                    <a:gd name="T69" fmla="*/ 504 h 662"/>
                    <a:gd name="T70" fmla="*/ 46 w 736"/>
                    <a:gd name="T71" fmla="*/ 414 h 662"/>
                    <a:gd name="T72" fmla="*/ 6 w 736"/>
                    <a:gd name="T73" fmla="*/ 310 h 662"/>
                    <a:gd name="T74" fmla="*/ 0 w 736"/>
                    <a:gd name="T75" fmla="*/ 260 h 662"/>
                    <a:gd name="T76" fmla="*/ 6 w 736"/>
                    <a:gd name="T77" fmla="*/ 192 h 662"/>
                    <a:gd name="T78" fmla="*/ 30 w 736"/>
                    <a:gd name="T79" fmla="*/ 130 h 662"/>
                    <a:gd name="T80" fmla="*/ 70 w 736"/>
                    <a:gd name="T81" fmla="*/ 78 h 662"/>
                    <a:gd name="T82" fmla="*/ 126 w 736"/>
                    <a:gd name="T83" fmla="*/ 38 h 662"/>
                    <a:gd name="T84" fmla="*/ 172 w 736"/>
                    <a:gd name="T85" fmla="*/ 18 h 662"/>
                    <a:gd name="T86" fmla="*/ 248 w 736"/>
                    <a:gd name="T87" fmla="*/ 2 h 662"/>
                    <a:gd name="T88" fmla="*/ 320 w 736"/>
                    <a:gd name="T89" fmla="*/ 2 h 662"/>
                    <a:gd name="T90" fmla="*/ 392 w 736"/>
                    <a:gd name="T91" fmla="*/ 12 h 662"/>
                    <a:gd name="T92" fmla="*/ 460 w 736"/>
                    <a:gd name="T93" fmla="*/ 38 h 662"/>
                    <a:gd name="T94" fmla="*/ 548 w 736"/>
                    <a:gd name="T95" fmla="*/ 86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36" h="662">
                      <a:moveTo>
                        <a:pt x="548" y="86"/>
                      </a:moveTo>
                      <a:lnTo>
                        <a:pt x="548" y="86"/>
                      </a:lnTo>
                      <a:lnTo>
                        <a:pt x="522" y="142"/>
                      </a:lnTo>
                      <a:lnTo>
                        <a:pt x="522" y="142"/>
                      </a:lnTo>
                      <a:lnTo>
                        <a:pt x="448" y="114"/>
                      </a:lnTo>
                      <a:lnTo>
                        <a:pt x="410" y="100"/>
                      </a:lnTo>
                      <a:lnTo>
                        <a:pt x="374" y="90"/>
                      </a:lnTo>
                      <a:lnTo>
                        <a:pt x="374" y="90"/>
                      </a:lnTo>
                      <a:lnTo>
                        <a:pt x="358" y="86"/>
                      </a:lnTo>
                      <a:lnTo>
                        <a:pt x="342" y="84"/>
                      </a:lnTo>
                      <a:lnTo>
                        <a:pt x="326" y="84"/>
                      </a:lnTo>
                      <a:lnTo>
                        <a:pt x="310" y="84"/>
                      </a:lnTo>
                      <a:lnTo>
                        <a:pt x="278" y="88"/>
                      </a:lnTo>
                      <a:lnTo>
                        <a:pt x="248" y="96"/>
                      </a:lnTo>
                      <a:lnTo>
                        <a:pt x="220" y="110"/>
                      </a:lnTo>
                      <a:lnTo>
                        <a:pt x="196" y="126"/>
                      </a:lnTo>
                      <a:lnTo>
                        <a:pt x="184" y="136"/>
                      </a:lnTo>
                      <a:lnTo>
                        <a:pt x="174" y="146"/>
                      </a:lnTo>
                      <a:lnTo>
                        <a:pt x="164" y="158"/>
                      </a:lnTo>
                      <a:lnTo>
                        <a:pt x="156" y="170"/>
                      </a:lnTo>
                      <a:lnTo>
                        <a:pt x="156" y="170"/>
                      </a:lnTo>
                      <a:lnTo>
                        <a:pt x="140" y="198"/>
                      </a:lnTo>
                      <a:lnTo>
                        <a:pt x="132" y="226"/>
                      </a:lnTo>
                      <a:lnTo>
                        <a:pt x="126" y="254"/>
                      </a:lnTo>
                      <a:lnTo>
                        <a:pt x="126" y="282"/>
                      </a:lnTo>
                      <a:lnTo>
                        <a:pt x="130" y="308"/>
                      </a:lnTo>
                      <a:lnTo>
                        <a:pt x="138" y="336"/>
                      </a:lnTo>
                      <a:lnTo>
                        <a:pt x="150" y="362"/>
                      </a:lnTo>
                      <a:lnTo>
                        <a:pt x="166" y="388"/>
                      </a:lnTo>
                      <a:lnTo>
                        <a:pt x="166" y="388"/>
                      </a:lnTo>
                      <a:lnTo>
                        <a:pt x="192" y="426"/>
                      </a:lnTo>
                      <a:lnTo>
                        <a:pt x="208" y="444"/>
                      </a:lnTo>
                      <a:lnTo>
                        <a:pt x="222" y="460"/>
                      </a:lnTo>
                      <a:lnTo>
                        <a:pt x="238" y="476"/>
                      </a:lnTo>
                      <a:lnTo>
                        <a:pt x="256" y="488"/>
                      </a:lnTo>
                      <a:lnTo>
                        <a:pt x="272" y="502"/>
                      </a:lnTo>
                      <a:lnTo>
                        <a:pt x="290" y="512"/>
                      </a:lnTo>
                      <a:lnTo>
                        <a:pt x="310" y="522"/>
                      </a:lnTo>
                      <a:lnTo>
                        <a:pt x="330" y="532"/>
                      </a:lnTo>
                      <a:lnTo>
                        <a:pt x="350" y="540"/>
                      </a:lnTo>
                      <a:lnTo>
                        <a:pt x="370" y="546"/>
                      </a:lnTo>
                      <a:lnTo>
                        <a:pt x="392" y="550"/>
                      </a:lnTo>
                      <a:lnTo>
                        <a:pt x="414" y="554"/>
                      </a:lnTo>
                      <a:lnTo>
                        <a:pt x="438" y="554"/>
                      </a:lnTo>
                      <a:lnTo>
                        <a:pt x="462" y="556"/>
                      </a:lnTo>
                      <a:lnTo>
                        <a:pt x="462" y="556"/>
                      </a:lnTo>
                      <a:lnTo>
                        <a:pt x="490" y="554"/>
                      </a:lnTo>
                      <a:lnTo>
                        <a:pt x="518" y="548"/>
                      </a:lnTo>
                      <a:lnTo>
                        <a:pt x="542" y="540"/>
                      </a:lnTo>
                      <a:lnTo>
                        <a:pt x="564" y="530"/>
                      </a:lnTo>
                      <a:lnTo>
                        <a:pt x="586" y="516"/>
                      </a:lnTo>
                      <a:lnTo>
                        <a:pt x="604" y="500"/>
                      </a:lnTo>
                      <a:lnTo>
                        <a:pt x="618" y="482"/>
                      </a:lnTo>
                      <a:lnTo>
                        <a:pt x="632" y="464"/>
                      </a:lnTo>
                      <a:lnTo>
                        <a:pt x="642" y="442"/>
                      </a:lnTo>
                      <a:lnTo>
                        <a:pt x="648" y="420"/>
                      </a:lnTo>
                      <a:lnTo>
                        <a:pt x="652" y="396"/>
                      </a:lnTo>
                      <a:lnTo>
                        <a:pt x="654" y="372"/>
                      </a:lnTo>
                      <a:lnTo>
                        <a:pt x="652" y="346"/>
                      </a:lnTo>
                      <a:lnTo>
                        <a:pt x="646" y="320"/>
                      </a:lnTo>
                      <a:lnTo>
                        <a:pt x="638" y="294"/>
                      </a:lnTo>
                      <a:lnTo>
                        <a:pt x="624" y="268"/>
                      </a:lnTo>
                      <a:lnTo>
                        <a:pt x="624" y="268"/>
                      </a:lnTo>
                      <a:lnTo>
                        <a:pt x="612" y="244"/>
                      </a:lnTo>
                      <a:lnTo>
                        <a:pt x="612" y="244"/>
                      </a:lnTo>
                      <a:lnTo>
                        <a:pt x="676" y="218"/>
                      </a:lnTo>
                      <a:lnTo>
                        <a:pt x="676" y="218"/>
                      </a:lnTo>
                      <a:lnTo>
                        <a:pt x="698" y="256"/>
                      </a:lnTo>
                      <a:lnTo>
                        <a:pt x="714" y="294"/>
                      </a:lnTo>
                      <a:lnTo>
                        <a:pt x="726" y="332"/>
                      </a:lnTo>
                      <a:lnTo>
                        <a:pt x="732" y="352"/>
                      </a:lnTo>
                      <a:lnTo>
                        <a:pt x="734" y="372"/>
                      </a:lnTo>
                      <a:lnTo>
                        <a:pt x="736" y="390"/>
                      </a:lnTo>
                      <a:lnTo>
                        <a:pt x="736" y="410"/>
                      </a:lnTo>
                      <a:lnTo>
                        <a:pt x="736" y="430"/>
                      </a:lnTo>
                      <a:lnTo>
                        <a:pt x="732" y="450"/>
                      </a:lnTo>
                      <a:lnTo>
                        <a:pt x="728" y="470"/>
                      </a:lnTo>
                      <a:lnTo>
                        <a:pt x="722" y="490"/>
                      </a:lnTo>
                      <a:lnTo>
                        <a:pt x="716" y="510"/>
                      </a:lnTo>
                      <a:lnTo>
                        <a:pt x="706" y="530"/>
                      </a:lnTo>
                      <a:lnTo>
                        <a:pt x="706" y="530"/>
                      </a:lnTo>
                      <a:lnTo>
                        <a:pt x="696" y="548"/>
                      </a:lnTo>
                      <a:lnTo>
                        <a:pt x="686" y="564"/>
                      </a:lnTo>
                      <a:lnTo>
                        <a:pt x="674" y="580"/>
                      </a:lnTo>
                      <a:lnTo>
                        <a:pt x="660" y="592"/>
                      </a:lnTo>
                      <a:lnTo>
                        <a:pt x="648" y="606"/>
                      </a:lnTo>
                      <a:lnTo>
                        <a:pt x="632" y="616"/>
                      </a:lnTo>
                      <a:lnTo>
                        <a:pt x="618" y="626"/>
                      </a:lnTo>
                      <a:lnTo>
                        <a:pt x="602" y="634"/>
                      </a:lnTo>
                      <a:lnTo>
                        <a:pt x="586" y="640"/>
                      </a:lnTo>
                      <a:lnTo>
                        <a:pt x="568" y="646"/>
                      </a:lnTo>
                      <a:lnTo>
                        <a:pt x="532" y="656"/>
                      </a:lnTo>
                      <a:lnTo>
                        <a:pt x="494" y="660"/>
                      </a:lnTo>
                      <a:lnTo>
                        <a:pt x="456" y="662"/>
                      </a:lnTo>
                      <a:lnTo>
                        <a:pt x="456" y="662"/>
                      </a:lnTo>
                      <a:lnTo>
                        <a:pt x="418" y="660"/>
                      </a:lnTo>
                      <a:lnTo>
                        <a:pt x="380" y="654"/>
                      </a:lnTo>
                      <a:lnTo>
                        <a:pt x="342" y="646"/>
                      </a:lnTo>
                      <a:lnTo>
                        <a:pt x="306" y="634"/>
                      </a:lnTo>
                      <a:lnTo>
                        <a:pt x="270" y="618"/>
                      </a:lnTo>
                      <a:lnTo>
                        <a:pt x="234" y="600"/>
                      </a:lnTo>
                      <a:lnTo>
                        <a:pt x="202" y="580"/>
                      </a:lnTo>
                      <a:lnTo>
                        <a:pt x="170" y="558"/>
                      </a:lnTo>
                      <a:lnTo>
                        <a:pt x="140" y="532"/>
                      </a:lnTo>
                      <a:lnTo>
                        <a:pt x="112" y="504"/>
                      </a:lnTo>
                      <a:lnTo>
                        <a:pt x="88" y="476"/>
                      </a:lnTo>
                      <a:lnTo>
                        <a:pt x="66" y="446"/>
                      </a:lnTo>
                      <a:lnTo>
                        <a:pt x="46" y="414"/>
                      </a:lnTo>
                      <a:lnTo>
                        <a:pt x="30" y="380"/>
                      </a:lnTo>
                      <a:lnTo>
                        <a:pt x="16" y="344"/>
                      </a:lnTo>
                      <a:lnTo>
                        <a:pt x="6" y="310"/>
                      </a:lnTo>
                      <a:lnTo>
                        <a:pt x="6" y="310"/>
                      </a:lnTo>
                      <a:lnTo>
                        <a:pt x="2" y="284"/>
                      </a:lnTo>
                      <a:lnTo>
                        <a:pt x="0" y="260"/>
                      </a:lnTo>
                      <a:lnTo>
                        <a:pt x="0" y="236"/>
                      </a:lnTo>
                      <a:lnTo>
                        <a:pt x="2" y="214"/>
                      </a:lnTo>
                      <a:lnTo>
                        <a:pt x="6" y="192"/>
                      </a:lnTo>
                      <a:lnTo>
                        <a:pt x="12" y="170"/>
                      </a:lnTo>
                      <a:lnTo>
                        <a:pt x="20" y="148"/>
                      </a:lnTo>
                      <a:lnTo>
                        <a:pt x="30" y="130"/>
                      </a:lnTo>
                      <a:lnTo>
                        <a:pt x="42" y="110"/>
                      </a:lnTo>
                      <a:lnTo>
                        <a:pt x="56" y="94"/>
                      </a:lnTo>
                      <a:lnTo>
                        <a:pt x="70" y="78"/>
                      </a:lnTo>
                      <a:lnTo>
                        <a:pt x="88" y="62"/>
                      </a:lnTo>
                      <a:lnTo>
                        <a:pt x="106" y="50"/>
                      </a:lnTo>
                      <a:lnTo>
                        <a:pt x="126" y="38"/>
                      </a:lnTo>
                      <a:lnTo>
                        <a:pt x="148" y="28"/>
                      </a:lnTo>
                      <a:lnTo>
                        <a:pt x="172" y="18"/>
                      </a:lnTo>
                      <a:lnTo>
                        <a:pt x="172" y="18"/>
                      </a:lnTo>
                      <a:lnTo>
                        <a:pt x="198" y="12"/>
                      </a:lnTo>
                      <a:lnTo>
                        <a:pt x="224" y="6"/>
                      </a:lnTo>
                      <a:lnTo>
                        <a:pt x="248" y="2"/>
                      </a:lnTo>
                      <a:lnTo>
                        <a:pt x="272" y="0"/>
                      </a:lnTo>
                      <a:lnTo>
                        <a:pt x="296" y="0"/>
                      </a:lnTo>
                      <a:lnTo>
                        <a:pt x="320" y="2"/>
                      </a:lnTo>
                      <a:lnTo>
                        <a:pt x="344" y="4"/>
                      </a:lnTo>
                      <a:lnTo>
                        <a:pt x="368" y="8"/>
                      </a:lnTo>
                      <a:lnTo>
                        <a:pt x="392" y="12"/>
                      </a:lnTo>
                      <a:lnTo>
                        <a:pt x="414" y="20"/>
                      </a:lnTo>
                      <a:lnTo>
                        <a:pt x="438" y="28"/>
                      </a:lnTo>
                      <a:lnTo>
                        <a:pt x="460" y="38"/>
                      </a:lnTo>
                      <a:lnTo>
                        <a:pt x="504" y="60"/>
                      </a:lnTo>
                      <a:lnTo>
                        <a:pt x="548" y="86"/>
                      </a:lnTo>
                      <a:lnTo>
                        <a:pt x="548" y="8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2" name="Freeform 361"/>
                <p:cNvSpPr>
                  <a:spLocks/>
                </p:cNvSpPr>
                <p:nvPr/>
              </p:nvSpPr>
              <p:spPr bwMode="auto">
                <a:xfrm>
                  <a:off x="9915413" y="2905453"/>
                  <a:ext cx="288251" cy="264077"/>
                </a:xfrm>
                <a:custGeom>
                  <a:avLst/>
                  <a:gdLst>
                    <a:gd name="T0" fmla="*/ 288 w 310"/>
                    <a:gd name="T1" fmla="*/ 108 h 284"/>
                    <a:gd name="T2" fmla="*/ 304 w 310"/>
                    <a:gd name="T3" fmla="*/ 142 h 284"/>
                    <a:gd name="T4" fmla="*/ 310 w 310"/>
                    <a:gd name="T5" fmla="*/ 176 h 284"/>
                    <a:gd name="T6" fmla="*/ 304 w 310"/>
                    <a:gd name="T7" fmla="*/ 208 h 284"/>
                    <a:gd name="T8" fmla="*/ 286 w 310"/>
                    <a:gd name="T9" fmla="*/ 240 h 284"/>
                    <a:gd name="T10" fmla="*/ 272 w 310"/>
                    <a:gd name="T11" fmla="*/ 254 h 284"/>
                    <a:gd name="T12" fmla="*/ 244 w 310"/>
                    <a:gd name="T13" fmla="*/ 274 h 284"/>
                    <a:gd name="T14" fmla="*/ 210 w 310"/>
                    <a:gd name="T15" fmla="*/ 282 h 284"/>
                    <a:gd name="T16" fmla="*/ 178 w 310"/>
                    <a:gd name="T17" fmla="*/ 280 h 284"/>
                    <a:gd name="T18" fmla="*/ 160 w 310"/>
                    <a:gd name="T19" fmla="*/ 274 h 284"/>
                    <a:gd name="T20" fmla="*/ 88 w 310"/>
                    <a:gd name="T21" fmla="*/ 234 h 284"/>
                    <a:gd name="T22" fmla="*/ 22 w 310"/>
                    <a:gd name="T23" fmla="*/ 184 h 284"/>
                    <a:gd name="T24" fmla="*/ 12 w 310"/>
                    <a:gd name="T25" fmla="*/ 170 h 284"/>
                    <a:gd name="T26" fmla="*/ 0 w 310"/>
                    <a:gd name="T27" fmla="*/ 138 h 284"/>
                    <a:gd name="T28" fmla="*/ 0 w 310"/>
                    <a:gd name="T29" fmla="*/ 102 h 284"/>
                    <a:gd name="T30" fmla="*/ 12 w 310"/>
                    <a:gd name="T31" fmla="*/ 64 h 284"/>
                    <a:gd name="T32" fmla="*/ 20 w 310"/>
                    <a:gd name="T33" fmla="*/ 50 h 284"/>
                    <a:gd name="T34" fmla="*/ 46 w 310"/>
                    <a:gd name="T35" fmla="*/ 24 h 284"/>
                    <a:gd name="T36" fmla="*/ 82 w 310"/>
                    <a:gd name="T37" fmla="*/ 8 h 284"/>
                    <a:gd name="T38" fmla="*/ 124 w 310"/>
                    <a:gd name="T39" fmla="*/ 0 h 284"/>
                    <a:gd name="T40" fmla="*/ 164 w 310"/>
                    <a:gd name="T41" fmla="*/ 4 h 284"/>
                    <a:gd name="T42" fmla="*/ 180 w 310"/>
                    <a:gd name="T43" fmla="*/ 10 h 284"/>
                    <a:gd name="T44" fmla="*/ 236 w 310"/>
                    <a:gd name="T45" fmla="*/ 36 h 284"/>
                    <a:gd name="T46" fmla="*/ 196 w 310"/>
                    <a:gd name="T47" fmla="*/ 68 h 284"/>
                    <a:gd name="T48" fmla="*/ 164 w 310"/>
                    <a:gd name="T49" fmla="*/ 102 h 284"/>
                    <a:gd name="T50" fmla="*/ 160 w 310"/>
                    <a:gd name="T51" fmla="*/ 108 h 284"/>
                    <a:gd name="T52" fmla="*/ 156 w 310"/>
                    <a:gd name="T53" fmla="*/ 132 h 284"/>
                    <a:gd name="T54" fmla="*/ 152 w 310"/>
                    <a:gd name="T55" fmla="*/ 166 h 284"/>
                    <a:gd name="T56" fmla="*/ 196 w 310"/>
                    <a:gd name="T57" fmla="*/ 162 h 284"/>
                    <a:gd name="T58" fmla="*/ 210 w 310"/>
                    <a:gd name="T59" fmla="*/ 158 h 284"/>
                    <a:gd name="T60" fmla="*/ 250 w 310"/>
                    <a:gd name="T61" fmla="*/ 134 h 284"/>
                    <a:gd name="T62" fmla="*/ 288 w 310"/>
                    <a:gd name="T63" fmla="*/ 108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10" h="284">
                      <a:moveTo>
                        <a:pt x="288" y="108"/>
                      </a:moveTo>
                      <a:lnTo>
                        <a:pt x="288" y="108"/>
                      </a:lnTo>
                      <a:lnTo>
                        <a:pt x="296" y="124"/>
                      </a:lnTo>
                      <a:lnTo>
                        <a:pt x="304" y="142"/>
                      </a:lnTo>
                      <a:lnTo>
                        <a:pt x="308" y="160"/>
                      </a:lnTo>
                      <a:lnTo>
                        <a:pt x="310" y="176"/>
                      </a:lnTo>
                      <a:lnTo>
                        <a:pt x="308" y="192"/>
                      </a:lnTo>
                      <a:lnTo>
                        <a:pt x="304" y="208"/>
                      </a:lnTo>
                      <a:lnTo>
                        <a:pt x="296" y="224"/>
                      </a:lnTo>
                      <a:lnTo>
                        <a:pt x="286" y="240"/>
                      </a:lnTo>
                      <a:lnTo>
                        <a:pt x="286" y="240"/>
                      </a:lnTo>
                      <a:lnTo>
                        <a:pt x="272" y="254"/>
                      </a:lnTo>
                      <a:lnTo>
                        <a:pt x="258" y="266"/>
                      </a:lnTo>
                      <a:lnTo>
                        <a:pt x="244" y="274"/>
                      </a:lnTo>
                      <a:lnTo>
                        <a:pt x="228" y="280"/>
                      </a:lnTo>
                      <a:lnTo>
                        <a:pt x="210" y="282"/>
                      </a:lnTo>
                      <a:lnTo>
                        <a:pt x="194" y="284"/>
                      </a:lnTo>
                      <a:lnTo>
                        <a:pt x="178" y="280"/>
                      </a:lnTo>
                      <a:lnTo>
                        <a:pt x="160" y="274"/>
                      </a:lnTo>
                      <a:lnTo>
                        <a:pt x="160" y="274"/>
                      </a:lnTo>
                      <a:lnTo>
                        <a:pt x="124" y="256"/>
                      </a:lnTo>
                      <a:lnTo>
                        <a:pt x="88" y="234"/>
                      </a:lnTo>
                      <a:lnTo>
                        <a:pt x="54" y="210"/>
                      </a:lnTo>
                      <a:lnTo>
                        <a:pt x="22" y="184"/>
                      </a:lnTo>
                      <a:lnTo>
                        <a:pt x="22" y="184"/>
                      </a:lnTo>
                      <a:lnTo>
                        <a:pt x="12" y="170"/>
                      </a:lnTo>
                      <a:lnTo>
                        <a:pt x="4" y="156"/>
                      </a:lnTo>
                      <a:lnTo>
                        <a:pt x="0" y="138"/>
                      </a:lnTo>
                      <a:lnTo>
                        <a:pt x="0" y="120"/>
                      </a:lnTo>
                      <a:lnTo>
                        <a:pt x="0" y="102"/>
                      </a:lnTo>
                      <a:lnTo>
                        <a:pt x="4" y="82"/>
                      </a:lnTo>
                      <a:lnTo>
                        <a:pt x="12" y="64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30" y="36"/>
                      </a:lnTo>
                      <a:lnTo>
                        <a:pt x="46" y="24"/>
                      </a:lnTo>
                      <a:lnTo>
                        <a:pt x="62" y="14"/>
                      </a:lnTo>
                      <a:lnTo>
                        <a:pt x="82" y="8"/>
                      </a:lnTo>
                      <a:lnTo>
                        <a:pt x="102" y="2"/>
                      </a:lnTo>
                      <a:lnTo>
                        <a:pt x="124" y="0"/>
                      </a:lnTo>
                      <a:lnTo>
                        <a:pt x="144" y="0"/>
                      </a:lnTo>
                      <a:lnTo>
                        <a:pt x="164" y="4"/>
                      </a:lnTo>
                      <a:lnTo>
                        <a:pt x="164" y="4"/>
                      </a:lnTo>
                      <a:lnTo>
                        <a:pt x="180" y="10"/>
                      </a:lnTo>
                      <a:lnTo>
                        <a:pt x="196" y="16"/>
                      </a:lnTo>
                      <a:lnTo>
                        <a:pt x="236" y="36"/>
                      </a:lnTo>
                      <a:lnTo>
                        <a:pt x="236" y="36"/>
                      </a:lnTo>
                      <a:lnTo>
                        <a:pt x="196" y="68"/>
                      </a:lnTo>
                      <a:lnTo>
                        <a:pt x="178" y="84"/>
                      </a:lnTo>
                      <a:lnTo>
                        <a:pt x="164" y="102"/>
                      </a:lnTo>
                      <a:lnTo>
                        <a:pt x="164" y="102"/>
                      </a:lnTo>
                      <a:lnTo>
                        <a:pt x="160" y="108"/>
                      </a:lnTo>
                      <a:lnTo>
                        <a:pt x="158" y="116"/>
                      </a:lnTo>
                      <a:lnTo>
                        <a:pt x="156" y="132"/>
                      </a:lnTo>
                      <a:lnTo>
                        <a:pt x="152" y="166"/>
                      </a:lnTo>
                      <a:lnTo>
                        <a:pt x="152" y="166"/>
                      </a:lnTo>
                      <a:lnTo>
                        <a:pt x="182" y="164"/>
                      </a:lnTo>
                      <a:lnTo>
                        <a:pt x="196" y="162"/>
                      </a:lnTo>
                      <a:lnTo>
                        <a:pt x="210" y="158"/>
                      </a:lnTo>
                      <a:lnTo>
                        <a:pt x="210" y="158"/>
                      </a:lnTo>
                      <a:lnTo>
                        <a:pt x="230" y="148"/>
                      </a:lnTo>
                      <a:lnTo>
                        <a:pt x="250" y="134"/>
                      </a:lnTo>
                      <a:lnTo>
                        <a:pt x="288" y="108"/>
                      </a:lnTo>
                      <a:lnTo>
                        <a:pt x="288" y="10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3" name="Freeform 362"/>
                <p:cNvSpPr>
                  <a:spLocks/>
                </p:cNvSpPr>
                <p:nvPr/>
              </p:nvSpPr>
              <p:spPr bwMode="auto">
                <a:xfrm>
                  <a:off x="10596061" y="2262003"/>
                  <a:ext cx="288251" cy="288251"/>
                </a:xfrm>
                <a:custGeom>
                  <a:avLst/>
                  <a:gdLst>
                    <a:gd name="T0" fmla="*/ 4 w 310"/>
                    <a:gd name="T1" fmla="*/ 310 h 310"/>
                    <a:gd name="T2" fmla="*/ 4 w 310"/>
                    <a:gd name="T3" fmla="*/ 310 h 310"/>
                    <a:gd name="T4" fmla="*/ 0 w 310"/>
                    <a:gd name="T5" fmla="*/ 284 h 310"/>
                    <a:gd name="T6" fmla="*/ 2 w 310"/>
                    <a:gd name="T7" fmla="*/ 256 h 310"/>
                    <a:gd name="T8" fmla="*/ 8 w 310"/>
                    <a:gd name="T9" fmla="*/ 228 h 310"/>
                    <a:gd name="T10" fmla="*/ 16 w 310"/>
                    <a:gd name="T11" fmla="*/ 202 h 310"/>
                    <a:gd name="T12" fmla="*/ 26 w 310"/>
                    <a:gd name="T13" fmla="*/ 174 h 310"/>
                    <a:gd name="T14" fmla="*/ 40 w 310"/>
                    <a:gd name="T15" fmla="*/ 148 h 310"/>
                    <a:gd name="T16" fmla="*/ 58 w 310"/>
                    <a:gd name="T17" fmla="*/ 124 h 310"/>
                    <a:gd name="T18" fmla="*/ 76 w 310"/>
                    <a:gd name="T19" fmla="*/ 100 h 310"/>
                    <a:gd name="T20" fmla="*/ 96 w 310"/>
                    <a:gd name="T21" fmla="*/ 78 h 310"/>
                    <a:gd name="T22" fmla="*/ 118 w 310"/>
                    <a:gd name="T23" fmla="*/ 58 h 310"/>
                    <a:gd name="T24" fmla="*/ 142 w 310"/>
                    <a:gd name="T25" fmla="*/ 40 h 310"/>
                    <a:gd name="T26" fmla="*/ 166 w 310"/>
                    <a:gd name="T27" fmla="*/ 26 h 310"/>
                    <a:gd name="T28" fmla="*/ 192 w 310"/>
                    <a:gd name="T29" fmla="*/ 14 h 310"/>
                    <a:gd name="T30" fmla="*/ 218 w 310"/>
                    <a:gd name="T31" fmla="*/ 6 h 310"/>
                    <a:gd name="T32" fmla="*/ 242 w 310"/>
                    <a:gd name="T33" fmla="*/ 2 h 310"/>
                    <a:gd name="T34" fmla="*/ 268 w 310"/>
                    <a:gd name="T35" fmla="*/ 0 h 310"/>
                    <a:gd name="T36" fmla="*/ 268 w 310"/>
                    <a:gd name="T37" fmla="*/ 0 h 310"/>
                    <a:gd name="T38" fmla="*/ 282 w 310"/>
                    <a:gd name="T39" fmla="*/ 2 h 310"/>
                    <a:gd name="T40" fmla="*/ 292 w 310"/>
                    <a:gd name="T41" fmla="*/ 4 h 310"/>
                    <a:gd name="T42" fmla="*/ 300 w 310"/>
                    <a:gd name="T43" fmla="*/ 10 h 310"/>
                    <a:gd name="T44" fmla="*/ 306 w 310"/>
                    <a:gd name="T45" fmla="*/ 14 h 310"/>
                    <a:gd name="T46" fmla="*/ 310 w 310"/>
                    <a:gd name="T47" fmla="*/ 22 h 310"/>
                    <a:gd name="T48" fmla="*/ 310 w 310"/>
                    <a:gd name="T49" fmla="*/ 30 h 310"/>
                    <a:gd name="T50" fmla="*/ 308 w 310"/>
                    <a:gd name="T51" fmla="*/ 42 h 310"/>
                    <a:gd name="T52" fmla="*/ 302 w 310"/>
                    <a:gd name="T53" fmla="*/ 54 h 310"/>
                    <a:gd name="T54" fmla="*/ 302 w 310"/>
                    <a:gd name="T55" fmla="*/ 54 h 310"/>
                    <a:gd name="T56" fmla="*/ 294 w 310"/>
                    <a:gd name="T57" fmla="*/ 68 h 310"/>
                    <a:gd name="T58" fmla="*/ 284 w 310"/>
                    <a:gd name="T59" fmla="*/ 80 h 310"/>
                    <a:gd name="T60" fmla="*/ 266 w 310"/>
                    <a:gd name="T61" fmla="*/ 106 h 310"/>
                    <a:gd name="T62" fmla="*/ 266 w 310"/>
                    <a:gd name="T63" fmla="*/ 106 h 310"/>
                    <a:gd name="T64" fmla="*/ 4 w 310"/>
                    <a:gd name="T65" fmla="*/ 310 h 310"/>
                    <a:gd name="T66" fmla="*/ 4 w 310"/>
                    <a:gd name="T67" fmla="*/ 310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10" h="310">
                      <a:moveTo>
                        <a:pt x="4" y="310"/>
                      </a:moveTo>
                      <a:lnTo>
                        <a:pt x="4" y="310"/>
                      </a:lnTo>
                      <a:lnTo>
                        <a:pt x="0" y="284"/>
                      </a:lnTo>
                      <a:lnTo>
                        <a:pt x="2" y="256"/>
                      </a:lnTo>
                      <a:lnTo>
                        <a:pt x="8" y="228"/>
                      </a:lnTo>
                      <a:lnTo>
                        <a:pt x="16" y="202"/>
                      </a:lnTo>
                      <a:lnTo>
                        <a:pt x="26" y="174"/>
                      </a:lnTo>
                      <a:lnTo>
                        <a:pt x="40" y="148"/>
                      </a:lnTo>
                      <a:lnTo>
                        <a:pt x="58" y="124"/>
                      </a:lnTo>
                      <a:lnTo>
                        <a:pt x="76" y="100"/>
                      </a:lnTo>
                      <a:lnTo>
                        <a:pt x="96" y="78"/>
                      </a:lnTo>
                      <a:lnTo>
                        <a:pt x="118" y="58"/>
                      </a:lnTo>
                      <a:lnTo>
                        <a:pt x="142" y="40"/>
                      </a:lnTo>
                      <a:lnTo>
                        <a:pt x="166" y="26"/>
                      </a:lnTo>
                      <a:lnTo>
                        <a:pt x="192" y="14"/>
                      </a:lnTo>
                      <a:lnTo>
                        <a:pt x="218" y="6"/>
                      </a:lnTo>
                      <a:lnTo>
                        <a:pt x="242" y="2"/>
                      </a:lnTo>
                      <a:lnTo>
                        <a:pt x="268" y="0"/>
                      </a:lnTo>
                      <a:lnTo>
                        <a:pt x="268" y="0"/>
                      </a:lnTo>
                      <a:lnTo>
                        <a:pt x="282" y="2"/>
                      </a:lnTo>
                      <a:lnTo>
                        <a:pt x="292" y="4"/>
                      </a:lnTo>
                      <a:lnTo>
                        <a:pt x="300" y="10"/>
                      </a:lnTo>
                      <a:lnTo>
                        <a:pt x="306" y="14"/>
                      </a:lnTo>
                      <a:lnTo>
                        <a:pt x="310" y="22"/>
                      </a:lnTo>
                      <a:lnTo>
                        <a:pt x="310" y="30"/>
                      </a:lnTo>
                      <a:lnTo>
                        <a:pt x="308" y="42"/>
                      </a:lnTo>
                      <a:lnTo>
                        <a:pt x="302" y="54"/>
                      </a:lnTo>
                      <a:lnTo>
                        <a:pt x="302" y="54"/>
                      </a:lnTo>
                      <a:lnTo>
                        <a:pt x="294" y="68"/>
                      </a:lnTo>
                      <a:lnTo>
                        <a:pt x="284" y="80"/>
                      </a:lnTo>
                      <a:lnTo>
                        <a:pt x="266" y="106"/>
                      </a:lnTo>
                      <a:lnTo>
                        <a:pt x="266" y="106"/>
                      </a:lnTo>
                      <a:lnTo>
                        <a:pt x="4" y="310"/>
                      </a:lnTo>
                      <a:lnTo>
                        <a:pt x="4" y="3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4" name="Freeform 363"/>
                <p:cNvSpPr>
                  <a:spLocks/>
                </p:cNvSpPr>
                <p:nvPr/>
              </p:nvSpPr>
              <p:spPr bwMode="auto">
                <a:xfrm>
                  <a:off x="10324545" y="2360566"/>
                  <a:ext cx="541169" cy="464922"/>
                </a:xfrm>
                <a:custGeom>
                  <a:avLst/>
                  <a:gdLst>
                    <a:gd name="T0" fmla="*/ 296 w 582"/>
                    <a:gd name="T1" fmla="*/ 204 h 500"/>
                    <a:gd name="T2" fmla="*/ 296 w 582"/>
                    <a:gd name="T3" fmla="*/ 204 h 500"/>
                    <a:gd name="T4" fmla="*/ 558 w 582"/>
                    <a:gd name="T5" fmla="*/ 0 h 500"/>
                    <a:gd name="T6" fmla="*/ 558 w 582"/>
                    <a:gd name="T7" fmla="*/ 0 h 500"/>
                    <a:gd name="T8" fmla="*/ 582 w 582"/>
                    <a:gd name="T9" fmla="*/ 0 h 500"/>
                    <a:gd name="T10" fmla="*/ 582 w 582"/>
                    <a:gd name="T11" fmla="*/ 0 h 500"/>
                    <a:gd name="T12" fmla="*/ 516 w 582"/>
                    <a:gd name="T13" fmla="*/ 74 h 500"/>
                    <a:gd name="T14" fmla="*/ 516 w 582"/>
                    <a:gd name="T15" fmla="*/ 74 h 500"/>
                    <a:gd name="T16" fmla="*/ 482 w 582"/>
                    <a:gd name="T17" fmla="*/ 114 h 500"/>
                    <a:gd name="T18" fmla="*/ 482 w 582"/>
                    <a:gd name="T19" fmla="*/ 114 h 500"/>
                    <a:gd name="T20" fmla="*/ 452 w 582"/>
                    <a:gd name="T21" fmla="*/ 132 h 500"/>
                    <a:gd name="T22" fmla="*/ 438 w 582"/>
                    <a:gd name="T23" fmla="*/ 144 h 500"/>
                    <a:gd name="T24" fmla="*/ 424 w 582"/>
                    <a:gd name="T25" fmla="*/ 154 h 500"/>
                    <a:gd name="T26" fmla="*/ 424 w 582"/>
                    <a:gd name="T27" fmla="*/ 154 h 500"/>
                    <a:gd name="T28" fmla="*/ 62 w 582"/>
                    <a:gd name="T29" fmla="*/ 500 h 500"/>
                    <a:gd name="T30" fmla="*/ 62 w 582"/>
                    <a:gd name="T31" fmla="*/ 500 h 500"/>
                    <a:gd name="T32" fmla="*/ 22 w 582"/>
                    <a:gd name="T33" fmla="*/ 484 h 500"/>
                    <a:gd name="T34" fmla="*/ 24 w 582"/>
                    <a:gd name="T35" fmla="*/ 486 h 500"/>
                    <a:gd name="T36" fmla="*/ 24 w 582"/>
                    <a:gd name="T37" fmla="*/ 486 h 500"/>
                    <a:gd name="T38" fmla="*/ 0 w 582"/>
                    <a:gd name="T39" fmla="*/ 434 h 500"/>
                    <a:gd name="T40" fmla="*/ 0 w 582"/>
                    <a:gd name="T41" fmla="*/ 434 h 500"/>
                    <a:gd name="T42" fmla="*/ 296 w 582"/>
                    <a:gd name="T43" fmla="*/ 204 h 500"/>
                    <a:gd name="T44" fmla="*/ 296 w 582"/>
                    <a:gd name="T45" fmla="*/ 204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82" h="500">
                      <a:moveTo>
                        <a:pt x="296" y="204"/>
                      </a:moveTo>
                      <a:lnTo>
                        <a:pt x="296" y="204"/>
                      </a:lnTo>
                      <a:lnTo>
                        <a:pt x="558" y="0"/>
                      </a:lnTo>
                      <a:lnTo>
                        <a:pt x="558" y="0"/>
                      </a:lnTo>
                      <a:lnTo>
                        <a:pt x="582" y="0"/>
                      </a:lnTo>
                      <a:lnTo>
                        <a:pt x="582" y="0"/>
                      </a:lnTo>
                      <a:lnTo>
                        <a:pt x="516" y="74"/>
                      </a:lnTo>
                      <a:lnTo>
                        <a:pt x="516" y="74"/>
                      </a:lnTo>
                      <a:lnTo>
                        <a:pt x="482" y="114"/>
                      </a:lnTo>
                      <a:lnTo>
                        <a:pt x="482" y="114"/>
                      </a:lnTo>
                      <a:lnTo>
                        <a:pt x="452" y="132"/>
                      </a:lnTo>
                      <a:lnTo>
                        <a:pt x="438" y="144"/>
                      </a:lnTo>
                      <a:lnTo>
                        <a:pt x="424" y="154"/>
                      </a:lnTo>
                      <a:lnTo>
                        <a:pt x="424" y="154"/>
                      </a:lnTo>
                      <a:lnTo>
                        <a:pt x="62" y="500"/>
                      </a:lnTo>
                      <a:lnTo>
                        <a:pt x="62" y="500"/>
                      </a:lnTo>
                      <a:lnTo>
                        <a:pt x="22" y="484"/>
                      </a:lnTo>
                      <a:lnTo>
                        <a:pt x="24" y="486"/>
                      </a:lnTo>
                      <a:lnTo>
                        <a:pt x="24" y="486"/>
                      </a:lnTo>
                      <a:lnTo>
                        <a:pt x="0" y="434"/>
                      </a:lnTo>
                      <a:lnTo>
                        <a:pt x="0" y="434"/>
                      </a:lnTo>
                      <a:lnTo>
                        <a:pt x="296" y="204"/>
                      </a:lnTo>
                      <a:lnTo>
                        <a:pt x="296" y="204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5" name="Freeform 364"/>
                <p:cNvSpPr>
                  <a:spLocks/>
                </p:cNvSpPr>
                <p:nvPr/>
              </p:nvSpPr>
              <p:spPr bwMode="auto">
                <a:xfrm>
                  <a:off x="10638827" y="2353131"/>
                  <a:ext cx="312427" cy="249197"/>
                </a:xfrm>
                <a:custGeom>
                  <a:avLst/>
                  <a:gdLst>
                    <a:gd name="T0" fmla="*/ 144 w 336"/>
                    <a:gd name="T1" fmla="*/ 122 h 268"/>
                    <a:gd name="T2" fmla="*/ 144 w 336"/>
                    <a:gd name="T3" fmla="*/ 122 h 268"/>
                    <a:gd name="T4" fmla="*/ 178 w 336"/>
                    <a:gd name="T5" fmla="*/ 82 h 268"/>
                    <a:gd name="T6" fmla="*/ 178 w 336"/>
                    <a:gd name="T7" fmla="*/ 82 h 268"/>
                    <a:gd name="T8" fmla="*/ 216 w 336"/>
                    <a:gd name="T9" fmla="*/ 48 h 268"/>
                    <a:gd name="T10" fmla="*/ 236 w 336"/>
                    <a:gd name="T11" fmla="*/ 32 h 268"/>
                    <a:gd name="T12" fmla="*/ 258 w 336"/>
                    <a:gd name="T13" fmla="*/ 18 h 268"/>
                    <a:gd name="T14" fmla="*/ 258 w 336"/>
                    <a:gd name="T15" fmla="*/ 18 h 268"/>
                    <a:gd name="T16" fmla="*/ 274 w 336"/>
                    <a:gd name="T17" fmla="*/ 10 h 268"/>
                    <a:gd name="T18" fmla="*/ 292 w 336"/>
                    <a:gd name="T19" fmla="*/ 6 h 268"/>
                    <a:gd name="T20" fmla="*/ 328 w 336"/>
                    <a:gd name="T21" fmla="*/ 0 h 268"/>
                    <a:gd name="T22" fmla="*/ 328 w 336"/>
                    <a:gd name="T23" fmla="*/ 0 h 268"/>
                    <a:gd name="T24" fmla="*/ 334 w 336"/>
                    <a:gd name="T25" fmla="*/ 32 h 268"/>
                    <a:gd name="T26" fmla="*/ 336 w 336"/>
                    <a:gd name="T27" fmla="*/ 46 h 268"/>
                    <a:gd name="T28" fmla="*/ 334 w 336"/>
                    <a:gd name="T29" fmla="*/ 62 h 268"/>
                    <a:gd name="T30" fmla="*/ 334 w 336"/>
                    <a:gd name="T31" fmla="*/ 62 h 268"/>
                    <a:gd name="T32" fmla="*/ 330 w 336"/>
                    <a:gd name="T33" fmla="*/ 80 h 268"/>
                    <a:gd name="T34" fmla="*/ 326 w 336"/>
                    <a:gd name="T35" fmla="*/ 96 h 268"/>
                    <a:gd name="T36" fmla="*/ 320 w 336"/>
                    <a:gd name="T37" fmla="*/ 112 h 268"/>
                    <a:gd name="T38" fmla="*/ 312 w 336"/>
                    <a:gd name="T39" fmla="*/ 126 h 268"/>
                    <a:gd name="T40" fmla="*/ 304 w 336"/>
                    <a:gd name="T41" fmla="*/ 140 h 268"/>
                    <a:gd name="T42" fmla="*/ 296 w 336"/>
                    <a:gd name="T43" fmla="*/ 154 h 268"/>
                    <a:gd name="T44" fmla="*/ 286 w 336"/>
                    <a:gd name="T45" fmla="*/ 166 h 268"/>
                    <a:gd name="T46" fmla="*/ 274 w 336"/>
                    <a:gd name="T47" fmla="*/ 176 h 268"/>
                    <a:gd name="T48" fmla="*/ 250 w 336"/>
                    <a:gd name="T49" fmla="*/ 196 h 268"/>
                    <a:gd name="T50" fmla="*/ 224 w 336"/>
                    <a:gd name="T51" fmla="*/ 212 h 268"/>
                    <a:gd name="T52" fmla="*/ 194 w 336"/>
                    <a:gd name="T53" fmla="*/ 226 h 268"/>
                    <a:gd name="T54" fmla="*/ 160 w 336"/>
                    <a:gd name="T55" fmla="*/ 236 h 268"/>
                    <a:gd name="T56" fmla="*/ 160 w 336"/>
                    <a:gd name="T57" fmla="*/ 236 h 268"/>
                    <a:gd name="T58" fmla="*/ 122 w 336"/>
                    <a:gd name="T59" fmla="*/ 246 h 268"/>
                    <a:gd name="T60" fmla="*/ 84 w 336"/>
                    <a:gd name="T61" fmla="*/ 252 h 268"/>
                    <a:gd name="T62" fmla="*/ 0 w 336"/>
                    <a:gd name="T63" fmla="*/ 268 h 268"/>
                    <a:gd name="T64" fmla="*/ 0 w 336"/>
                    <a:gd name="T65" fmla="*/ 268 h 268"/>
                    <a:gd name="T66" fmla="*/ 144 w 336"/>
                    <a:gd name="T67" fmla="*/ 122 h 268"/>
                    <a:gd name="T68" fmla="*/ 144 w 336"/>
                    <a:gd name="T69" fmla="*/ 122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36" h="268">
                      <a:moveTo>
                        <a:pt x="144" y="122"/>
                      </a:moveTo>
                      <a:lnTo>
                        <a:pt x="144" y="122"/>
                      </a:lnTo>
                      <a:lnTo>
                        <a:pt x="178" y="82"/>
                      </a:lnTo>
                      <a:lnTo>
                        <a:pt x="178" y="82"/>
                      </a:lnTo>
                      <a:lnTo>
                        <a:pt x="216" y="48"/>
                      </a:lnTo>
                      <a:lnTo>
                        <a:pt x="236" y="32"/>
                      </a:lnTo>
                      <a:lnTo>
                        <a:pt x="258" y="18"/>
                      </a:lnTo>
                      <a:lnTo>
                        <a:pt x="258" y="18"/>
                      </a:lnTo>
                      <a:lnTo>
                        <a:pt x="274" y="10"/>
                      </a:lnTo>
                      <a:lnTo>
                        <a:pt x="292" y="6"/>
                      </a:lnTo>
                      <a:lnTo>
                        <a:pt x="328" y="0"/>
                      </a:lnTo>
                      <a:lnTo>
                        <a:pt x="328" y="0"/>
                      </a:lnTo>
                      <a:lnTo>
                        <a:pt x="334" y="32"/>
                      </a:lnTo>
                      <a:lnTo>
                        <a:pt x="336" y="46"/>
                      </a:lnTo>
                      <a:lnTo>
                        <a:pt x="334" y="62"/>
                      </a:lnTo>
                      <a:lnTo>
                        <a:pt x="334" y="62"/>
                      </a:lnTo>
                      <a:lnTo>
                        <a:pt x="330" y="80"/>
                      </a:lnTo>
                      <a:lnTo>
                        <a:pt x="326" y="96"/>
                      </a:lnTo>
                      <a:lnTo>
                        <a:pt x="320" y="112"/>
                      </a:lnTo>
                      <a:lnTo>
                        <a:pt x="312" y="126"/>
                      </a:lnTo>
                      <a:lnTo>
                        <a:pt x="304" y="140"/>
                      </a:lnTo>
                      <a:lnTo>
                        <a:pt x="296" y="154"/>
                      </a:lnTo>
                      <a:lnTo>
                        <a:pt x="286" y="166"/>
                      </a:lnTo>
                      <a:lnTo>
                        <a:pt x="274" y="176"/>
                      </a:lnTo>
                      <a:lnTo>
                        <a:pt x="250" y="196"/>
                      </a:lnTo>
                      <a:lnTo>
                        <a:pt x="224" y="212"/>
                      </a:lnTo>
                      <a:lnTo>
                        <a:pt x="194" y="226"/>
                      </a:lnTo>
                      <a:lnTo>
                        <a:pt x="160" y="236"/>
                      </a:lnTo>
                      <a:lnTo>
                        <a:pt x="160" y="236"/>
                      </a:lnTo>
                      <a:lnTo>
                        <a:pt x="122" y="246"/>
                      </a:lnTo>
                      <a:lnTo>
                        <a:pt x="84" y="252"/>
                      </a:lnTo>
                      <a:lnTo>
                        <a:pt x="0" y="268"/>
                      </a:lnTo>
                      <a:lnTo>
                        <a:pt x="0" y="268"/>
                      </a:lnTo>
                      <a:lnTo>
                        <a:pt x="144" y="122"/>
                      </a:lnTo>
                      <a:lnTo>
                        <a:pt x="144" y="12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6" name="Freeform 365"/>
                <p:cNvSpPr>
                  <a:spLocks/>
                </p:cNvSpPr>
                <p:nvPr/>
              </p:nvSpPr>
              <p:spPr bwMode="auto">
                <a:xfrm>
                  <a:off x="10199926" y="2762254"/>
                  <a:ext cx="171093" cy="174811"/>
                </a:xfrm>
                <a:custGeom>
                  <a:avLst/>
                  <a:gdLst>
                    <a:gd name="T0" fmla="*/ 156 w 184"/>
                    <a:gd name="T1" fmla="*/ 52 h 188"/>
                    <a:gd name="T2" fmla="*/ 156 w 184"/>
                    <a:gd name="T3" fmla="*/ 52 h 188"/>
                    <a:gd name="T4" fmla="*/ 184 w 184"/>
                    <a:gd name="T5" fmla="*/ 86 h 188"/>
                    <a:gd name="T6" fmla="*/ 184 w 184"/>
                    <a:gd name="T7" fmla="*/ 86 h 188"/>
                    <a:gd name="T8" fmla="*/ 152 w 184"/>
                    <a:gd name="T9" fmla="*/ 122 h 188"/>
                    <a:gd name="T10" fmla="*/ 124 w 184"/>
                    <a:gd name="T11" fmla="*/ 148 h 188"/>
                    <a:gd name="T12" fmla="*/ 102 w 184"/>
                    <a:gd name="T13" fmla="*/ 168 h 188"/>
                    <a:gd name="T14" fmla="*/ 80 w 184"/>
                    <a:gd name="T15" fmla="*/ 182 h 188"/>
                    <a:gd name="T16" fmla="*/ 72 w 184"/>
                    <a:gd name="T17" fmla="*/ 186 h 188"/>
                    <a:gd name="T18" fmla="*/ 62 w 184"/>
                    <a:gd name="T19" fmla="*/ 188 h 188"/>
                    <a:gd name="T20" fmla="*/ 54 w 184"/>
                    <a:gd name="T21" fmla="*/ 188 h 188"/>
                    <a:gd name="T22" fmla="*/ 46 w 184"/>
                    <a:gd name="T23" fmla="*/ 188 h 188"/>
                    <a:gd name="T24" fmla="*/ 38 w 184"/>
                    <a:gd name="T25" fmla="*/ 184 h 188"/>
                    <a:gd name="T26" fmla="*/ 30 w 184"/>
                    <a:gd name="T27" fmla="*/ 180 h 188"/>
                    <a:gd name="T28" fmla="*/ 12 w 184"/>
                    <a:gd name="T29" fmla="*/ 170 h 188"/>
                    <a:gd name="T30" fmla="*/ 12 w 184"/>
                    <a:gd name="T31" fmla="*/ 170 h 188"/>
                    <a:gd name="T32" fmla="*/ 12 w 184"/>
                    <a:gd name="T33" fmla="*/ 168 h 188"/>
                    <a:gd name="T34" fmla="*/ 12 w 184"/>
                    <a:gd name="T35" fmla="*/ 168 h 188"/>
                    <a:gd name="T36" fmla="*/ 6 w 184"/>
                    <a:gd name="T37" fmla="*/ 156 h 188"/>
                    <a:gd name="T38" fmla="*/ 2 w 184"/>
                    <a:gd name="T39" fmla="*/ 144 h 188"/>
                    <a:gd name="T40" fmla="*/ 0 w 184"/>
                    <a:gd name="T41" fmla="*/ 132 h 188"/>
                    <a:gd name="T42" fmla="*/ 2 w 184"/>
                    <a:gd name="T43" fmla="*/ 120 h 188"/>
                    <a:gd name="T44" fmla="*/ 6 w 184"/>
                    <a:gd name="T45" fmla="*/ 108 h 188"/>
                    <a:gd name="T46" fmla="*/ 12 w 184"/>
                    <a:gd name="T47" fmla="*/ 98 h 188"/>
                    <a:gd name="T48" fmla="*/ 20 w 184"/>
                    <a:gd name="T49" fmla="*/ 88 h 188"/>
                    <a:gd name="T50" fmla="*/ 30 w 184"/>
                    <a:gd name="T51" fmla="*/ 78 h 188"/>
                    <a:gd name="T52" fmla="*/ 30 w 184"/>
                    <a:gd name="T53" fmla="*/ 78 h 188"/>
                    <a:gd name="T54" fmla="*/ 116 w 184"/>
                    <a:gd name="T55" fmla="*/ 0 h 188"/>
                    <a:gd name="T56" fmla="*/ 116 w 184"/>
                    <a:gd name="T57" fmla="*/ 0 h 188"/>
                    <a:gd name="T58" fmla="*/ 158 w 184"/>
                    <a:gd name="T59" fmla="*/ 52 h 188"/>
                    <a:gd name="T60" fmla="*/ 158 w 184"/>
                    <a:gd name="T61" fmla="*/ 52 h 188"/>
                    <a:gd name="T62" fmla="*/ 156 w 184"/>
                    <a:gd name="T63" fmla="*/ 52 h 188"/>
                    <a:gd name="T64" fmla="*/ 156 w 184"/>
                    <a:gd name="T65" fmla="*/ 5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84" h="188">
                      <a:moveTo>
                        <a:pt x="156" y="52"/>
                      </a:moveTo>
                      <a:lnTo>
                        <a:pt x="156" y="52"/>
                      </a:lnTo>
                      <a:lnTo>
                        <a:pt x="184" y="86"/>
                      </a:lnTo>
                      <a:lnTo>
                        <a:pt x="184" y="86"/>
                      </a:lnTo>
                      <a:lnTo>
                        <a:pt x="152" y="122"/>
                      </a:lnTo>
                      <a:lnTo>
                        <a:pt x="124" y="148"/>
                      </a:lnTo>
                      <a:lnTo>
                        <a:pt x="102" y="168"/>
                      </a:lnTo>
                      <a:lnTo>
                        <a:pt x="80" y="182"/>
                      </a:lnTo>
                      <a:lnTo>
                        <a:pt x="72" y="186"/>
                      </a:lnTo>
                      <a:lnTo>
                        <a:pt x="62" y="188"/>
                      </a:lnTo>
                      <a:lnTo>
                        <a:pt x="54" y="188"/>
                      </a:lnTo>
                      <a:lnTo>
                        <a:pt x="46" y="188"/>
                      </a:lnTo>
                      <a:lnTo>
                        <a:pt x="38" y="184"/>
                      </a:lnTo>
                      <a:lnTo>
                        <a:pt x="30" y="180"/>
                      </a:lnTo>
                      <a:lnTo>
                        <a:pt x="12" y="170"/>
                      </a:lnTo>
                      <a:lnTo>
                        <a:pt x="12" y="170"/>
                      </a:lnTo>
                      <a:lnTo>
                        <a:pt x="12" y="168"/>
                      </a:lnTo>
                      <a:lnTo>
                        <a:pt x="12" y="168"/>
                      </a:lnTo>
                      <a:lnTo>
                        <a:pt x="6" y="156"/>
                      </a:lnTo>
                      <a:lnTo>
                        <a:pt x="2" y="144"/>
                      </a:lnTo>
                      <a:lnTo>
                        <a:pt x="0" y="132"/>
                      </a:lnTo>
                      <a:lnTo>
                        <a:pt x="2" y="120"/>
                      </a:lnTo>
                      <a:lnTo>
                        <a:pt x="6" y="108"/>
                      </a:lnTo>
                      <a:lnTo>
                        <a:pt x="12" y="98"/>
                      </a:lnTo>
                      <a:lnTo>
                        <a:pt x="20" y="88"/>
                      </a:lnTo>
                      <a:lnTo>
                        <a:pt x="30" y="78"/>
                      </a:lnTo>
                      <a:lnTo>
                        <a:pt x="30" y="78"/>
                      </a:lnTo>
                      <a:lnTo>
                        <a:pt x="116" y="0"/>
                      </a:lnTo>
                      <a:lnTo>
                        <a:pt x="116" y="0"/>
                      </a:lnTo>
                      <a:lnTo>
                        <a:pt x="158" y="52"/>
                      </a:lnTo>
                      <a:lnTo>
                        <a:pt x="158" y="52"/>
                      </a:lnTo>
                      <a:lnTo>
                        <a:pt x="156" y="52"/>
                      </a:lnTo>
                      <a:lnTo>
                        <a:pt x="156" y="5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67" name="Freeform 366"/>
                <p:cNvSpPr>
                  <a:spLocks/>
                </p:cNvSpPr>
                <p:nvPr/>
              </p:nvSpPr>
              <p:spPr bwMode="auto">
                <a:xfrm>
                  <a:off x="10075297" y="2918467"/>
                  <a:ext cx="135756" cy="111580"/>
                </a:xfrm>
                <a:custGeom>
                  <a:avLst/>
                  <a:gdLst>
                    <a:gd name="T0" fmla="*/ 146 w 146"/>
                    <a:gd name="T1" fmla="*/ 0 h 120"/>
                    <a:gd name="T2" fmla="*/ 146 w 146"/>
                    <a:gd name="T3" fmla="*/ 0 h 120"/>
                    <a:gd name="T4" fmla="*/ 146 w 146"/>
                    <a:gd name="T5" fmla="*/ 2 h 120"/>
                    <a:gd name="T6" fmla="*/ 146 w 146"/>
                    <a:gd name="T7" fmla="*/ 2 h 120"/>
                    <a:gd name="T8" fmla="*/ 140 w 146"/>
                    <a:gd name="T9" fmla="*/ 18 h 120"/>
                    <a:gd name="T10" fmla="*/ 128 w 146"/>
                    <a:gd name="T11" fmla="*/ 36 h 120"/>
                    <a:gd name="T12" fmla="*/ 114 w 146"/>
                    <a:gd name="T13" fmla="*/ 54 h 120"/>
                    <a:gd name="T14" fmla="*/ 96 w 146"/>
                    <a:gd name="T15" fmla="*/ 70 h 120"/>
                    <a:gd name="T16" fmla="*/ 76 w 146"/>
                    <a:gd name="T17" fmla="*/ 86 h 120"/>
                    <a:gd name="T18" fmla="*/ 54 w 146"/>
                    <a:gd name="T19" fmla="*/ 102 h 120"/>
                    <a:gd name="T20" fmla="*/ 32 w 146"/>
                    <a:gd name="T21" fmla="*/ 112 h 120"/>
                    <a:gd name="T22" fmla="*/ 10 w 146"/>
                    <a:gd name="T23" fmla="*/ 120 h 120"/>
                    <a:gd name="T24" fmla="*/ 10 w 146"/>
                    <a:gd name="T25" fmla="*/ 120 h 120"/>
                    <a:gd name="T26" fmla="*/ 0 w 146"/>
                    <a:gd name="T27" fmla="*/ 108 h 120"/>
                    <a:gd name="T28" fmla="*/ 0 w 146"/>
                    <a:gd name="T29" fmla="*/ 108 h 120"/>
                    <a:gd name="T30" fmla="*/ 146 w 146"/>
                    <a:gd name="T31" fmla="*/ 0 h 120"/>
                    <a:gd name="T32" fmla="*/ 146 w 146"/>
                    <a:gd name="T33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6" h="120">
                      <a:moveTo>
                        <a:pt x="146" y="0"/>
                      </a:moveTo>
                      <a:lnTo>
                        <a:pt x="146" y="0"/>
                      </a:lnTo>
                      <a:lnTo>
                        <a:pt x="146" y="2"/>
                      </a:lnTo>
                      <a:lnTo>
                        <a:pt x="146" y="2"/>
                      </a:lnTo>
                      <a:lnTo>
                        <a:pt x="140" y="18"/>
                      </a:lnTo>
                      <a:lnTo>
                        <a:pt x="128" y="36"/>
                      </a:lnTo>
                      <a:lnTo>
                        <a:pt x="114" y="54"/>
                      </a:lnTo>
                      <a:lnTo>
                        <a:pt x="96" y="70"/>
                      </a:lnTo>
                      <a:lnTo>
                        <a:pt x="76" y="86"/>
                      </a:lnTo>
                      <a:lnTo>
                        <a:pt x="54" y="102"/>
                      </a:lnTo>
                      <a:lnTo>
                        <a:pt x="32" y="112"/>
                      </a:lnTo>
                      <a:lnTo>
                        <a:pt x="10" y="120"/>
                      </a:lnTo>
                      <a:lnTo>
                        <a:pt x="10" y="120"/>
                      </a:lnTo>
                      <a:lnTo>
                        <a:pt x="0" y="108"/>
                      </a:lnTo>
                      <a:lnTo>
                        <a:pt x="0" y="108"/>
                      </a:lnTo>
                      <a:lnTo>
                        <a:pt x="146" y="0"/>
                      </a:lnTo>
                      <a:lnTo>
                        <a:pt x="146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100770" tIns="50385" rIns="100770" bIns="5038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tr-TR" sz="1984" dirty="0">
                    <a:solidFill>
                      <a:srgbClr val="000000"/>
                    </a:solidFill>
                    <a:latin typeface="EYInterstate Light" panose="02000506000000020004" pitchFamily="2" charset="0"/>
                  </a:endParaRPr>
                </a:p>
              </p:txBody>
            </p:sp>
          </p:grpSp>
        </p:grpSp>
        <p:sp>
          <p:nvSpPr>
            <p:cNvPr id="341" name="Freeform 107"/>
            <p:cNvSpPr>
              <a:spLocks noChangeAspect="1" noEditPoints="1"/>
            </p:cNvSpPr>
            <p:nvPr/>
          </p:nvSpPr>
          <p:spPr bwMode="auto">
            <a:xfrm>
              <a:off x="6506718" y="3658760"/>
              <a:ext cx="716364" cy="606779"/>
            </a:xfrm>
            <a:custGeom>
              <a:avLst/>
              <a:gdLst>
                <a:gd name="T0" fmla="*/ 2147483647 w 5198"/>
                <a:gd name="T1" fmla="*/ 2147483647 h 4763"/>
                <a:gd name="T2" fmla="*/ 2147483647 w 5198"/>
                <a:gd name="T3" fmla="*/ 2147483647 h 4763"/>
                <a:gd name="T4" fmla="*/ 2147483647 w 5198"/>
                <a:gd name="T5" fmla="*/ 2147483647 h 4763"/>
                <a:gd name="T6" fmla="*/ 2147483647 w 5198"/>
                <a:gd name="T7" fmla="*/ 2147483647 h 4763"/>
                <a:gd name="T8" fmla="*/ 2147483647 w 5198"/>
                <a:gd name="T9" fmla="*/ 2147483647 h 4763"/>
                <a:gd name="T10" fmla="*/ 2147483647 w 5198"/>
                <a:gd name="T11" fmla="*/ 2147483647 h 4763"/>
                <a:gd name="T12" fmla="*/ 2147483647 w 5198"/>
                <a:gd name="T13" fmla="*/ 2147483647 h 4763"/>
                <a:gd name="T14" fmla="*/ 2147483647 w 5198"/>
                <a:gd name="T15" fmla="*/ 2147483647 h 4763"/>
                <a:gd name="T16" fmla="*/ 2147483647 w 5198"/>
                <a:gd name="T17" fmla="*/ 2147483647 h 4763"/>
                <a:gd name="T18" fmla="*/ 2147483647 w 5198"/>
                <a:gd name="T19" fmla="*/ 2147483647 h 4763"/>
                <a:gd name="T20" fmla="*/ 2147483647 w 5198"/>
                <a:gd name="T21" fmla="*/ 2147483647 h 4763"/>
                <a:gd name="T22" fmla="*/ 2147483647 w 5198"/>
                <a:gd name="T23" fmla="*/ 2147483647 h 4763"/>
                <a:gd name="T24" fmla="*/ 2147483647 w 5198"/>
                <a:gd name="T25" fmla="*/ 2147483647 h 4763"/>
                <a:gd name="T26" fmla="*/ 2147483647 w 5198"/>
                <a:gd name="T27" fmla="*/ 2147483647 h 4763"/>
                <a:gd name="T28" fmla="*/ 2147483647 w 5198"/>
                <a:gd name="T29" fmla="*/ 2147483647 h 4763"/>
                <a:gd name="T30" fmla="*/ 2147483647 w 5198"/>
                <a:gd name="T31" fmla="*/ 2147483647 h 4763"/>
                <a:gd name="T32" fmla="*/ 2147483647 w 5198"/>
                <a:gd name="T33" fmla="*/ 2147483647 h 4763"/>
                <a:gd name="T34" fmla="*/ 2147483647 w 5198"/>
                <a:gd name="T35" fmla="*/ 2147483647 h 4763"/>
                <a:gd name="T36" fmla="*/ 2147483647 w 5198"/>
                <a:gd name="T37" fmla="*/ 2147483647 h 4763"/>
                <a:gd name="T38" fmla="*/ 2147483647 w 5198"/>
                <a:gd name="T39" fmla="*/ 2147483647 h 4763"/>
                <a:gd name="T40" fmla="*/ 2147483647 w 5198"/>
                <a:gd name="T41" fmla="*/ 2147483647 h 4763"/>
                <a:gd name="T42" fmla="*/ 2147483647 w 5198"/>
                <a:gd name="T43" fmla="*/ 2147483647 h 4763"/>
                <a:gd name="T44" fmla="*/ 2147483647 w 5198"/>
                <a:gd name="T45" fmla="*/ 2147483647 h 4763"/>
                <a:gd name="T46" fmla="*/ 2147483647 w 5198"/>
                <a:gd name="T47" fmla="*/ 2147483647 h 4763"/>
                <a:gd name="T48" fmla="*/ 2147483647 w 5198"/>
                <a:gd name="T49" fmla="*/ 2147483647 h 4763"/>
                <a:gd name="T50" fmla="*/ 2147483647 w 5198"/>
                <a:gd name="T51" fmla="*/ 2147483647 h 4763"/>
                <a:gd name="T52" fmla="*/ 2147483647 w 5198"/>
                <a:gd name="T53" fmla="*/ 2147483647 h 4763"/>
                <a:gd name="T54" fmla="*/ 2147483647 w 5198"/>
                <a:gd name="T55" fmla="*/ 2147483647 h 4763"/>
                <a:gd name="T56" fmla="*/ 2147483647 w 5198"/>
                <a:gd name="T57" fmla="*/ 2147483647 h 4763"/>
                <a:gd name="T58" fmla="*/ 2147483647 w 5198"/>
                <a:gd name="T59" fmla="*/ 2147483647 h 4763"/>
                <a:gd name="T60" fmla="*/ 2147483647 w 5198"/>
                <a:gd name="T61" fmla="*/ 2147483647 h 4763"/>
                <a:gd name="T62" fmla="*/ 2147483647 w 5198"/>
                <a:gd name="T63" fmla="*/ 2147483647 h 4763"/>
                <a:gd name="T64" fmla="*/ 2147483647 w 5198"/>
                <a:gd name="T65" fmla="*/ 2147483647 h 4763"/>
                <a:gd name="T66" fmla="*/ 2147483647 w 5198"/>
                <a:gd name="T67" fmla="*/ 2147483647 h 4763"/>
                <a:gd name="T68" fmla="*/ 2147483647 w 5198"/>
                <a:gd name="T69" fmla="*/ 2147483647 h 4763"/>
                <a:gd name="T70" fmla="*/ 2147483647 w 5198"/>
                <a:gd name="T71" fmla="*/ 2147483647 h 4763"/>
                <a:gd name="T72" fmla="*/ 2147483647 w 5198"/>
                <a:gd name="T73" fmla="*/ 2147483647 h 4763"/>
                <a:gd name="T74" fmla="*/ 2147483647 w 5198"/>
                <a:gd name="T75" fmla="*/ 2147483647 h 4763"/>
                <a:gd name="T76" fmla="*/ 2147483647 w 5198"/>
                <a:gd name="T77" fmla="*/ 2147483647 h 4763"/>
                <a:gd name="T78" fmla="*/ 2147483647 w 5198"/>
                <a:gd name="T79" fmla="*/ 2147483647 h 4763"/>
                <a:gd name="T80" fmla="*/ 2147483647 w 5198"/>
                <a:gd name="T81" fmla="*/ 2147483647 h 4763"/>
                <a:gd name="T82" fmla="*/ 2147483647 w 5198"/>
                <a:gd name="T83" fmla="*/ 2147483647 h 4763"/>
                <a:gd name="T84" fmla="*/ 2147483647 w 5198"/>
                <a:gd name="T85" fmla="*/ 2147483647 h 4763"/>
                <a:gd name="T86" fmla="*/ 2147483647 w 5198"/>
                <a:gd name="T87" fmla="*/ 2147483647 h 4763"/>
                <a:gd name="T88" fmla="*/ 2147483647 w 5198"/>
                <a:gd name="T89" fmla="*/ 2147483647 h 4763"/>
                <a:gd name="T90" fmla="*/ 2147483647 w 5198"/>
                <a:gd name="T91" fmla="*/ 2147483647 h 4763"/>
                <a:gd name="T92" fmla="*/ 2147483647 w 5198"/>
                <a:gd name="T93" fmla="*/ 2147483647 h 4763"/>
                <a:gd name="T94" fmla="*/ 0 w 5198"/>
                <a:gd name="T95" fmla="*/ 2147483647 h 4763"/>
                <a:gd name="T96" fmla="*/ 2147483647 w 5198"/>
                <a:gd name="T97" fmla="*/ 2147483647 h 4763"/>
                <a:gd name="T98" fmla="*/ 2147483647 w 5198"/>
                <a:gd name="T99" fmla="*/ 2147483647 h 4763"/>
                <a:gd name="T100" fmla="*/ 2147483647 w 5198"/>
                <a:gd name="T101" fmla="*/ 2147483647 h 476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198"/>
                <a:gd name="T154" fmla="*/ 0 h 4763"/>
                <a:gd name="T155" fmla="*/ 5198 w 5198"/>
                <a:gd name="T156" fmla="*/ 4763 h 476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198" h="4763">
                  <a:moveTo>
                    <a:pt x="2825" y="2032"/>
                  </a:moveTo>
                  <a:lnTo>
                    <a:pt x="2304" y="2553"/>
                  </a:lnTo>
                  <a:lnTo>
                    <a:pt x="2304" y="4072"/>
                  </a:lnTo>
                  <a:lnTo>
                    <a:pt x="2825" y="4072"/>
                  </a:lnTo>
                  <a:lnTo>
                    <a:pt x="2825" y="2032"/>
                  </a:lnTo>
                  <a:close/>
                  <a:moveTo>
                    <a:pt x="2198" y="2032"/>
                  </a:moveTo>
                  <a:lnTo>
                    <a:pt x="2126" y="2032"/>
                  </a:lnTo>
                  <a:lnTo>
                    <a:pt x="2110" y="2030"/>
                  </a:lnTo>
                  <a:lnTo>
                    <a:pt x="2095" y="2026"/>
                  </a:lnTo>
                  <a:lnTo>
                    <a:pt x="2080" y="2020"/>
                  </a:lnTo>
                  <a:lnTo>
                    <a:pt x="2068" y="2011"/>
                  </a:lnTo>
                  <a:lnTo>
                    <a:pt x="2058" y="2000"/>
                  </a:lnTo>
                  <a:lnTo>
                    <a:pt x="2051" y="1988"/>
                  </a:lnTo>
                  <a:lnTo>
                    <a:pt x="2049" y="1982"/>
                  </a:lnTo>
                  <a:lnTo>
                    <a:pt x="2046" y="1974"/>
                  </a:lnTo>
                  <a:lnTo>
                    <a:pt x="2045" y="1967"/>
                  </a:lnTo>
                  <a:lnTo>
                    <a:pt x="2045" y="1961"/>
                  </a:lnTo>
                  <a:lnTo>
                    <a:pt x="2045" y="1651"/>
                  </a:lnTo>
                  <a:lnTo>
                    <a:pt x="2198" y="1651"/>
                  </a:lnTo>
                  <a:lnTo>
                    <a:pt x="2930" y="1651"/>
                  </a:lnTo>
                  <a:lnTo>
                    <a:pt x="3085" y="1651"/>
                  </a:lnTo>
                  <a:lnTo>
                    <a:pt x="3085" y="1961"/>
                  </a:lnTo>
                  <a:lnTo>
                    <a:pt x="3085" y="1967"/>
                  </a:lnTo>
                  <a:lnTo>
                    <a:pt x="3084" y="1974"/>
                  </a:lnTo>
                  <a:lnTo>
                    <a:pt x="3081" y="1982"/>
                  </a:lnTo>
                  <a:lnTo>
                    <a:pt x="3078" y="1988"/>
                  </a:lnTo>
                  <a:lnTo>
                    <a:pt x="3070" y="2000"/>
                  </a:lnTo>
                  <a:lnTo>
                    <a:pt x="3061" y="2011"/>
                  </a:lnTo>
                  <a:lnTo>
                    <a:pt x="3048" y="2020"/>
                  </a:lnTo>
                  <a:lnTo>
                    <a:pt x="3035" y="2026"/>
                  </a:lnTo>
                  <a:lnTo>
                    <a:pt x="3019" y="2030"/>
                  </a:lnTo>
                  <a:lnTo>
                    <a:pt x="3003" y="2032"/>
                  </a:lnTo>
                  <a:lnTo>
                    <a:pt x="2930" y="2032"/>
                  </a:lnTo>
                  <a:lnTo>
                    <a:pt x="2930" y="4072"/>
                  </a:lnTo>
                  <a:lnTo>
                    <a:pt x="3638" y="4072"/>
                  </a:lnTo>
                  <a:lnTo>
                    <a:pt x="3638" y="2032"/>
                  </a:lnTo>
                  <a:lnTo>
                    <a:pt x="3566" y="2032"/>
                  </a:lnTo>
                  <a:lnTo>
                    <a:pt x="3549" y="2030"/>
                  </a:lnTo>
                  <a:lnTo>
                    <a:pt x="3533" y="2026"/>
                  </a:lnTo>
                  <a:lnTo>
                    <a:pt x="3520" y="2020"/>
                  </a:lnTo>
                  <a:lnTo>
                    <a:pt x="3508" y="2011"/>
                  </a:lnTo>
                  <a:lnTo>
                    <a:pt x="3497" y="2000"/>
                  </a:lnTo>
                  <a:lnTo>
                    <a:pt x="3489" y="1988"/>
                  </a:lnTo>
                  <a:lnTo>
                    <a:pt x="3487" y="1982"/>
                  </a:lnTo>
                  <a:lnTo>
                    <a:pt x="3484" y="1974"/>
                  </a:lnTo>
                  <a:lnTo>
                    <a:pt x="3484" y="1967"/>
                  </a:lnTo>
                  <a:lnTo>
                    <a:pt x="3483" y="1961"/>
                  </a:lnTo>
                  <a:lnTo>
                    <a:pt x="3483" y="1651"/>
                  </a:lnTo>
                  <a:lnTo>
                    <a:pt x="3638" y="1651"/>
                  </a:lnTo>
                  <a:lnTo>
                    <a:pt x="4427" y="1651"/>
                  </a:lnTo>
                  <a:lnTo>
                    <a:pt x="4687" y="1651"/>
                  </a:lnTo>
                  <a:lnTo>
                    <a:pt x="4687" y="1945"/>
                  </a:lnTo>
                  <a:lnTo>
                    <a:pt x="4686" y="1965"/>
                  </a:lnTo>
                  <a:lnTo>
                    <a:pt x="4683" y="1984"/>
                  </a:lnTo>
                  <a:lnTo>
                    <a:pt x="4678" y="2003"/>
                  </a:lnTo>
                  <a:lnTo>
                    <a:pt x="4670" y="2018"/>
                  </a:lnTo>
                  <a:lnTo>
                    <a:pt x="4662" y="2034"/>
                  </a:lnTo>
                  <a:lnTo>
                    <a:pt x="4652" y="2049"/>
                  </a:lnTo>
                  <a:lnTo>
                    <a:pt x="4640" y="2062"/>
                  </a:lnTo>
                  <a:lnTo>
                    <a:pt x="4627" y="2075"/>
                  </a:lnTo>
                  <a:lnTo>
                    <a:pt x="4614" y="2085"/>
                  </a:lnTo>
                  <a:lnTo>
                    <a:pt x="4598" y="2095"/>
                  </a:lnTo>
                  <a:lnTo>
                    <a:pt x="4583" y="2102"/>
                  </a:lnTo>
                  <a:lnTo>
                    <a:pt x="4566" y="2109"/>
                  </a:lnTo>
                  <a:lnTo>
                    <a:pt x="4551" y="2114"/>
                  </a:lnTo>
                  <a:lnTo>
                    <a:pt x="4533" y="2118"/>
                  </a:lnTo>
                  <a:lnTo>
                    <a:pt x="4516" y="2121"/>
                  </a:lnTo>
                  <a:lnTo>
                    <a:pt x="4501" y="2121"/>
                  </a:lnTo>
                  <a:lnTo>
                    <a:pt x="4480" y="2121"/>
                  </a:lnTo>
                  <a:lnTo>
                    <a:pt x="4480" y="4072"/>
                  </a:lnTo>
                  <a:lnTo>
                    <a:pt x="4867" y="4072"/>
                  </a:lnTo>
                  <a:lnTo>
                    <a:pt x="4867" y="4448"/>
                  </a:lnTo>
                  <a:lnTo>
                    <a:pt x="4762" y="4448"/>
                  </a:lnTo>
                  <a:lnTo>
                    <a:pt x="4762" y="4177"/>
                  </a:lnTo>
                  <a:lnTo>
                    <a:pt x="4427" y="4177"/>
                  </a:lnTo>
                  <a:lnTo>
                    <a:pt x="3638" y="4177"/>
                  </a:lnTo>
                  <a:lnTo>
                    <a:pt x="2930" y="4177"/>
                  </a:lnTo>
                  <a:lnTo>
                    <a:pt x="2198" y="4177"/>
                  </a:lnTo>
                  <a:lnTo>
                    <a:pt x="1492" y="4177"/>
                  </a:lnTo>
                  <a:lnTo>
                    <a:pt x="705" y="4177"/>
                  </a:lnTo>
                  <a:lnTo>
                    <a:pt x="436" y="4177"/>
                  </a:lnTo>
                  <a:lnTo>
                    <a:pt x="436" y="4448"/>
                  </a:lnTo>
                  <a:lnTo>
                    <a:pt x="331" y="4448"/>
                  </a:lnTo>
                  <a:lnTo>
                    <a:pt x="331" y="4072"/>
                  </a:lnTo>
                  <a:lnTo>
                    <a:pt x="653" y="4072"/>
                  </a:lnTo>
                  <a:lnTo>
                    <a:pt x="653" y="2121"/>
                  </a:lnTo>
                  <a:lnTo>
                    <a:pt x="632" y="2121"/>
                  </a:lnTo>
                  <a:lnTo>
                    <a:pt x="616" y="2121"/>
                  </a:lnTo>
                  <a:lnTo>
                    <a:pt x="599" y="2118"/>
                  </a:lnTo>
                  <a:lnTo>
                    <a:pt x="582" y="2114"/>
                  </a:lnTo>
                  <a:lnTo>
                    <a:pt x="566" y="2109"/>
                  </a:lnTo>
                  <a:lnTo>
                    <a:pt x="549" y="2102"/>
                  </a:lnTo>
                  <a:lnTo>
                    <a:pt x="535" y="2095"/>
                  </a:lnTo>
                  <a:lnTo>
                    <a:pt x="519" y="2085"/>
                  </a:lnTo>
                  <a:lnTo>
                    <a:pt x="506" y="2075"/>
                  </a:lnTo>
                  <a:lnTo>
                    <a:pt x="492" y="2062"/>
                  </a:lnTo>
                  <a:lnTo>
                    <a:pt x="481" y="2049"/>
                  </a:lnTo>
                  <a:lnTo>
                    <a:pt x="470" y="2034"/>
                  </a:lnTo>
                  <a:lnTo>
                    <a:pt x="462" y="2018"/>
                  </a:lnTo>
                  <a:lnTo>
                    <a:pt x="454" y="2003"/>
                  </a:lnTo>
                  <a:lnTo>
                    <a:pt x="449" y="1984"/>
                  </a:lnTo>
                  <a:lnTo>
                    <a:pt x="447" y="1965"/>
                  </a:lnTo>
                  <a:lnTo>
                    <a:pt x="445" y="1945"/>
                  </a:lnTo>
                  <a:lnTo>
                    <a:pt x="445" y="1651"/>
                  </a:lnTo>
                  <a:lnTo>
                    <a:pt x="705" y="1651"/>
                  </a:lnTo>
                  <a:lnTo>
                    <a:pt x="1492" y="1651"/>
                  </a:lnTo>
                  <a:lnTo>
                    <a:pt x="1646" y="1651"/>
                  </a:lnTo>
                  <a:lnTo>
                    <a:pt x="1646" y="1961"/>
                  </a:lnTo>
                  <a:lnTo>
                    <a:pt x="1646" y="1967"/>
                  </a:lnTo>
                  <a:lnTo>
                    <a:pt x="1644" y="1974"/>
                  </a:lnTo>
                  <a:lnTo>
                    <a:pt x="1643" y="1982"/>
                  </a:lnTo>
                  <a:lnTo>
                    <a:pt x="1640" y="1988"/>
                  </a:lnTo>
                  <a:lnTo>
                    <a:pt x="1632" y="2000"/>
                  </a:lnTo>
                  <a:lnTo>
                    <a:pt x="1622" y="2011"/>
                  </a:lnTo>
                  <a:lnTo>
                    <a:pt x="1610" y="2020"/>
                  </a:lnTo>
                  <a:lnTo>
                    <a:pt x="1596" y="2026"/>
                  </a:lnTo>
                  <a:lnTo>
                    <a:pt x="1581" y="2030"/>
                  </a:lnTo>
                  <a:lnTo>
                    <a:pt x="1564" y="2032"/>
                  </a:lnTo>
                  <a:lnTo>
                    <a:pt x="1492" y="2032"/>
                  </a:lnTo>
                  <a:lnTo>
                    <a:pt x="1492" y="4072"/>
                  </a:lnTo>
                  <a:lnTo>
                    <a:pt x="2198" y="4072"/>
                  </a:lnTo>
                  <a:lnTo>
                    <a:pt x="2198" y="2032"/>
                  </a:lnTo>
                  <a:close/>
                  <a:moveTo>
                    <a:pt x="1387" y="2045"/>
                  </a:moveTo>
                  <a:lnTo>
                    <a:pt x="863" y="2569"/>
                  </a:lnTo>
                  <a:lnTo>
                    <a:pt x="863" y="4072"/>
                  </a:lnTo>
                  <a:lnTo>
                    <a:pt x="1387" y="4072"/>
                  </a:lnTo>
                  <a:lnTo>
                    <a:pt x="1387" y="2045"/>
                  </a:lnTo>
                  <a:close/>
                  <a:moveTo>
                    <a:pt x="4270" y="4072"/>
                  </a:moveTo>
                  <a:lnTo>
                    <a:pt x="4270" y="2053"/>
                  </a:lnTo>
                  <a:lnTo>
                    <a:pt x="3743" y="2580"/>
                  </a:lnTo>
                  <a:lnTo>
                    <a:pt x="3743" y="4072"/>
                  </a:lnTo>
                  <a:lnTo>
                    <a:pt x="4270" y="4072"/>
                  </a:lnTo>
                  <a:close/>
                  <a:moveTo>
                    <a:pt x="104" y="4553"/>
                  </a:moveTo>
                  <a:lnTo>
                    <a:pt x="5094" y="4553"/>
                  </a:lnTo>
                  <a:lnTo>
                    <a:pt x="5094" y="4763"/>
                  </a:lnTo>
                  <a:lnTo>
                    <a:pt x="104" y="4763"/>
                  </a:lnTo>
                  <a:lnTo>
                    <a:pt x="104" y="4553"/>
                  </a:lnTo>
                  <a:close/>
                  <a:moveTo>
                    <a:pt x="0" y="1098"/>
                  </a:moveTo>
                  <a:lnTo>
                    <a:pt x="2594" y="0"/>
                  </a:lnTo>
                  <a:lnTo>
                    <a:pt x="5198" y="1098"/>
                  </a:lnTo>
                  <a:lnTo>
                    <a:pt x="5076" y="1548"/>
                  </a:lnTo>
                  <a:lnTo>
                    <a:pt x="122" y="1548"/>
                  </a:lnTo>
                  <a:lnTo>
                    <a:pt x="0" y="1098"/>
                  </a:lnTo>
                  <a:close/>
                  <a:moveTo>
                    <a:pt x="251" y="1220"/>
                  </a:moveTo>
                  <a:lnTo>
                    <a:pt x="284" y="1338"/>
                  </a:lnTo>
                  <a:lnTo>
                    <a:pt x="4914" y="1338"/>
                  </a:lnTo>
                  <a:lnTo>
                    <a:pt x="4947" y="1220"/>
                  </a:lnTo>
                  <a:lnTo>
                    <a:pt x="2594" y="228"/>
                  </a:lnTo>
                  <a:lnTo>
                    <a:pt x="251" y="1220"/>
                  </a:lnTo>
                  <a:close/>
                </a:path>
              </a:pathLst>
            </a:custGeom>
            <a:solidFill>
              <a:srgbClr val="333333"/>
            </a:solidFill>
            <a:ln w="9525">
              <a:noFill/>
              <a:round/>
              <a:headEnd/>
              <a:tailEnd/>
            </a:ln>
          </p:spPr>
          <p:txBody>
            <a:bodyPr lIns="88324" tIns="44163" rIns="88324" bIns="44163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342" name="Group 341"/>
            <p:cNvGrpSpPr/>
            <p:nvPr/>
          </p:nvGrpSpPr>
          <p:grpSpPr>
            <a:xfrm>
              <a:off x="5418477" y="4491493"/>
              <a:ext cx="549036" cy="551291"/>
              <a:chOff x="6015035" y="4557070"/>
              <a:chExt cx="349251" cy="464774"/>
            </a:xfrm>
            <a:solidFill>
              <a:srgbClr val="333333"/>
            </a:solidFill>
          </p:grpSpPr>
          <p:sp>
            <p:nvSpPr>
              <p:cNvPr id="352" name="Freeform 5"/>
              <p:cNvSpPr>
                <a:spLocks/>
              </p:cNvSpPr>
              <p:nvPr/>
            </p:nvSpPr>
            <p:spPr bwMode="auto">
              <a:xfrm>
                <a:off x="6015035" y="4891669"/>
                <a:ext cx="349251" cy="130175"/>
              </a:xfrm>
              <a:custGeom>
                <a:avLst/>
                <a:gdLst>
                  <a:gd name="T0" fmla="*/ 516 w 900"/>
                  <a:gd name="T1" fmla="*/ 1 h 333"/>
                  <a:gd name="T2" fmla="*/ 841 w 900"/>
                  <a:gd name="T3" fmla="*/ 143 h 333"/>
                  <a:gd name="T4" fmla="*/ 455 w 900"/>
                  <a:gd name="T5" fmla="*/ 286 h 333"/>
                  <a:gd name="T6" fmla="*/ 68 w 900"/>
                  <a:gd name="T7" fmla="*/ 143 h 333"/>
                  <a:gd name="T8" fmla="*/ 452 w 900"/>
                  <a:gd name="T9" fmla="*/ 0 h 333"/>
                  <a:gd name="T10" fmla="*/ 450 w 900"/>
                  <a:gd name="T11" fmla="*/ 0 h 333"/>
                  <a:gd name="T12" fmla="*/ 0 w 900"/>
                  <a:gd name="T13" fmla="*/ 166 h 333"/>
                  <a:gd name="T14" fmla="*/ 450 w 900"/>
                  <a:gd name="T15" fmla="*/ 333 h 333"/>
                  <a:gd name="T16" fmla="*/ 900 w 900"/>
                  <a:gd name="T17" fmla="*/ 166 h 333"/>
                  <a:gd name="T18" fmla="*/ 516 w 900"/>
                  <a:gd name="T19" fmla="*/ 1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0" h="333">
                    <a:moveTo>
                      <a:pt x="516" y="1"/>
                    </a:moveTo>
                    <a:cubicBezTo>
                      <a:pt x="701" y="12"/>
                      <a:pt x="841" y="71"/>
                      <a:pt x="841" y="143"/>
                    </a:cubicBezTo>
                    <a:cubicBezTo>
                      <a:pt x="841" y="222"/>
                      <a:pt x="668" y="286"/>
                      <a:pt x="455" y="286"/>
                    </a:cubicBezTo>
                    <a:cubicBezTo>
                      <a:pt x="241" y="286"/>
                      <a:pt x="68" y="222"/>
                      <a:pt x="68" y="143"/>
                    </a:cubicBezTo>
                    <a:cubicBezTo>
                      <a:pt x="68" y="64"/>
                      <a:pt x="240" y="0"/>
                      <a:pt x="452" y="0"/>
                    </a:cubicBezTo>
                    <a:cubicBezTo>
                      <a:pt x="452" y="0"/>
                      <a:pt x="451" y="0"/>
                      <a:pt x="450" y="0"/>
                    </a:cubicBezTo>
                    <a:cubicBezTo>
                      <a:pt x="201" y="0"/>
                      <a:pt x="0" y="74"/>
                      <a:pt x="0" y="166"/>
                    </a:cubicBezTo>
                    <a:cubicBezTo>
                      <a:pt x="0" y="258"/>
                      <a:pt x="201" y="333"/>
                      <a:pt x="450" y="333"/>
                    </a:cubicBezTo>
                    <a:cubicBezTo>
                      <a:pt x="699" y="333"/>
                      <a:pt x="900" y="258"/>
                      <a:pt x="900" y="166"/>
                    </a:cubicBezTo>
                    <a:cubicBezTo>
                      <a:pt x="900" y="83"/>
                      <a:pt x="733" y="13"/>
                      <a:pt x="516" y="1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100000"/>
                  </a:lnSpc>
                  <a:buClr>
                    <a:srgbClr val="FFE600"/>
                  </a:buClr>
                  <a:buSzPct val="80000"/>
                </a:pPr>
                <a:endParaRPr lang="tr-TR" sz="1322" kern="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/>
                </a:endParaRPr>
              </a:p>
            </p:txBody>
          </p:sp>
          <p:grpSp>
            <p:nvGrpSpPr>
              <p:cNvPr id="353" name="Group 352"/>
              <p:cNvGrpSpPr/>
              <p:nvPr/>
            </p:nvGrpSpPr>
            <p:grpSpPr>
              <a:xfrm>
                <a:off x="6065833" y="4557070"/>
                <a:ext cx="247636" cy="426788"/>
                <a:chOff x="6065833" y="4557070"/>
                <a:chExt cx="247636" cy="426788"/>
              </a:xfrm>
              <a:grpFill/>
            </p:grpSpPr>
            <p:sp>
              <p:nvSpPr>
                <p:cNvPr id="354" name="Freeform 5"/>
                <p:cNvSpPr>
                  <a:spLocks/>
                </p:cNvSpPr>
                <p:nvPr/>
              </p:nvSpPr>
              <p:spPr bwMode="auto">
                <a:xfrm>
                  <a:off x="6065833" y="4891556"/>
                  <a:ext cx="247636" cy="92302"/>
                </a:xfrm>
                <a:custGeom>
                  <a:avLst/>
                  <a:gdLst>
                    <a:gd name="T0" fmla="*/ 516 w 900"/>
                    <a:gd name="T1" fmla="*/ 1 h 333"/>
                    <a:gd name="T2" fmla="*/ 841 w 900"/>
                    <a:gd name="T3" fmla="*/ 143 h 333"/>
                    <a:gd name="T4" fmla="*/ 455 w 900"/>
                    <a:gd name="T5" fmla="*/ 286 h 333"/>
                    <a:gd name="T6" fmla="*/ 68 w 900"/>
                    <a:gd name="T7" fmla="*/ 143 h 333"/>
                    <a:gd name="T8" fmla="*/ 452 w 900"/>
                    <a:gd name="T9" fmla="*/ 0 h 333"/>
                    <a:gd name="T10" fmla="*/ 450 w 900"/>
                    <a:gd name="T11" fmla="*/ 0 h 333"/>
                    <a:gd name="T12" fmla="*/ 0 w 900"/>
                    <a:gd name="T13" fmla="*/ 166 h 333"/>
                    <a:gd name="T14" fmla="*/ 450 w 900"/>
                    <a:gd name="T15" fmla="*/ 333 h 333"/>
                    <a:gd name="T16" fmla="*/ 900 w 900"/>
                    <a:gd name="T17" fmla="*/ 166 h 333"/>
                    <a:gd name="T18" fmla="*/ 516 w 900"/>
                    <a:gd name="T19" fmla="*/ 1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00" h="333">
                      <a:moveTo>
                        <a:pt x="516" y="1"/>
                      </a:moveTo>
                      <a:cubicBezTo>
                        <a:pt x="701" y="12"/>
                        <a:pt x="841" y="71"/>
                        <a:pt x="841" y="143"/>
                      </a:cubicBezTo>
                      <a:cubicBezTo>
                        <a:pt x="841" y="222"/>
                        <a:pt x="668" y="286"/>
                        <a:pt x="455" y="286"/>
                      </a:cubicBezTo>
                      <a:cubicBezTo>
                        <a:pt x="241" y="286"/>
                        <a:pt x="68" y="222"/>
                        <a:pt x="68" y="143"/>
                      </a:cubicBezTo>
                      <a:cubicBezTo>
                        <a:pt x="68" y="64"/>
                        <a:pt x="240" y="0"/>
                        <a:pt x="452" y="0"/>
                      </a:cubicBezTo>
                      <a:cubicBezTo>
                        <a:pt x="452" y="0"/>
                        <a:pt x="451" y="0"/>
                        <a:pt x="450" y="0"/>
                      </a:cubicBezTo>
                      <a:cubicBezTo>
                        <a:pt x="201" y="0"/>
                        <a:pt x="0" y="74"/>
                        <a:pt x="0" y="166"/>
                      </a:cubicBezTo>
                      <a:cubicBezTo>
                        <a:pt x="0" y="258"/>
                        <a:pt x="201" y="333"/>
                        <a:pt x="450" y="333"/>
                      </a:cubicBezTo>
                      <a:cubicBezTo>
                        <a:pt x="699" y="333"/>
                        <a:pt x="900" y="258"/>
                        <a:pt x="900" y="166"/>
                      </a:cubicBezTo>
                      <a:cubicBezTo>
                        <a:pt x="900" y="83"/>
                        <a:pt x="733" y="13"/>
                        <a:pt x="516" y="1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</a:endParaRPr>
                </a:p>
              </p:txBody>
            </p:sp>
            <p:sp>
              <p:nvSpPr>
                <p:cNvPr id="355" name="Freeform 90"/>
                <p:cNvSpPr>
                  <a:spLocks noEditPoints="1"/>
                </p:cNvSpPr>
                <p:nvPr/>
              </p:nvSpPr>
              <p:spPr bwMode="auto">
                <a:xfrm flipH="1">
                  <a:off x="6119818" y="4557070"/>
                  <a:ext cx="157005" cy="393765"/>
                </a:xfrm>
                <a:custGeom>
                  <a:avLst/>
                  <a:gdLst>
                    <a:gd name="T0" fmla="*/ 123 w 159"/>
                    <a:gd name="T1" fmla="*/ 67 h 399"/>
                    <a:gd name="T2" fmla="*/ 83 w 159"/>
                    <a:gd name="T3" fmla="*/ 67 h 399"/>
                    <a:gd name="T4" fmla="*/ 76 w 159"/>
                    <a:gd name="T5" fmla="*/ 67 h 399"/>
                    <a:gd name="T6" fmla="*/ 36 w 159"/>
                    <a:gd name="T7" fmla="*/ 67 h 399"/>
                    <a:gd name="T8" fmla="*/ 0 w 159"/>
                    <a:gd name="T9" fmla="*/ 104 h 399"/>
                    <a:gd name="T10" fmla="*/ 0 w 159"/>
                    <a:gd name="T11" fmla="*/ 211 h 399"/>
                    <a:gd name="T12" fmla="*/ 15 w 159"/>
                    <a:gd name="T13" fmla="*/ 226 h 399"/>
                    <a:gd name="T14" fmla="*/ 30 w 159"/>
                    <a:gd name="T15" fmla="*/ 211 h 399"/>
                    <a:gd name="T16" fmla="*/ 30 w 159"/>
                    <a:gd name="T17" fmla="*/ 117 h 399"/>
                    <a:gd name="T18" fmla="*/ 32 w 159"/>
                    <a:gd name="T19" fmla="*/ 116 h 399"/>
                    <a:gd name="T20" fmla="*/ 35 w 159"/>
                    <a:gd name="T21" fmla="*/ 116 h 399"/>
                    <a:gd name="T22" fmla="*/ 37 w 159"/>
                    <a:gd name="T23" fmla="*/ 117 h 399"/>
                    <a:gd name="T24" fmla="*/ 37 w 159"/>
                    <a:gd name="T25" fmla="*/ 379 h 399"/>
                    <a:gd name="T26" fmla="*/ 56 w 159"/>
                    <a:gd name="T27" fmla="*/ 399 h 399"/>
                    <a:gd name="T28" fmla="*/ 76 w 159"/>
                    <a:gd name="T29" fmla="*/ 379 h 399"/>
                    <a:gd name="T30" fmla="*/ 76 w 159"/>
                    <a:gd name="T31" fmla="*/ 225 h 399"/>
                    <a:gd name="T32" fmla="*/ 78 w 159"/>
                    <a:gd name="T33" fmla="*/ 223 h 399"/>
                    <a:gd name="T34" fmla="*/ 81 w 159"/>
                    <a:gd name="T35" fmla="*/ 223 h 399"/>
                    <a:gd name="T36" fmla="*/ 83 w 159"/>
                    <a:gd name="T37" fmla="*/ 225 h 399"/>
                    <a:gd name="T38" fmla="*/ 83 w 159"/>
                    <a:gd name="T39" fmla="*/ 379 h 399"/>
                    <a:gd name="T40" fmla="*/ 102 w 159"/>
                    <a:gd name="T41" fmla="*/ 399 h 399"/>
                    <a:gd name="T42" fmla="*/ 122 w 159"/>
                    <a:gd name="T43" fmla="*/ 379 h 399"/>
                    <a:gd name="T44" fmla="*/ 122 w 159"/>
                    <a:gd name="T45" fmla="*/ 117 h 399"/>
                    <a:gd name="T46" fmla="*/ 124 w 159"/>
                    <a:gd name="T47" fmla="*/ 116 h 399"/>
                    <a:gd name="T48" fmla="*/ 127 w 159"/>
                    <a:gd name="T49" fmla="*/ 116 h 399"/>
                    <a:gd name="T50" fmla="*/ 128 w 159"/>
                    <a:gd name="T51" fmla="*/ 117 h 399"/>
                    <a:gd name="T52" fmla="*/ 129 w 159"/>
                    <a:gd name="T53" fmla="*/ 211 h 399"/>
                    <a:gd name="T54" fmla="*/ 144 w 159"/>
                    <a:gd name="T55" fmla="*/ 226 h 399"/>
                    <a:gd name="T56" fmla="*/ 159 w 159"/>
                    <a:gd name="T57" fmla="*/ 211 h 399"/>
                    <a:gd name="T58" fmla="*/ 159 w 159"/>
                    <a:gd name="T59" fmla="*/ 104 h 399"/>
                    <a:gd name="T60" fmla="*/ 123 w 159"/>
                    <a:gd name="T61" fmla="*/ 67 h 399"/>
                    <a:gd name="T62" fmla="*/ 79 w 159"/>
                    <a:gd name="T63" fmla="*/ 58 h 399"/>
                    <a:gd name="T64" fmla="*/ 109 w 159"/>
                    <a:gd name="T65" fmla="*/ 29 h 399"/>
                    <a:gd name="T66" fmla="*/ 79 w 159"/>
                    <a:gd name="T67" fmla="*/ 0 h 399"/>
                    <a:gd name="T68" fmla="*/ 50 w 159"/>
                    <a:gd name="T69" fmla="*/ 29 h 399"/>
                    <a:gd name="T70" fmla="*/ 79 w 159"/>
                    <a:gd name="T71" fmla="*/ 58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" h="399">
                      <a:moveTo>
                        <a:pt x="123" y="67"/>
                      </a:moveTo>
                      <a:cubicBezTo>
                        <a:pt x="83" y="67"/>
                        <a:pt x="83" y="67"/>
                        <a:pt x="83" y="67"/>
                      </a:cubicBezTo>
                      <a:cubicBezTo>
                        <a:pt x="83" y="67"/>
                        <a:pt x="80" y="67"/>
                        <a:pt x="76" y="67"/>
                      </a:cubicBez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16" y="67"/>
                        <a:pt x="0" y="83"/>
                        <a:pt x="0" y="104"/>
                      </a:cubicBezTo>
                      <a:cubicBezTo>
                        <a:pt x="0" y="211"/>
                        <a:pt x="0" y="211"/>
                        <a:pt x="0" y="211"/>
                      </a:cubicBezTo>
                      <a:cubicBezTo>
                        <a:pt x="0" y="219"/>
                        <a:pt x="7" y="226"/>
                        <a:pt x="15" y="226"/>
                      </a:cubicBezTo>
                      <a:cubicBezTo>
                        <a:pt x="23" y="226"/>
                        <a:pt x="30" y="219"/>
                        <a:pt x="30" y="211"/>
                      </a:cubicBezTo>
                      <a:cubicBezTo>
                        <a:pt x="30" y="211"/>
                        <a:pt x="30" y="117"/>
                        <a:pt x="30" y="117"/>
                      </a:cubicBezTo>
                      <a:cubicBezTo>
                        <a:pt x="30" y="116"/>
                        <a:pt x="31" y="116"/>
                        <a:pt x="32" y="116"/>
                      </a:cubicBezTo>
                      <a:cubicBezTo>
                        <a:pt x="35" y="116"/>
                        <a:pt x="35" y="116"/>
                        <a:pt x="35" y="116"/>
                      </a:cubicBezTo>
                      <a:cubicBezTo>
                        <a:pt x="36" y="116"/>
                        <a:pt x="37" y="116"/>
                        <a:pt x="37" y="117"/>
                      </a:cubicBezTo>
                      <a:cubicBezTo>
                        <a:pt x="37" y="117"/>
                        <a:pt x="37" y="379"/>
                        <a:pt x="37" y="379"/>
                      </a:cubicBezTo>
                      <a:cubicBezTo>
                        <a:pt x="37" y="390"/>
                        <a:pt x="46" y="399"/>
                        <a:pt x="56" y="399"/>
                      </a:cubicBezTo>
                      <a:cubicBezTo>
                        <a:pt x="67" y="399"/>
                        <a:pt x="76" y="390"/>
                        <a:pt x="76" y="379"/>
                      </a:cubicBezTo>
                      <a:cubicBezTo>
                        <a:pt x="76" y="379"/>
                        <a:pt x="76" y="225"/>
                        <a:pt x="76" y="225"/>
                      </a:cubicBezTo>
                      <a:cubicBezTo>
                        <a:pt x="76" y="224"/>
                        <a:pt x="77" y="223"/>
                        <a:pt x="78" y="223"/>
                      </a:cubicBezTo>
                      <a:cubicBezTo>
                        <a:pt x="81" y="223"/>
                        <a:pt x="81" y="223"/>
                        <a:pt x="81" y="223"/>
                      </a:cubicBezTo>
                      <a:cubicBezTo>
                        <a:pt x="82" y="223"/>
                        <a:pt x="83" y="224"/>
                        <a:pt x="83" y="225"/>
                      </a:cubicBezTo>
                      <a:cubicBezTo>
                        <a:pt x="83" y="225"/>
                        <a:pt x="83" y="379"/>
                        <a:pt x="83" y="379"/>
                      </a:cubicBezTo>
                      <a:cubicBezTo>
                        <a:pt x="83" y="390"/>
                        <a:pt x="91" y="399"/>
                        <a:pt x="102" y="399"/>
                      </a:cubicBezTo>
                      <a:cubicBezTo>
                        <a:pt x="113" y="399"/>
                        <a:pt x="122" y="390"/>
                        <a:pt x="122" y="379"/>
                      </a:cubicBezTo>
                      <a:cubicBezTo>
                        <a:pt x="122" y="379"/>
                        <a:pt x="122" y="117"/>
                        <a:pt x="122" y="117"/>
                      </a:cubicBezTo>
                      <a:cubicBezTo>
                        <a:pt x="122" y="116"/>
                        <a:pt x="123" y="116"/>
                        <a:pt x="124" y="116"/>
                      </a:cubicBezTo>
                      <a:cubicBezTo>
                        <a:pt x="127" y="116"/>
                        <a:pt x="127" y="116"/>
                        <a:pt x="127" y="116"/>
                      </a:cubicBezTo>
                      <a:cubicBezTo>
                        <a:pt x="128" y="116"/>
                        <a:pt x="128" y="116"/>
                        <a:pt x="128" y="117"/>
                      </a:cubicBezTo>
                      <a:cubicBezTo>
                        <a:pt x="128" y="117"/>
                        <a:pt x="129" y="211"/>
                        <a:pt x="129" y="211"/>
                      </a:cubicBezTo>
                      <a:cubicBezTo>
                        <a:pt x="129" y="219"/>
                        <a:pt x="135" y="226"/>
                        <a:pt x="144" y="226"/>
                      </a:cubicBezTo>
                      <a:cubicBezTo>
                        <a:pt x="152" y="226"/>
                        <a:pt x="159" y="219"/>
                        <a:pt x="159" y="211"/>
                      </a:cubicBezTo>
                      <a:cubicBezTo>
                        <a:pt x="159" y="104"/>
                        <a:pt x="159" y="104"/>
                        <a:pt x="159" y="104"/>
                      </a:cubicBezTo>
                      <a:cubicBezTo>
                        <a:pt x="159" y="83"/>
                        <a:pt x="143" y="67"/>
                        <a:pt x="123" y="67"/>
                      </a:cubicBezTo>
                      <a:close/>
                      <a:moveTo>
                        <a:pt x="79" y="58"/>
                      </a:moveTo>
                      <a:cubicBezTo>
                        <a:pt x="96" y="58"/>
                        <a:pt x="109" y="45"/>
                        <a:pt x="109" y="29"/>
                      </a:cubicBezTo>
                      <a:cubicBezTo>
                        <a:pt x="109" y="13"/>
                        <a:pt x="96" y="0"/>
                        <a:pt x="79" y="0"/>
                      </a:cubicBezTo>
                      <a:cubicBezTo>
                        <a:pt x="63" y="0"/>
                        <a:pt x="50" y="13"/>
                        <a:pt x="50" y="29"/>
                      </a:cubicBezTo>
                      <a:cubicBezTo>
                        <a:pt x="50" y="45"/>
                        <a:pt x="63" y="58"/>
                        <a:pt x="79" y="58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</a:ln>
                <a:effectLst/>
                <a:extLst/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  <a:buClr>
                      <a:srgbClr val="FFE600"/>
                    </a:buClr>
                    <a:buSzPct val="80000"/>
                  </a:pPr>
                  <a:endParaRPr lang="tr-TR" sz="1322" kern="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/>
                  </a:endParaRPr>
                </a:p>
              </p:txBody>
            </p:sp>
          </p:grpSp>
        </p:grpSp>
        <p:sp>
          <p:nvSpPr>
            <p:cNvPr id="343" name="Rectangle 50"/>
            <p:cNvSpPr/>
            <p:nvPr/>
          </p:nvSpPr>
          <p:spPr>
            <a:xfrm>
              <a:off x="617578" y="2288404"/>
              <a:ext cx="4565972" cy="2047444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lIns="158692" tIns="100770" rIns="1150520" bIns="79346" rtlCol="0" anchor="t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984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Teknoloji Erişim</a:t>
              </a:r>
              <a:endParaRPr lang="tr-TR" sz="1543" b="1" kern="0" dirty="0">
                <a:solidFill>
                  <a:srgbClr val="333333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RSO mevcut sistemlerin üzerine konumlandırılır ve sofistike algoritmalar ve otomatik öğrenme (</a:t>
              </a:r>
              <a:r>
                <a:rPr lang="tr-TR" sz="1400" kern="0" dirty="0" err="1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machine-learning</a:t>
              </a: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) alanlarındaki geliştirmeler ile uyumlu bir platformda çalışma imkanı sağlar</a:t>
              </a:r>
            </a:p>
          </p:txBody>
        </p:sp>
        <p:sp>
          <p:nvSpPr>
            <p:cNvPr id="344" name="Rectangle 51"/>
            <p:cNvSpPr/>
            <p:nvPr/>
          </p:nvSpPr>
          <p:spPr>
            <a:xfrm>
              <a:off x="3022420" y="4419365"/>
              <a:ext cx="2161132" cy="1565786"/>
            </a:xfrm>
            <a:prstGeom prst="rect">
              <a:avLst/>
            </a:prstGeom>
            <a:solidFill>
              <a:srgbClr val="7FD1D6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50385" rIns="79346" bIns="79346" rtlCol="0" anchor="t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Lokasyon Bağımsız</a:t>
              </a:r>
              <a:endParaRPr lang="tr-TR" sz="1157" b="1" kern="0" dirty="0">
                <a:solidFill>
                  <a:srgbClr val="333333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Operasyonların herhangi bir </a:t>
              </a:r>
              <a:r>
                <a:rPr lang="tr-TR" sz="1400" kern="0" dirty="0" smtClean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konumda yürütülmesine </a:t>
              </a:r>
              <a:r>
                <a:rPr lang="tr-TR" sz="1400" kern="0" dirty="0">
                  <a:solidFill>
                    <a:srgbClr val="333333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imkan verir</a:t>
              </a:r>
            </a:p>
          </p:txBody>
        </p:sp>
        <p:sp>
          <p:nvSpPr>
            <p:cNvPr id="345" name="Rectangle 52"/>
            <p:cNvSpPr/>
            <p:nvPr/>
          </p:nvSpPr>
          <p:spPr>
            <a:xfrm>
              <a:off x="617578" y="4419365"/>
              <a:ext cx="2284569" cy="1565786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</a:ln>
            <a:effectLst/>
          </p:spPr>
          <p:txBody>
            <a:bodyPr lIns="79346" tIns="0" rIns="79346" bIns="79346" rtlCol="0" anchor="b" anchorCtr="0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defRPr/>
              </a:pPr>
              <a:r>
                <a:rPr lang="tr-TR" sz="1322" b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Güvenilirlik</a:t>
              </a:r>
              <a:endParaRPr lang="tr-TR" sz="1157" b="1" kern="0" spc="-22" dirty="0">
                <a:solidFill>
                  <a:srgbClr val="FFFFFF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defRPr/>
              </a:pPr>
              <a:r>
                <a:rPr lang="tr-TR" sz="1400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7/24 çalışır, hizmetlerin 365 gün sunulmasını mümkün kılar</a:t>
              </a:r>
            </a:p>
          </p:txBody>
        </p:sp>
        <p:sp>
          <p:nvSpPr>
            <p:cNvPr id="346" name="Freeform 23"/>
            <p:cNvSpPr>
              <a:spLocks noChangeAspect="1" noEditPoints="1"/>
            </p:cNvSpPr>
            <p:nvPr/>
          </p:nvSpPr>
          <p:spPr bwMode="auto">
            <a:xfrm>
              <a:off x="1866966" y="4515650"/>
              <a:ext cx="656126" cy="532198"/>
            </a:xfrm>
            <a:custGeom>
              <a:avLst/>
              <a:gdLst>
                <a:gd name="T0" fmla="*/ 396 w 2835"/>
                <a:gd name="T1" fmla="*/ 2452 h 2490"/>
                <a:gd name="T2" fmla="*/ 406 w 2835"/>
                <a:gd name="T3" fmla="*/ 2483 h 2490"/>
                <a:gd name="T4" fmla="*/ 1669 w 2835"/>
                <a:gd name="T5" fmla="*/ 1265 h 2490"/>
                <a:gd name="T6" fmla="*/ 2671 w 2835"/>
                <a:gd name="T7" fmla="*/ 15 h 2490"/>
                <a:gd name="T8" fmla="*/ 2512 w 2835"/>
                <a:gd name="T9" fmla="*/ 11 h 2490"/>
                <a:gd name="T10" fmla="*/ 2034 w 2835"/>
                <a:gd name="T11" fmla="*/ 377 h 2490"/>
                <a:gd name="T12" fmla="*/ 1801 w 2835"/>
                <a:gd name="T13" fmla="*/ 721 h 2490"/>
                <a:gd name="T14" fmla="*/ 1647 w 2835"/>
                <a:gd name="T15" fmla="*/ 907 h 2490"/>
                <a:gd name="T16" fmla="*/ 1622 w 2835"/>
                <a:gd name="T17" fmla="*/ 1048 h 2490"/>
                <a:gd name="T18" fmla="*/ 1718 w 2835"/>
                <a:gd name="T19" fmla="*/ 1190 h 2490"/>
                <a:gd name="T20" fmla="*/ 1849 w 2835"/>
                <a:gd name="T21" fmla="*/ 1237 h 2490"/>
                <a:gd name="T22" fmla="*/ 1980 w 2835"/>
                <a:gd name="T23" fmla="*/ 1180 h 2490"/>
                <a:gd name="T24" fmla="*/ 2314 w 2835"/>
                <a:gd name="T25" fmla="*/ 934 h 2490"/>
                <a:gd name="T26" fmla="*/ 2551 w 2835"/>
                <a:gd name="T27" fmla="*/ 715 h 2490"/>
                <a:gd name="T28" fmla="*/ 2834 w 2835"/>
                <a:gd name="T29" fmla="*/ 267 h 2490"/>
                <a:gd name="T30" fmla="*/ 2782 w 2835"/>
                <a:gd name="T31" fmla="*/ 100 h 2490"/>
                <a:gd name="T32" fmla="*/ 2339 w 2835"/>
                <a:gd name="T33" fmla="*/ 780 h 2490"/>
                <a:gd name="T34" fmla="*/ 2007 w 2835"/>
                <a:gd name="T35" fmla="*/ 1007 h 2490"/>
                <a:gd name="T36" fmla="*/ 1877 w 2835"/>
                <a:gd name="T37" fmla="*/ 1124 h 2490"/>
                <a:gd name="T38" fmla="*/ 1812 w 2835"/>
                <a:gd name="T39" fmla="*/ 1121 h 2490"/>
                <a:gd name="T40" fmla="*/ 1739 w 2835"/>
                <a:gd name="T41" fmla="*/ 1053 h 2490"/>
                <a:gd name="T42" fmla="*/ 1731 w 2835"/>
                <a:gd name="T43" fmla="*/ 980 h 2490"/>
                <a:gd name="T44" fmla="*/ 1935 w 2835"/>
                <a:gd name="T45" fmla="*/ 1001 h 2490"/>
                <a:gd name="T46" fmla="*/ 2003 w 2835"/>
                <a:gd name="T47" fmla="*/ 592 h 2490"/>
                <a:gd name="T48" fmla="*/ 2511 w 2835"/>
                <a:gd name="T49" fmla="*/ 132 h 2490"/>
                <a:gd name="T50" fmla="*/ 2586 w 2835"/>
                <a:gd name="T51" fmla="*/ 108 h 2490"/>
                <a:gd name="T52" fmla="*/ 2673 w 2835"/>
                <a:gd name="T53" fmla="*/ 142 h 2490"/>
                <a:gd name="T54" fmla="*/ 2725 w 2835"/>
                <a:gd name="T55" fmla="*/ 236 h 2490"/>
                <a:gd name="T56" fmla="*/ 2709 w 2835"/>
                <a:gd name="T57" fmla="*/ 313 h 2490"/>
                <a:gd name="T58" fmla="*/ 694 w 2835"/>
                <a:gd name="T59" fmla="*/ 1017 h 2490"/>
                <a:gd name="T60" fmla="*/ 517 w 2835"/>
                <a:gd name="T61" fmla="*/ 1034 h 2490"/>
                <a:gd name="T62" fmla="*/ 346 w 2835"/>
                <a:gd name="T63" fmla="*/ 1014 h 2490"/>
                <a:gd name="T64" fmla="*/ 187 w 2835"/>
                <a:gd name="T65" fmla="*/ 902 h 2490"/>
                <a:gd name="T66" fmla="*/ 110 w 2835"/>
                <a:gd name="T67" fmla="*/ 705 h 2490"/>
                <a:gd name="T68" fmla="*/ 136 w 2835"/>
                <a:gd name="T69" fmla="*/ 534 h 2490"/>
                <a:gd name="T70" fmla="*/ 679 w 2835"/>
                <a:gd name="T71" fmla="*/ 273 h 2490"/>
                <a:gd name="T72" fmla="*/ 807 w 2835"/>
                <a:gd name="T73" fmla="*/ 350 h 2490"/>
                <a:gd name="T74" fmla="*/ 900 w 2835"/>
                <a:gd name="T75" fmla="*/ 501 h 2490"/>
                <a:gd name="T76" fmla="*/ 904 w 2835"/>
                <a:gd name="T77" fmla="*/ 702 h 2490"/>
                <a:gd name="T78" fmla="*/ 1348 w 2835"/>
                <a:gd name="T79" fmla="*/ 1285 h 2490"/>
                <a:gd name="T80" fmla="*/ 1014 w 2835"/>
                <a:gd name="T81" fmla="*/ 707 h 2490"/>
                <a:gd name="T82" fmla="*/ 1013 w 2835"/>
                <a:gd name="T83" fmla="*/ 503 h 2490"/>
                <a:gd name="T84" fmla="*/ 950 w 2835"/>
                <a:gd name="T85" fmla="*/ 355 h 2490"/>
                <a:gd name="T86" fmla="*/ 791 w 2835"/>
                <a:gd name="T87" fmla="*/ 205 h 2490"/>
                <a:gd name="T88" fmla="*/ 547 w 2835"/>
                <a:gd name="T89" fmla="*/ 143 h 2490"/>
                <a:gd name="T90" fmla="*/ 97 w 2835"/>
                <a:gd name="T91" fmla="*/ 380 h 2490"/>
                <a:gd name="T92" fmla="*/ 19 w 2835"/>
                <a:gd name="T93" fmla="*/ 543 h 2490"/>
                <a:gd name="T94" fmla="*/ 1 w 2835"/>
                <a:gd name="T95" fmla="*/ 714 h 2490"/>
                <a:gd name="T96" fmla="*/ 47 w 2835"/>
                <a:gd name="T97" fmla="*/ 884 h 2490"/>
                <a:gd name="T98" fmla="*/ 142 w 2835"/>
                <a:gd name="T99" fmla="*/ 1013 h 2490"/>
                <a:gd name="T100" fmla="*/ 364 w 2835"/>
                <a:gd name="T101" fmla="*/ 1131 h 2490"/>
                <a:gd name="T102" fmla="*/ 560 w 2835"/>
                <a:gd name="T103" fmla="*/ 1137 h 2490"/>
                <a:gd name="T104" fmla="*/ 2266 w 2835"/>
                <a:gd name="T105" fmla="*/ 2131 h 2490"/>
                <a:gd name="T106" fmla="*/ 2303 w 2835"/>
                <a:gd name="T107" fmla="*/ 2242 h 2490"/>
                <a:gd name="T108" fmla="*/ 2257 w 2835"/>
                <a:gd name="T109" fmla="*/ 2336 h 2490"/>
                <a:gd name="T110" fmla="*/ 2149 w 2835"/>
                <a:gd name="T111" fmla="*/ 2382 h 2490"/>
                <a:gd name="T112" fmla="*/ 1391 w 2835"/>
                <a:gd name="T113" fmla="*/ 1699 h 2490"/>
                <a:gd name="T114" fmla="*/ 2101 w 2835"/>
                <a:gd name="T115" fmla="*/ 2486 h 2490"/>
                <a:gd name="T116" fmla="*/ 2261 w 2835"/>
                <a:gd name="T117" fmla="*/ 2465 h 2490"/>
                <a:gd name="T118" fmla="*/ 2341 w 2835"/>
                <a:gd name="T119" fmla="*/ 2404 h 2490"/>
                <a:gd name="T120" fmla="*/ 2411 w 2835"/>
                <a:gd name="T121" fmla="*/ 2227 h 2490"/>
                <a:gd name="T122" fmla="*/ 2385 w 2835"/>
                <a:gd name="T123" fmla="*/ 2114 h 2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35" h="2490">
                  <a:moveTo>
                    <a:pt x="1591" y="1190"/>
                  </a:moveTo>
                  <a:lnTo>
                    <a:pt x="458" y="2341"/>
                  </a:lnTo>
                  <a:lnTo>
                    <a:pt x="458" y="2341"/>
                  </a:lnTo>
                  <a:lnTo>
                    <a:pt x="445" y="2360"/>
                  </a:lnTo>
                  <a:lnTo>
                    <a:pt x="432" y="2380"/>
                  </a:lnTo>
                  <a:lnTo>
                    <a:pt x="419" y="2404"/>
                  </a:lnTo>
                  <a:lnTo>
                    <a:pt x="406" y="2428"/>
                  </a:lnTo>
                  <a:lnTo>
                    <a:pt x="401" y="2441"/>
                  </a:lnTo>
                  <a:lnTo>
                    <a:pt x="396" y="2452"/>
                  </a:lnTo>
                  <a:lnTo>
                    <a:pt x="393" y="2461"/>
                  </a:lnTo>
                  <a:lnTo>
                    <a:pt x="392" y="2470"/>
                  </a:lnTo>
                  <a:lnTo>
                    <a:pt x="392" y="2477"/>
                  </a:lnTo>
                  <a:lnTo>
                    <a:pt x="393" y="2479"/>
                  </a:lnTo>
                  <a:lnTo>
                    <a:pt x="394" y="2481"/>
                  </a:lnTo>
                  <a:lnTo>
                    <a:pt x="394" y="2481"/>
                  </a:lnTo>
                  <a:lnTo>
                    <a:pt x="396" y="2482"/>
                  </a:lnTo>
                  <a:lnTo>
                    <a:pt x="400" y="2483"/>
                  </a:lnTo>
                  <a:lnTo>
                    <a:pt x="406" y="2483"/>
                  </a:lnTo>
                  <a:lnTo>
                    <a:pt x="414" y="2482"/>
                  </a:lnTo>
                  <a:lnTo>
                    <a:pt x="424" y="2479"/>
                  </a:lnTo>
                  <a:lnTo>
                    <a:pt x="435" y="2475"/>
                  </a:lnTo>
                  <a:lnTo>
                    <a:pt x="447" y="2469"/>
                  </a:lnTo>
                  <a:lnTo>
                    <a:pt x="471" y="2456"/>
                  </a:lnTo>
                  <a:lnTo>
                    <a:pt x="495" y="2442"/>
                  </a:lnTo>
                  <a:lnTo>
                    <a:pt x="515" y="2430"/>
                  </a:lnTo>
                  <a:lnTo>
                    <a:pt x="535" y="2416"/>
                  </a:lnTo>
                  <a:lnTo>
                    <a:pt x="1669" y="1265"/>
                  </a:lnTo>
                  <a:lnTo>
                    <a:pt x="1591" y="1190"/>
                  </a:lnTo>
                  <a:close/>
                  <a:moveTo>
                    <a:pt x="2767" y="82"/>
                  </a:moveTo>
                  <a:lnTo>
                    <a:pt x="2767" y="82"/>
                  </a:lnTo>
                  <a:lnTo>
                    <a:pt x="2748" y="64"/>
                  </a:lnTo>
                  <a:lnTo>
                    <a:pt x="2748" y="64"/>
                  </a:lnTo>
                  <a:lnTo>
                    <a:pt x="2731" y="48"/>
                  </a:lnTo>
                  <a:lnTo>
                    <a:pt x="2712" y="35"/>
                  </a:lnTo>
                  <a:lnTo>
                    <a:pt x="2692" y="24"/>
                  </a:lnTo>
                  <a:lnTo>
                    <a:pt x="2671" y="15"/>
                  </a:lnTo>
                  <a:lnTo>
                    <a:pt x="2651" y="9"/>
                  </a:lnTo>
                  <a:lnTo>
                    <a:pt x="2630" y="3"/>
                  </a:lnTo>
                  <a:lnTo>
                    <a:pt x="2608" y="1"/>
                  </a:lnTo>
                  <a:lnTo>
                    <a:pt x="2586" y="0"/>
                  </a:lnTo>
                  <a:lnTo>
                    <a:pt x="2586" y="0"/>
                  </a:lnTo>
                  <a:lnTo>
                    <a:pt x="2567" y="0"/>
                  </a:lnTo>
                  <a:lnTo>
                    <a:pt x="2549" y="2"/>
                  </a:lnTo>
                  <a:lnTo>
                    <a:pt x="2530" y="5"/>
                  </a:lnTo>
                  <a:lnTo>
                    <a:pt x="2512" y="11"/>
                  </a:lnTo>
                  <a:lnTo>
                    <a:pt x="2495" y="18"/>
                  </a:lnTo>
                  <a:lnTo>
                    <a:pt x="2477" y="25"/>
                  </a:lnTo>
                  <a:lnTo>
                    <a:pt x="2461" y="35"/>
                  </a:lnTo>
                  <a:lnTo>
                    <a:pt x="2445" y="46"/>
                  </a:lnTo>
                  <a:lnTo>
                    <a:pt x="2122" y="295"/>
                  </a:lnTo>
                  <a:lnTo>
                    <a:pt x="2122" y="295"/>
                  </a:lnTo>
                  <a:lnTo>
                    <a:pt x="2093" y="320"/>
                  </a:lnTo>
                  <a:lnTo>
                    <a:pt x="2063" y="346"/>
                  </a:lnTo>
                  <a:lnTo>
                    <a:pt x="2034" y="377"/>
                  </a:lnTo>
                  <a:lnTo>
                    <a:pt x="2005" y="407"/>
                  </a:lnTo>
                  <a:lnTo>
                    <a:pt x="1978" y="440"/>
                  </a:lnTo>
                  <a:lnTo>
                    <a:pt x="1953" y="474"/>
                  </a:lnTo>
                  <a:lnTo>
                    <a:pt x="1930" y="506"/>
                  </a:lnTo>
                  <a:lnTo>
                    <a:pt x="1910" y="538"/>
                  </a:lnTo>
                  <a:lnTo>
                    <a:pt x="1836" y="666"/>
                  </a:lnTo>
                  <a:lnTo>
                    <a:pt x="1836" y="666"/>
                  </a:lnTo>
                  <a:lnTo>
                    <a:pt x="1821" y="692"/>
                  </a:lnTo>
                  <a:lnTo>
                    <a:pt x="1801" y="721"/>
                  </a:lnTo>
                  <a:lnTo>
                    <a:pt x="1780" y="750"/>
                  </a:lnTo>
                  <a:lnTo>
                    <a:pt x="1758" y="781"/>
                  </a:lnTo>
                  <a:lnTo>
                    <a:pt x="1735" y="809"/>
                  </a:lnTo>
                  <a:lnTo>
                    <a:pt x="1712" y="836"/>
                  </a:lnTo>
                  <a:lnTo>
                    <a:pt x="1691" y="860"/>
                  </a:lnTo>
                  <a:lnTo>
                    <a:pt x="1672" y="879"/>
                  </a:lnTo>
                  <a:lnTo>
                    <a:pt x="1672" y="879"/>
                  </a:lnTo>
                  <a:lnTo>
                    <a:pt x="1658" y="892"/>
                  </a:lnTo>
                  <a:lnTo>
                    <a:pt x="1647" y="907"/>
                  </a:lnTo>
                  <a:lnTo>
                    <a:pt x="1639" y="923"/>
                  </a:lnTo>
                  <a:lnTo>
                    <a:pt x="1631" y="938"/>
                  </a:lnTo>
                  <a:lnTo>
                    <a:pt x="1625" y="956"/>
                  </a:lnTo>
                  <a:lnTo>
                    <a:pt x="1621" y="972"/>
                  </a:lnTo>
                  <a:lnTo>
                    <a:pt x="1618" y="990"/>
                  </a:lnTo>
                  <a:lnTo>
                    <a:pt x="1618" y="1007"/>
                  </a:lnTo>
                  <a:lnTo>
                    <a:pt x="1618" y="1007"/>
                  </a:lnTo>
                  <a:lnTo>
                    <a:pt x="1619" y="1027"/>
                  </a:lnTo>
                  <a:lnTo>
                    <a:pt x="1622" y="1048"/>
                  </a:lnTo>
                  <a:lnTo>
                    <a:pt x="1627" y="1068"/>
                  </a:lnTo>
                  <a:lnTo>
                    <a:pt x="1634" y="1087"/>
                  </a:lnTo>
                  <a:lnTo>
                    <a:pt x="1644" y="1106"/>
                  </a:lnTo>
                  <a:lnTo>
                    <a:pt x="1655" y="1124"/>
                  </a:lnTo>
                  <a:lnTo>
                    <a:pt x="1668" y="1141"/>
                  </a:lnTo>
                  <a:lnTo>
                    <a:pt x="1683" y="1158"/>
                  </a:lnTo>
                  <a:lnTo>
                    <a:pt x="1701" y="1175"/>
                  </a:lnTo>
                  <a:lnTo>
                    <a:pt x="1701" y="1175"/>
                  </a:lnTo>
                  <a:lnTo>
                    <a:pt x="1718" y="1190"/>
                  </a:lnTo>
                  <a:lnTo>
                    <a:pt x="1734" y="1202"/>
                  </a:lnTo>
                  <a:lnTo>
                    <a:pt x="1753" y="1213"/>
                  </a:lnTo>
                  <a:lnTo>
                    <a:pt x="1770" y="1221"/>
                  </a:lnTo>
                  <a:lnTo>
                    <a:pt x="1790" y="1228"/>
                  </a:lnTo>
                  <a:lnTo>
                    <a:pt x="1809" y="1233"/>
                  </a:lnTo>
                  <a:lnTo>
                    <a:pt x="1829" y="1236"/>
                  </a:lnTo>
                  <a:lnTo>
                    <a:pt x="1848" y="1237"/>
                  </a:lnTo>
                  <a:lnTo>
                    <a:pt x="1849" y="1237"/>
                  </a:lnTo>
                  <a:lnTo>
                    <a:pt x="1849" y="1237"/>
                  </a:lnTo>
                  <a:lnTo>
                    <a:pt x="1867" y="1237"/>
                  </a:lnTo>
                  <a:lnTo>
                    <a:pt x="1885" y="1233"/>
                  </a:lnTo>
                  <a:lnTo>
                    <a:pt x="1902" y="1229"/>
                  </a:lnTo>
                  <a:lnTo>
                    <a:pt x="1920" y="1222"/>
                  </a:lnTo>
                  <a:lnTo>
                    <a:pt x="1936" y="1215"/>
                  </a:lnTo>
                  <a:lnTo>
                    <a:pt x="1951" y="1205"/>
                  </a:lnTo>
                  <a:lnTo>
                    <a:pt x="1966" y="1193"/>
                  </a:lnTo>
                  <a:lnTo>
                    <a:pt x="1980" y="1180"/>
                  </a:lnTo>
                  <a:lnTo>
                    <a:pt x="1980" y="1180"/>
                  </a:lnTo>
                  <a:lnTo>
                    <a:pt x="1999" y="1160"/>
                  </a:lnTo>
                  <a:lnTo>
                    <a:pt x="2022" y="1138"/>
                  </a:lnTo>
                  <a:lnTo>
                    <a:pt x="2048" y="1115"/>
                  </a:lnTo>
                  <a:lnTo>
                    <a:pt x="2075" y="1091"/>
                  </a:lnTo>
                  <a:lnTo>
                    <a:pt x="2105" y="1068"/>
                  </a:lnTo>
                  <a:lnTo>
                    <a:pt x="2135" y="1046"/>
                  </a:lnTo>
                  <a:lnTo>
                    <a:pt x="2163" y="1026"/>
                  </a:lnTo>
                  <a:lnTo>
                    <a:pt x="2189" y="1009"/>
                  </a:lnTo>
                  <a:lnTo>
                    <a:pt x="2314" y="934"/>
                  </a:lnTo>
                  <a:lnTo>
                    <a:pt x="2314" y="934"/>
                  </a:lnTo>
                  <a:lnTo>
                    <a:pt x="2344" y="913"/>
                  </a:lnTo>
                  <a:lnTo>
                    <a:pt x="2377" y="889"/>
                  </a:lnTo>
                  <a:lnTo>
                    <a:pt x="2409" y="862"/>
                  </a:lnTo>
                  <a:lnTo>
                    <a:pt x="2442" y="834"/>
                  </a:lnTo>
                  <a:lnTo>
                    <a:pt x="2473" y="804"/>
                  </a:lnTo>
                  <a:lnTo>
                    <a:pt x="2501" y="774"/>
                  </a:lnTo>
                  <a:lnTo>
                    <a:pt x="2528" y="744"/>
                  </a:lnTo>
                  <a:lnTo>
                    <a:pt x="2551" y="715"/>
                  </a:lnTo>
                  <a:lnTo>
                    <a:pt x="2792" y="384"/>
                  </a:lnTo>
                  <a:lnTo>
                    <a:pt x="2792" y="384"/>
                  </a:lnTo>
                  <a:lnTo>
                    <a:pt x="2802" y="369"/>
                  </a:lnTo>
                  <a:lnTo>
                    <a:pt x="2811" y="353"/>
                  </a:lnTo>
                  <a:lnTo>
                    <a:pt x="2819" y="336"/>
                  </a:lnTo>
                  <a:lnTo>
                    <a:pt x="2824" y="320"/>
                  </a:lnTo>
                  <a:lnTo>
                    <a:pt x="2828" y="302"/>
                  </a:lnTo>
                  <a:lnTo>
                    <a:pt x="2832" y="284"/>
                  </a:lnTo>
                  <a:lnTo>
                    <a:pt x="2834" y="267"/>
                  </a:lnTo>
                  <a:lnTo>
                    <a:pt x="2835" y="249"/>
                  </a:lnTo>
                  <a:lnTo>
                    <a:pt x="2835" y="249"/>
                  </a:lnTo>
                  <a:lnTo>
                    <a:pt x="2834" y="226"/>
                  </a:lnTo>
                  <a:lnTo>
                    <a:pt x="2831" y="203"/>
                  </a:lnTo>
                  <a:lnTo>
                    <a:pt x="2825" y="181"/>
                  </a:lnTo>
                  <a:lnTo>
                    <a:pt x="2817" y="159"/>
                  </a:lnTo>
                  <a:lnTo>
                    <a:pt x="2809" y="138"/>
                  </a:lnTo>
                  <a:lnTo>
                    <a:pt x="2797" y="119"/>
                  </a:lnTo>
                  <a:lnTo>
                    <a:pt x="2782" y="100"/>
                  </a:lnTo>
                  <a:lnTo>
                    <a:pt x="2767" y="82"/>
                  </a:lnTo>
                  <a:close/>
                  <a:moveTo>
                    <a:pt x="2704" y="321"/>
                  </a:moveTo>
                  <a:lnTo>
                    <a:pt x="2464" y="650"/>
                  </a:lnTo>
                  <a:lnTo>
                    <a:pt x="2464" y="650"/>
                  </a:lnTo>
                  <a:lnTo>
                    <a:pt x="2445" y="674"/>
                  </a:lnTo>
                  <a:lnTo>
                    <a:pt x="2422" y="701"/>
                  </a:lnTo>
                  <a:lnTo>
                    <a:pt x="2396" y="727"/>
                  </a:lnTo>
                  <a:lnTo>
                    <a:pt x="2369" y="753"/>
                  </a:lnTo>
                  <a:lnTo>
                    <a:pt x="2339" y="780"/>
                  </a:lnTo>
                  <a:lnTo>
                    <a:pt x="2310" y="803"/>
                  </a:lnTo>
                  <a:lnTo>
                    <a:pt x="2283" y="824"/>
                  </a:lnTo>
                  <a:lnTo>
                    <a:pt x="2258" y="840"/>
                  </a:lnTo>
                  <a:lnTo>
                    <a:pt x="2133" y="916"/>
                  </a:lnTo>
                  <a:lnTo>
                    <a:pt x="2133" y="916"/>
                  </a:lnTo>
                  <a:lnTo>
                    <a:pt x="2102" y="936"/>
                  </a:lnTo>
                  <a:lnTo>
                    <a:pt x="2071" y="958"/>
                  </a:lnTo>
                  <a:lnTo>
                    <a:pt x="2039" y="982"/>
                  </a:lnTo>
                  <a:lnTo>
                    <a:pt x="2007" y="1007"/>
                  </a:lnTo>
                  <a:lnTo>
                    <a:pt x="1977" y="1032"/>
                  </a:lnTo>
                  <a:lnTo>
                    <a:pt x="1948" y="1058"/>
                  </a:lnTo>
                  <a:lnTo>
                    <a:pt x="1922" y="1083"/>
                  </a:lnTo>
                  <a:lnTo>
                    <a:pt x="1899" y="1107"/>
                  </a:lnTo>
                  <a:lnTo>
                    <a:pt x="1899" y="1107"/>
                  </a:lnTo>
                  <a:lnTo>
                    <a:pt x="1894" y="1113"/>
                  </a:lnTo>
                  <a:lnTo>
                    <a:pt x="1889" y="1116"/>
                  </a:lnTo>
                  <a:lnTo>
                    <a:pt x="1882" y="1120"/>
                  </a:lnTo>
                  <a:lnTo>
                    <a:pt x="1877" y="1124"/>
                  </a:lnTo>
                  <a:lnTo>
                    <a:pt x="1870" y="1126"/>
                  </a:lnTo>
                  <a:lnTo>
                    <a:pt x="1864" y="1127"/>
                  </a:lnTo>
                  <a:lnTo>
                    <a:pt x="1856" y="1128"/>
                  </a:lnTo>
                  <a:lnTo>
                    <a:pt x="1848" y="1129"/>
                  </a:lnTo>
                  <a:lnTo>
                    <a:pt x="1848" y="1129"/>
                  </a:lnTo>
                  <a:lnTo>
                    <a:pt x="1840" y="1128"/>
                  </a:lnTo>
                  <a:lnTo>
                    <a:pt x="1831" y="1127"/>
                  </a:lnTo>
                  <a:lnTo>
                    <a:pt x="1822" y="1125"/>
                  </a:lnTo>
                  <a:lnTo>
                    <a:pt x="1812" y="1121"/>
                  </a:lnTo>
                  <a:lnTo>
                    <a:pt x="1803" y="1117"/>
                  </a:lnTo>
                  <a:lnTo>
                    <a:pt x="1795" y="1112"/>
                  </a:lnTo>
                  <a:lnTo>
                    <a:pt x="1786" y="1105"/>
                  </a:lnTo>
                  <a:lnTo>
                    <a:pt x="1777" y="1097"/>
                  </a:lnTo>
                  <a:lnTo>
                    <a:pt x="1758" y="1080"/>
                  </a:lnTo>
                  <a:lnTo>
                    <a:pt x="1758" y="1080"/>
                  </a:lnTo>
                  <a:lnTo>
                    <a:pt x="1751" y="1071"/>
                  </a:lnTo>
                  <a:lnTo>
                    <a:pt x="1744" y="1062"/>
                  </a:lnTo>
                  <a:lnTo>
                    <a:pt x="1739" y="1053"/>
                  </a:lnTo>
                  <a:lnTo>
                    <a:pt x="1734" y="1043"/>
                  </a:lnTo>
                  <a:lnTo>
                    <a:pt x="1731" y="1035"/>
                  </a:lnTo>
                  <a:lnTo>
                    <a:pt x="1728" y="1025"/>
                  </a:lnTo>
                  <a:lnTo>
                    <a:pt x="1726" y="1016"/>
                  </a:lnTo>
                  <a:lnTo>
                    <a:pt x="1726" y="1007"/>
                  </a:lnTo>
                  <a:lnTo>
                    <a:pt x="1726" y="1007"/>
                  </a:lnTo>
                  <a:lnTo>
                    <a:pt x="1728" y="993"/>
                  </a:lnTo>
                  <a:lnTo>
                    <a:pt x="1729" y="986"/>
                  </a:lnTo>
                  <a:lnTo>
                    <a:pt x="1731" y="980"/>
                  </a:lnTo>
                  <a:lnTo>
                    <a:pt x="1734" y="974"/>
                  </a:lnTo>
                  <a:lnTo>
                    <a:pt x="1737" y="968"/>
                  </a:lnTo>
                  <a:lnTo>
                    <a:pt x="1742" y="963"/>
                  </a:lnTo>
                  <a:lnTo>
                    <a:pt x="1746" y="958"/>
                  </a:lnTo>
                  <a:lnTo>
                    <a:pt x="1746" y="958"/>
                  </a:lnTo>
                  <a:lnTo>
                    <a:pt x="1763" y="941"/>
                  </a:lnTo>
                  <a:lnTo>
                    <a:pt x="1779" y="924"/>
                  </a:lnTo>
                  <a:lnTo>
                    <a:pt x="1815" y="883"/>
                  </a:lnTo>
                  <a:lnTo>
                    <a:pt x="1935" y="1001"/>
                  </a:lnTo>
                  <a:lnTo>
                    <a:pt x="1973" y="962"/>
                  </a:lnTo>
                  <a:lnTo>
                    <a:pt x="1848" y="840"/>
                  </a:lnTo>
                  <a:lnTo>
                    <a:pt x="1848" y="840"/>
                  </a:lnTo>
                  <a:lnTo>
                    <a:pt x="1871" y="809"/>
                  </a:lnTo>
                  <a:lnTo>
                    <a:pt x="1893" y="779"/>
                  </a:lnTo>
                  <a:lnTo>
                    <a:pt x="1913" y="748"/>
                  </a:lnTo>
                  <a:lnTo>
                    <a:pt x="1931" y="719"/>
                  </a:lnTo>
                  <a:lnTo>
                    <a:pt x="2003" y="592"/>
                  </a:lnTo>
                  <a:lnTo>
                    <a:pt x="2003" y="592"/>
                  </a:lnTo>
                  <a:lnTo>
                    <a:pt x="2020" y="567"/>
                  </a:lnTo>
                  <a:lnTo>
                    <a:pt x="2039" y="538"/>
                  </a:lnTo>
                  <a:lnTo>
                    <a:pt x="2062" y="510"/>
                  </a:lnTo>
                  <a:lnTo>
                    <a:pt x="2088" y="480"/>
                  </a:lnTo>
                  <a:lnTo>
                    <a:pt x="2113" y="450"/>
                  </a:lnTo>
                  <a:lnTo>
                    <a:pt x="2139" y="424"/>
                  </a:lnTo>
                  <a:lnTo>
                    <a:pt x="2164" y="401"/>
                  </a:lnTo>
                  <a:lnTo>
                    <a:pt x="2187" y="381"/>
                  </a:lnTo>
                  <a:lnTo>
                    <a:pt x="2511" y="132"/>
                  </a:lnTo>
                  <a:lnTo>
                    <a:pt x="2511" y="132"/>
                  </a:lnTo>
                  <a:lnTo>
                    <a:pt x="2519" y="126"/>
                  </a:lnTo>
                  <a:lnTo>
                    <a:pt x="2528" y="122"/>
                  </a:lnTo>
                  <a:lnTo>
                    <a:pt x="2536" y="118"/>
                  </a:lnTo>
                  <a:lnTo>
                    <a:pt x="2545" y="114"/>
                  </a:lnTo>
                  <a:lnTo>
                    <a:pt x="2555" y="112"/>
                  </a:lnTo>
                  <a:lnTo>
                    <a:pt x="2565" y="110"/>
                  </a:lnTo>
                  <a:lnTo>
                    <a:pt x="2575" y="109"/>
                  </a:lnTo>
                  <a:lnTo>
                    <a:pt x="2586" y="108"/>
                  </a:lnTo>
                  <a:lnTo>
                    <a:pt x="2586" y="108"/>
                  </a:lnTo>
                  <a:lnTo>
                    <a:pt x="2598" y="109"/>
                  </a:lnTo>
                  <a:lnTo>
                    <a:pt x="2610" y="110"/>
                  </a:lnTo>
                  <a:lnTo>
                    <a:pt x="2622" y="113"/>
                  </a:lnTo>
                  <a:lnTo>
                    <a:pt x="2633" y="116"/>
                  </a:lnTo>
                  <a:lnTo>
                    <a:pt x="2644" y="122"/>
                  </a:lnTo>
                  <a:lnTo>
                    <a:pt x="2654" y="127"/>
                  </a:lnTo>
                  <a:lnTo>
                    <a:pt x="2664" y="134"/>
                  </a:lnTo>
                  <a:lnTo>
                    <a:pt x="2673" y="142"/>
                  </a:lnTo>
                  <a:lnTo>
                    <a:pt x="2691" y="159"/>
                  </a:lnTo>
                  <a:lnTo>
                    <a:pt x="2691" y="159"/>
                  </a:lnTo>
                  <a:lnTo>
                    <a:pt x="2699" y="168"/>
                  </a:lnTo>
                  <a:lnTo>
                    <a:pt x="2705" y="178"/>
                  </a:lnTo>
                  <a:lnTo>
                    <a:pt x="2712" y="188"/>
                  </a:lnTo>
                  <a:lnTo>
                    <a:pt x="2716" y="200"/>
                  </a:lnTo>
                  <a:lnTo>
                    <a:pt x="2721" y="211"/>
                  </a:lnTo>
                  <a:lnTo>
                    <a:pt x="2724" y="224"/>
                  </a:lnTo>
                  <a:lnTo>
                    <a:pt x="2725" y="236"/>
                  </a:lnTo>
                  <a:lnTo>
                    <a:pt x="2726" y="249"/>
                  </a:lnTo>
                  <a:lnTo>
                    <a:pt x="2726" y="249"/>
                  </a:lnTo>
                  <a:lnTo>
                    <a:pt x="2726" y="259"/>
                  </a:lnTo>
                  <a:lnTo>
                    <a:pt x="2725" y="269"/>
                  </a:lnTo>
                  <a:lnTo>
                    <a:pt x="2723" y="278"/>
                  </a:lnTo>
                  <a:lnTo>
                    <a:pt x="2721" y="288"/>
                  </a:lnTo>
                  <a:lnTo>
                    <a:pt x="2718" y="297"/>
                  </a:lnTo>
                  <a:lnTo>
                    <a:pt x="2713" y="305"/>
                  </a:lnTo>
                  <a:lnTo>
                    <a:pt x="2709" y="313"/>
                  </a:lnTo>
                  <a:lnTo>
                    <a:pt x="2704" y="321"/>
                  </a:lnTo>
                  <a:close/>
                  <a:moveTo>
                    <a:pt x="642" y="1118"/>
                  </a:moveTo>
                  <a:lnTo>
                    <a:pt x="642" y="1118"/>
                  </a:lnTo>
                  <a:lnTo>
                    <a:pt x="800" y="1273"/>
                  </a:lnTo>
                  <a:lnTo>
                    <a:pt x="1085" y="1552"/>
                  </a:lnTo>
                  <a:lnTo>
                    <a:pt x="1161" y="1475"/>
                  </a:lnTo>
                  <a:lnTo>
                    <a:pt x="876" y="1195"/>
                  </a:lnTo>
                  <a:lnTo>
                    <a:pt x="876" y="1195"/>
                  </a:lnTo>
                  <a:lnTo>
                    <a:pt x="694" y="1017"/>
                  </a:lnTo>
                  <a:lnTo>
                    <a:pt x="668" y="992"/>
                  </a:lnTo>
                  <a:lnTo>
                    <a:pt x="635" y="1005"/>
                  </a:lnTo>
                  <a:lnTo>
                    <a:pt x="635" y="1005"/>
                  </a:lnTo>
                  <a:lnTo>
                    <a:pt x="616" y="1012"/>
                  </a:lnTo>
                  <a:lnTo>
                    <a:pt x="596" y="1018"/>
                  </a:lnTo>
                  <a:lnTo>
                    <a:pt x="576" y="1024"/>
                  </a:lnTo>
                  <a:lnTo>
                    <a:pt x="556" y="1028"/>
                  </a:lnTo>
                  <a:lnTo>
                    <a:pt x="537" y="1031"/>
                  </a:lnTo>
                  <a:lnTo>
                    <a:pt x="517" y="1034"/>
                  </a:lnTo>
                  <a:lnTo>
                    <a:pt x="497" y="1035"/>
                  </a:lnTo>
                  <a:lnTo>
                    <a:pt x="477" y="1035"/>
                  </a:lnTo>
                  <a:lnTo>
                    <a:pt x="477" y="1035"/>
                  </a:lnTo>
                  <a:lnTo>
                    <a:pt x="454" y="1035"/>
                  </a:lnTo>
                  <a:lnTo>
                    <a:pt x="432" y="1032"/>
                  </a:lnTo>
                  <a:lnTo>
                    <a:pt x="410" y="1029"/>
                  </a:lnTo>
                  <a:lnTo>
                    <a:pt x="389" y="1026"/>
                  </a:lnTo>
                  <a:lnTo>
                    <a:pt x="367" y="1020"/>
                  </a:lnTo>
                  <a:lnTo>
                    <a:pt x="346" y="1014"/>
                  </a:lnTo>
                  <a:lnTo>
                    <a:pt x="326" y="1005"/>
                  </a:lnTo>
                  <a:lnTo>
                    <a:pt x="306" y="996"/>
                  </a:lnTo>
                  <a:lnTo>
                    <a:pt x="286" y="986"/>
                  </a:lnTo>
                  <a:lnTo>
                    <a:pt x="268" y="975"/>
                  </a:lnTo>
                  <a:lnTo>
                    <a:pt x="250" y="963"/>
                  </a:lnTo>
                  <a:lnTo>
                    <a:pt x="233" y="949"/>
                  </a:lnTo>
                  <a:lnTo>
                    <a:pt x="217" y="935"/>
                  </a:lnTo>
                  <a:lnTo>
                    <a:pt x="202" y="919"/>
                  </a:lnTo>
                  <a:lnTo>
                    <a:pt x="187" y="902"/>
                  </a:lnTo>
                  <a:lnTo>
                    <a:pt x="173" y="884"/>
                  </a:lnTo>
                  <a:lnTo>
                    <a:pt x="173" y="884"/>
                  </a:lnTo>
                  <a:lnTo>
                    <a:pt x="158" y="860"/>
                  </a:lnTo>
                  <a:lnTo>
                    <a:pt x="145" y="836"/>
                  </a:lnTo>
                  <a:lnTo>
                    <a:pt x="134" y="811"/>
                  </a:lnTo>
                  <a:lnTo>
                    <a:pt x="125" y="785"/>
                  </a:lnTo>
                  <a:lnTo>
                    <a:pt x="117" y="759"/>
                  </a:lnTo>
                  <a:lnTo>
                    <a:pt x="113" y="733"/>
                  </a:lnTo>
                  <a:lnTo>
                    <a:pt x="110" y="705"/>
                  </a:lnTo>
                  <a:lnTo>
                    <a:pt x="109" y="679"/>
                  </a:lnTo>
                  <a:lnTo>
                    <a:pt x="109" y="679"/>
                  </a:lnTo>
                  <a:lnTo>
                    <a:pt x="110" y="658"/>
                  </a:lnTo>
                  <a:lnTo>
                    <a:pt x="111" y="637"/>
                  </a:lnTo>
                  <a:lnTo>
                    <a:pt x="114" y="616"/>
                  </a:lnTo>
                  <a:lnTo>
                    <a:pt x="117" y="595"/>
                  </a:lnTo>
                  <a:lnTo>
                    <a:pt x="123" y="574"/>
                  </a:lnTo>
                  <a:lnTo>
                    <a:pt x="128" y="555"/>
                  </a:lnTo>
                  <a:lnTo>
                    <a:pt x="136" y="534"/>
                  </a:lnTo>
                  <a:lnTo>
                    <a:pt x="145" y="514"/>
                  </a:lnTo>
                  <a:lnTo>
                    <a:pt x="281" y="721"/>
                  </a:lnTo>
                  <a:lnTo>
                    <a:pt x="578" y="745"/>
                  </a:lnTo>
                  <a:lnTo>
                    <a:pt x="729" y="473"/>
                  </a:lnTo>
                  <a:lnTo>
                    <a:pt x="631" y="260"/>
                  </a:lnTo>
                  <a:lnTo>
                    <a:pt x="631" y="260"/>
                  </a:lnTo>
                  <a:lnTo>
                    <a:pt x="648" y="264"/>
                  </a:lnTo>
                  <a:lnTo>
                    <a:pt x="664" y="268"/>
                  </a:lnTo>
                  <a:lnTo>
                    <a:pt x="679" y="273"/>
                  </a:lnTo>
                  <a:lnTo>
                    <a:pt x="696" y="280"/>
                  </a:lnTo>
                  <a:lnTo>
                    <a:pt x="711" y="287"/>
                  </a:lnTo>
                  <a:lnTo>
                    <a:pt x="725" y="293"/>
                  </a:lnTo>
                  <a:lnTo>
                    <a:pt x="740" y="301"/>
                  </a:lnTo>
                  <a:lnTo>
                    <a:pt x="754" y="310"/>
                  </a:lnTo>
                  <a:lnTo>
                    <a:pt x="768" y="320"/>
                  </a:lnTo>
                  <a:lnTo>
                    <a:pt x="781" y="330"/>
                  </a:lnTo>
                  <a:lnTo>
                    <a:pt x="795" y="339"/>
                  </a:lnTo>
                  <a:lnTo>
                    <a:pt x="807" y="350"/>
                  </a:lnTo>
                  <a:lnTo>
                    <a:pt x="819" y="362"/>
                  </a:lnTo>
                  <a:lnTo>
                    <a:pt x="831" y="376"/>
                  </a:lnTo>
                  <a:lnTo>
                    <a:pt x="842" y="389"/>
                  </a:lnTo>
                  <a:lnTo>
                    <a:pt x="852" y="402"/>
                  </a:lnTo>
                  <a:lnTo>
                    <a:pt x="852" y="402"/>
                  </a:lnTo>
                  <a:lnTo>
                    <a:pt x="867" y="426"/>
                  </a:lnTo>
                  <a:lnTo>
                    <a:pt x="880" y="450"/>
                  </a:lnTo>
                  <a:lnTo>
                    <a:pt x="891" y="476"/>
                  </a:lnTo>
                  <a:lnTo>
                    <a:pt x="900" y="501"/>
                  </a:lnTo>
                  <a:lnTo>
                    <a:pt x="908" y="527"/>
                  </a:lnTo>
                  <a:lnTo>
                    <a:pt x="912" y="554"/>
                  </a:lnTo>
                  <a:lnTo>
                    <a:pt x="915" y="581"/>
                  </a:lnTo>
                  <a:lnTo>
                    <a:pt x="916" y="608"/>
                  </a:lnTo>
                  <a:lnTo>
                    <a:pt x="916" y="608"/>
                  </a:lnTo>
                  <a:lnTo>
                    <a:pt x="915" y="632"/>
                  </a:lnTo>
                  <a:lnTo>
                    <a:pt x="913" y="655"/>
                  </a:lnTo>
                  <a:lnTo>
                    <a:pt x="910" y="679"/>
                  </a:lnTo>
                  <a:lnTo>
                    <a:pt x="904" y="702"/>
                  </a:lnTo>
                  <a:lnTo>
                    <a:pt x="898" y="725"/>
                  </a:lnTo>
                  <a:lnTo>
                    <a:pt x="890" y="748"/>
                  </a:lnTo>
                  <a:lnTo>
                    <a:pt x="881" y="771"/>
                  </a:lnTo>
                  <a:lnTo>
                    <a:pt x="870" y="793"/>
                  </a:lnTo>
                  <a:lnTo>
                    <a:pt x="852" y="829"/>
                  </a:lnTo>
                  <a:lnTo>
                    <a:pt x="882" y="858"/>
                  </a:lnTo>
                  <a:lnTo>
                    <a:pt x="882" y="858"/>
                  </a:lnTo>
                  <a:lnTo>
                    <a:pt x="1098" y="1053"/>
                  </a:lnTo>
                  <a:lnTo>
                    <a:pt x="1348" y="1285"/>
                  </a:lnTo>
                  <a:lnTo>
                    <a:pt x="1425" y="1207"/>
                  </a:lnTo>
                  <a:lnTo>
                    <a:pt x="1170" y="974"/>
                  </a:lnTo>
                  <a:lnTo>
                    <a:pt x="1170" y="974"/>
                  </a:lnTo>
                  <a:lnTo>
                    <a:pt x="985" y="804"/>
                  </a:lnTo>
                  <a:lnTo>
                    <a:pt x="985" y="804"/>
                  </a:lnTo>
                  <a:lnTo>
                    <a:pt x="994" y="780"/>
                  </a:lnTo>
                  <a:lnTo>
                    <a:pt x="1002" y="757"/>
                  </a:lnTo>
                  <a:lnTo>
                    <a:pt x="1009" y="733"/>
                  </a:lnTo>
                  <a:lnTo>
                    <a:pt x="1014" y="707"/>
                  </a:lnTo>
                  <a:lnTo>
                    <a:pt x="1019" y="683"/>
                  </a:lnTo>
                  <a:lnTo>
                    <a:pt x="1022" y="658"/>
                  </a:lnTo>
                  <a:lnTo>
                    <a:pt x="1024" y="633"/>
                  </a:lnTo>
                  <a:lnTo>
                    <a:pt x="1024" y="608"/>
                  </a:lnTo>
                  <a:lnTo>
                    <a:pt x="1024" y="608"/>
                  </a:lnTo>
                  <a:lnTo>
                    <a:pt x="1023" y="573"/>
                  </a:lnTo>
                  <a:lnTo>
                    <a:pt x="1020" y="538"/>
                  </a:lnTo>
                  <a:lnTo>
                    <a:pt x="1016" y="521"/>
                  </a:lnTo>
                  <a:lnTo>
                    <a:pt x="1013" y="503"/>
                  </a:lnTo>
                  <a:lnTo>
                    <a:pt x="1009" y="487"/>
                  </a:lnTo>
                  <a:lnTo>
                    <a:pt x="1004" y="469"/>
                  </a:lnTo>
                  <a:lnTo>
                    <a:pt x="998" y="453"/>
                  </a:lnTo>
                  <a:lnTo>
                    <a:pt x="992" y="435"/>
                  </a:lnTo>
                  <a:lnTo>
                    <a:pt x="985" y="418"/>
                  </a:lnTo>
                  <a:lnTo>
                    <a:pt x="978" y="402"/>
                  </a:lnTo>
                  <a:lnTo>
                    <a:pt x="969" y="387"/>
                  </a:lnTo>
                  <a:lnTo>
                    <a:pt x="960" y="370"/>
                  </a:lnTo>
                  <a:lnTo>
                    <a:pt x="950" y="355"/>
                  </a:lnTo>
                  <a:lnTo>
                    <a:pt x="941" y="339"/>
                  </a:lnTo>
                  <a:lnTo>
                    <a:pt x="941" y="339"/>
                  </a:lnTo>
                  <a:lnTo>
                    <a:pt x="922" y="316"/>
                  </a:lnTo>
                  <a:lnTo>
                    <a:pt x="903" y="294"/>
                  </a:lnTo>
                  <a:lnTo>
                    <a:pt x="882" y="273"/>
                  </a:lnTo>
                  <a:lnTo>
                    <a:pt x="862" y="254"/>
                  </a:lnTo>
                  <a:lnTo>
                    <a:pt x="839" y="236"/>
                  </a:lnTo>
                  <a:lnTo>
                    <a:pt x="815" y="220"/>
                  </a:lnTo>
                  <a:lnTo>
                    <a:pt x="791" y="205"/>
                  </a:lnTo>
                  <a:lnTo>
                    <a:pt x="766" y="192"/>
                  </a:lnTo>
                  <a:lnTo>
                    <a:pt x="741" y="181"/>
                  </a:lnTo>
                  <a:lnTo>
                    <a:pt x="715" y="170"/>
                  </a:lnTo>
                  <a:lnTo>
                    <a:pt x="687" y="163"/>
                  </a:lnTo>
                  <a:lnTo>
                    <a:pt x="660" y="155"/>
                  </a:lnTo>
                  <a:lnTo>
                    <a:pt x="632" y="149"/>
                  </a:lnTo>
                  <a:lnTo>
                    <a:pt x="604" y="146"/>
                  </a:lnTo>
                  <a:lnTo>
                    <a:pt x="575" y="144"/>
                  </a:lnTo>
                  <a:lnTo>
                    <a:pt x="547" y="143"/>
                  </a:lnTo>
                  <a:lnTo>
                    <a:pt x="547" y="143"/>
                  </a:lnTo>
                  <a:lnTo>
                    <a:pt x="542" y="143"/>
                  </a:lnTo>
                  <a:lnTo>
                    <a:pt x="460" y="144"/>
                  </a:lnTo>
                  <a:lnTo>
                    <a:pt x="607" y="469"/>
                  </a:lnTo>
                  <a:lnTo>
                    <a:pt x="517" y="632"/>
                  </a:lnTo>
                  <a:lnTo>
                    <a:pt x="342" y="617"/>
                  </a:lnTo>
                  <a:lnTo>
                    <a:pt x="143" y="315"/>
                  </a:lnTo>
                  <a:lnTo>
                    <a:pt x="97" y="380"/>
                  </a:lnTo>
                  <a:lnTo>
                    <a:pt x="97" y="380"/>
                  </a:lnTo>
                  <a:lnTo>
                    <a:pt x="86" y="397"/>
                  </a:lnTo>
                  <a:lnTo>
                    <a:pt x="75" y="414"/>
                  </a:lnTo>
                  <a:lnTo>
                    <a:pt x="65" y="432"/>
                  </a:lnTo>
                  <a:lnTo>
                    <a:pt x="55" y="449"/>
                  </a:lnTo>
                  <a:lnTo>
                    <a:pt x="46" y="468"/>
                  </a:lnTo>
                  <a:lnTo>
                    <a:pt x="38" y="485"/>
                  </a:lnTo>
                  <a:lnTo>
                    <a:pt x="32" y="504"/>
                  </a:lnTo>
                  <a:lnTo>
                    <a:pt x="25" y="524"/>
                  </a:lnTo>
                  <a:lnTo>
                    <a:pt x="19" y="543"/>
                  </a:lnTo>
                  <a:lnTo>
                    <a:pt x="14" y="561"/>
                  </a:lnTo>
                  <a:lnTo>
                    <a:pt x="10" y="581"/>
                  </a:lnTo>
                  <a:lnTo>
                    <a:pt x="7" y="600"/>
                  </a:lnTo>
                  <a:lnTo>
                    <a:pt x="3" y="619"/>
                  </a:lnTo>
                  <a:lnTo>
                    <a:pt x="2" y="639"/>
                  </a:lnTo>
                  <a:lnTo>
                    <a:pt x="1" y="659"/>
                  </a:lnTo>
                  <a:lnTo>
                    <a:pt x="0" y="679"/>
                  </a:lnTo>
                  <a:lnTo>
                    <a:pt x="0" y="679"/>
                  </a:lnTo>
                  <a:lnTo>
                    <a:pt x="1" y="714"/>
                  </a:lnTo>
                  <a:lnTo>
                    <a:pt x="5" y="748"/>
                  </a:lnTo>
                  <a:lnTo>
                    <a:pt x="9" y="766"/>
                  </a:lnTo>
                  <a:lnTo>
                    <a:pt x="12" y="783"/>
                  </a:lnTo>
                  <a:lnTo>
                    <a:pt x="16" y="801"/>
                  </a:lnTo>
                  <a:lnTo>
                    <a:pt x="21" y="817"/>
                  </a:lnTo>
                  <a:lnTo>
                    <a:pt x="26" y="835"/>
                  </a:lnTo>
                  <a:lnTo>
                    <a:pt x="33" y="851"/>
                  </a:lnTo>
                  <a:lnTo>
                    <a:pt x="40" y="868"/>
                  </a:lnTo>
                  <a:lnTo>
                    <a:pt x="47" y="884"/>
                  </a:lnTo>
                  <a:lnTo>
                    <a:pt x="56" y="900"/>
                  </a:lnTo>
                  <a:lnTo>
                    <a:pt x="65" y="916"/>
                  </a:lnTo>
                  <a:lnTo>
                    <a:pt x="75" y="931"/>
                  </a:lnTo>
                  <a:lnTo>
                    <a:pt x="85" y="947"/>
                  </a:lnTo>
                  <a:lnTo>
                    <a:pt x="85" y="947"/>
                  </a:lnTo>
                  <a:lnTo>
                    <a:pt x="85" y="947"/>
                  </a:lnTo>
                  <a:lnTo>
                    <a:pt x="103" y="970"/>
                  </a:lnTo>
                  <a:lnTo>
                    <a:pt x="122" y="993"/>
                  </a:lnTo>
                  <a:lnTo>
                    <a:pt x="142" y="1013"/>
                  </a:lnTo>
                  <a:lnTo>
                    <a:pt x="164" y="1032"/>
                  </a:lnTo>
                  <a:lnTo>
                    <a:pt x="185" y="1050"/>
                  </a:lnTo>
                  <a:lnTo>
                    <a:pt x="210" y="1067"/>
                  </a:lnTo>
                  <a:lnTo>
                    <a:pt x="234" y="1081"/>
                  </a:lnTo>
                  <a:lnTo>
                    <a:pt x="258" y="1094"/>
                  </a:lnTo>
                  <a:lnTo>
                    <a:pt x="284" y="1106"/>
                  </a:lnTo>
                  <a:lnTo>
                    <a:pt x="311" y="1116"/>
                  </a:lnTo>
                  <a:lnTo>
                    <a:pt x="337" y="1125"/>
                  </a:lnTo>
                  <a:lnTo>
                    <a:pt x="364" y="1131"/>
                  </a:lnTo>
                  <a:lnTo>
                    <a:pt x="392" y="1137"/>
                  </a:lnTo>
                  <a:lnTo>
                    <a:pt x="420" y="1140"/>
                  </a:lnTo>
                  <a:lnTo>
                    <a:pt x="449" y="1143"/>
                  </a:lnTo>
                  <a:lnTo>
                    <a:pt x="477" y="1143"/>
                  </a:lnTo>
                  <a:lnTo>
                    <a:pt x="477" y="1143"/>
                  </a:lnTo>
                  <a:lnTo>
                    <a:pt x="498" y="1143"/>
                  </a:lnTo>
                  <a:lnTo>
                    <a:pt x="518" y="1142"/>
                  </a:lnTo>
                  <a:lnTo>
                    <a:pt x="539" y="1140"/>
                  </a:lnTo>
                  <a:lnTo>
                    <a:pt x="560" y="1137"/>
                  </a:lnTo>
                  <a:lnTo>
                    <a:pt x="581" y="1134"/>
                  </a:lnTo>
                  <a:lnTo>
                    <a:pt x="600" y="1129"/>
                  </a:lnTo>
                  <a:lnTo>
                    <a:pt x="621" y="1124"/>
                  </a:lnTo>
                  <a:lnTo>
                    <a:pt x="642" y="1118"/>
                  </a:lnTo>
                  <a:close/>
                  <a:moveTo>
                    <a:pt x="1661" y="1425"/>
                  </a:moveTo>
                  <a:lnTo>
                    <a:pt x="1585" y="1503"/>
                  </a:lnTo>
                  <a:lnTo>
                    <a:pt x="2255" y="2119"/>
                  </a:lnTo>
                  <a:lnTo>
                    <a:pt x="2255" y="2119"/>
                  </a:lnTo>
                  <a:lnTo>
                    <a:pt x="2266" y="2131"/>
                  </a:lnTo>
                  <a:lnTo>
                    <a:pt x="2276" y="2143"/>
                  </a:lnTo>
                  <a:lnTo>
                    <a:pt x="2284" y="2156"/>
                  </a:lnTo>
                  <a:lnTo>
                    <a:pt x="2291" y="2169"/>
                  </a:lnTo>
                  <a:lnTo>
                    <a:pt x="2296" y="2184"/>
                  </a:lnTo>
                  <a:lnTo>
                    <a:pt x="2300" y="2198"/>
                  </a:lnTo>
                  <a:lnTo>
                    <a:pt x="2303" y="2213"/>
                  </a:lnTo>
                  <a:lnTo>
                    <a:pt x="2303" y="2227"/>
                  </a:lnTo>
                  <a:lnTo>
                    <a:pt x="2303" y="2227"/>
                  </a:lnTo>
                  <a:lnTo>
                    <a:pt x="2303" y="2242"/>
                  </a:lnTo>
                  <a:lnTo>
                    <a:pt x="2300" y="2255"/>
                  </a:lnTo>
                  <a:lnTo>
                    <a:pt x="2297" y="2268"/>
                  </a:lnTo>
                  <a:lnTo>
                    <a:pt x="2293" y="2281"/>
                  </a:lnTo>
                  <a:lnTo>
                    <a:pt x="2287" y="2294"/>
                  </a:lnTo>
                  <a:lnTo>
                    <a:pt x="2281" y="2307"/>
                  </a:lnTo>
                  <a:lnTo>
                    <a:pt x="2272" y="2318"/>
                  </a:lnTo>
                  <a:lnTo>
                    <a:pt x="2262" y="2330"/>
                  </a:lnTo>
                  <a:lnTo>
                    <a:pt x="2257" y="2336"/>
                  </a:lnTo>
                  <a:lnTo>
                    <a:pt x="2257" y="2336"/>
                  </a:lnTo>
                  <a:lnTo>
                    <a:pt x="2245" y="2347"/>
                  </a:lnTo>
                  <a:lnTo>
                    <a:pt x="2232" y="2356"/>
                  </a:lnTo>
                  <a:lnTo>
                    <a:pt x="2220" y="2364"/>
                  </a:lnTo>
                  <a:lnTo>
                    <a:pt x="2206" y="2370"/>
                  </a:lnTo>
                  <a:lnTo>
                    <a:pt x="2193" y="2376"/>
                  </a:lnTo>
                  <a:lnTo>
                    <a:pt x="2179" y="2379"/>
                  </a:lnTo>
                  <a:lnTo>
                    <a:pt x="2164" y="2381"/>
                  </a:lnTo>
                  <a:lnTo>
                    <a:pt x="2149" y="2382"/>
                  </a:lnTo>
                  <a:lnTo>
                    <a:pt x="2149" y="2382"/>
                  </a:lnTo>
                  <a:lnTo>
                    <a:pt x="2135" y="2381"/>
                  </a:lnTo>
                  <a:lnTo>
                    <a:pt x="2122" y="2379"/>
                  </a:lnTo>
                  <a:lnTo>
                    <a:pt x="2107" y="2376"/>
                  </a:lnTo>
                  <a:lnTo>
                    <a:pt x="2094" y="2371"/>
                  </a:lnTo>
                  <a:lnTo>
                    <a:pt x="2082" y="2366"/>
                  </a:lnTo>
                  <a:lnTo>
                    <a:pt x="2069" y="2358"/>
                  </a:lnTo>
                  <a:lnTo>
                    <a:pt x="2058" y="2349"/>
                  </a:lnTo>
                  <a:lnTo>
                    <a:pt x="2046" y="2340"/>
                  </a:lnTo>
                  <a:lnTo>
                    <a:pt x="1391" y="1699"/>
                  </a:lnTo>
                  <a:lnTo>
                    <a:pt x="1315" y="1776"/>
                  </a:lnTo>
                  <a:lnTo>
                    <a:pt x="1970" y="2418"/>
                  </a:lnTo>
                  <a:lnTo>
                    <a:pt x="1970" y="2418"/>
                  </a:lnTo>
                  <a:lnTo>
                    <a:pt x="1990" y="2434"/>
                  </a:lnTo>
                  <a:lnTo>
                    <a:pt x="2010" y="2449"/>
                  </a:lnTo>
                  <a:lnTo>
                    <a:pt x="2032" y="2461"/>
                  </a:lnTo>
                  <a:lnTo>
                    <a:pt x="2055" y="2472"/>
                  </a:lnTo>
                  <a:lnTo>
                    <a:pt x="2078" y="2480"/>
                  </a:lnTo>
                  <a:lnTo>
                    <a:pt x="2101" y="2486"/>
                  </a:lnTo>
                  <a:lnTo>
                    <a:pt x="2125" y="2489"/>
                  </a:lnTo>
                  <a:lnTo>
                    <a:pt x="2149" y="2490"/>
                  </a:lnTo>
                  <a:lnTo>
                    <a:pt x="2150" y="2490"/>
                  </a:lnTo>
                  <a:lnTo>
                    <a:pt x="2150" y="2490"/>
                  </a:lnTo>
                  <a:lnTo>
                    <a:pt x="2175" y="2489"/>
                  </a:lnTo>
                  <a:lnTo>
                    <a:pt x="2200" y="2486"/>
                  </a:lnTo>
                  <a:lnTo>
                    <a:pt x="2225" y="2479"/>
                  </a:lnTo>
                  <a:lnTo>
                    <a:pt x="2249" y="2470"/>
                  </a:lnTo>
                  <a:lnTo>
                    <a:pt x="2261" y="2465"/>
                  </a:lnTo>
                  <a:lnTo>
                    <a:pt x="2272" y="2459"/>
                  </a:lnTo>
                  <a:lnTo>
                    <a:pt x="2283" y="2453"/>
                  </a:lnTo>
                  <a:lnTo>
                    <a:pt x="2294" y="2445"/>
                  </a:lnTo>
                  <a:lnTo>
                    <a:pt x="2305" y="2437"/>
                  </a:lnTo>
                  <a:lnTo>
                    <a:pt x="2316" y="2430"/>
                  </a:lnTo>
                  <a:lnTo>
                    <a:pt x="2326" y="2420"/>
                  </a:lnTo>
                  <a:lnTo>
                    <a:pt x="2335" y="2411"/>
                  </a:lnTo>
                  <a:lnTo>
                    <a:pt x="2341" y="2404"/>
                  </a:lnTo>
                  <a:lnTo>
                    <a:pt x="2341" y="2404"/>
                  </a:lnTo>
                  <a:lnTo>
                    <a:pt x="2358" y="2385"/>
                  </a:lnTo>
                  <a:lnTo>
                    <a:pt x="2372" y="2365"/>
                  </a:lnTo>
                  <a:lnTo>
                    <a:pt x="2384" y="2343"/>
                  </a:lnTo>
                  <a:lnTo>
                    <a:pt x="2394" y="2321"/>
                  </a:lnTo>
                  <a:lnTo>
                    <a:pt x="2401" y="2298"/>
                  </a:lnTo>
                  <a:lnTo>
                    <a:pt x="2407" y="2275"/>
                  </a:lnTo>
                  <a:lnTo>
                    <a:pt x="2410" y="2252"/>
                  </a:lnTo>
                  <a:lnTo>
                    <a:pt x="2411" y="2227"/>
                  </a:lnTo>
                  <a:lnTo>
                    <a:pt x="2411" y="2227"/>
                  </a:lnTo>
                  <a:lnTo>
                    <a:pt x="2411" y="2215"/>
                  </a:lnTo>
                  <a:lnTo>
                    <a:pt x="2410" y="2202"/>
                  </a:lnTo>
                  <a:lnTo>
                    <a:pt x="2408" y="2189"/>
                  </a:lnTo>
                  <a:lnTo>
                    <a:pt x="2406" y="2176"/>
                  </a:lnTo>
                  <a:lnTo>
                    <a:pt x="2404" y="2164"/>
                  </a:lnTo>
                  <a:lnTo>
                    <a:pt x="2399" y="2151"/>
                  </a:lnTo>
                  <a:lnTo>
                    <a:pt x="2396" y="2139"/>
                  </a:lnTo>
                  <a:lnTo>
                    <a:pt x="2390" y="2126"/>
                  </a:lnTo>
                  <a:lnTo>
                    <a:pt x="2385" y="2114"/>
                  </a:lnTo>
                  <a:lnTo>
                    <a:pt x="2378" y="2102"/>
                  </a:lnTo>
                  <a:lnTo>
                    <a:pt x="2372" y="2091"/>
                  </a:lnTo>
                  <a:lnTo>
                    <a:pt x="2364" y="2080"/>
                  </a:lnTo>
                  <a:lnTo>
                    <a:pt x="2356" y="2069"/>
                  </a:lnTo>
                  <a:lnTo>
                    <a:pt x="2348" y="2058"/>
                  </a:lnTo>
                  <a:lnTo>
                    <a:pt x="2339" y="2048"/>
                  </a:lnTo>
                  <a:lnTo>
                    <a:pt x="2329" y="2039"/>
                  </a:lnTo>
                  <a:lnTo>
                    <a:pt x="1661" y="14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vert="horz" wrap="square" lIns="88324" tIns="44163" rIns="88324" bIns="44163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347" name="Freeform 21"/>
            <p:cNvSpPr>
              <a:spLocks noEditPoints="1"/>
            </p:cNvSpPr>
            <p:nvPr/>
          </p:nvSpPr>
          <p:spPr bwMode="auto">
            <a:xfrm>
              <a:off x="4412535" y="5353886"/>
              <a:ext cx="682226" cy="594000"/>
            </a:xfrm>
            <a:custGeom>
              <a:avLst/>
              <a:gdLst>
                <a:gd name="T0" fmla="*/ 1490 w 1967"/>
                <a:gd name="T1" fmla="*/ 610 h 1902"/>
                <a:gd name="T2" fmla="*/ 626 w 1967"/>
                <a:gd name="T3" fmla="*/ 450 h 1902"/>
                <a:gd name="T4" fmla="*/ 426 w 1967"/>
                <a:gd name="T5" fmla="*/ 702 h 1902"/>
                <a:gd name="T6" fmla="*/ 1595 w 1967"/>
                <a:gd name="T7" fmla="*/ 951 h 1902"/>
                <a:gd name="T8" fmla="*/ 1480 w 1967"/>
                <a:gd name="T9" fmla="*/ 800 h 1902"/>
                <a:gd name="T10" fmla="*/ 1239 w 1967"/>
                <a:gd name="T11" fmla="*/ 682 h 1902"/>
                <a:gd name="T12" fmla="*/ 1206 w 1967"/>
                <a:gd name="T13" fmla="*/ 612 h 1902"/>
                <a:gd name="T14" fmla="*/ 749 w 1967"/>
                <a:gd name="T15" fmla="*/ 957 h 1902"/>
                <a:gd name="T16" fmla="*/ 1184 w 1967"/>
                <a:gd name="T17" fmla="*/ 733 h 1902"/>
                <a:gd name="T18" fmla="*/ 1213 w 1967"/>
                <a:gd name="T19" fmla="*/ 1020 h 1902"/>
                <a:gd name="T20" fmla="*/ 754 w 1967"/>
                <a:gd name="T21" fmla="*/ 1026 h 1902"/>
                <a:gd name="T22" fmla="*/ 1156 w 1967"/>
                <a:gd name="T23" fmla="*/ 666 h 1902"/>
                <a:gd name="T24" fmla="*/ 891 w 1967"/>
                <a:gd name="T25" fmla="*/ 440 h 1902"/>
                <a:gd name="T26" fmla="*/ 644 w 1967"/>
                <a:gd name="T27" fmla="*/ 559 h 1902"/>
                <a:gd name="T28" fmla="*/ 644 w 1967"/>
                <a:gd name="T29" fmla="*/ 559 h 1902"/>
                <a:gd name="T30" fmla="*/ 750 w 1967"/>
                <a:gd name="T31" fmla="*/ 1245 h 1902"/>
                <a:gd name="T32" fmla="*/ 499 w 1967"/>
                <a:gd name="T33" fmla="*/ 1139 h 1902"/>
                <a:gd name="T34" fmla="*/ 916 w 1967"/>
                <a:gd name="T35" fmla="*/ 1466 h 1902"/>
                <a:gd name="T36" fmla="*/ 1065 w 1967"/>
                <a:gd name="T37" fmla="*/ 1349 h 1902"/>
                <a:gd name="T38" fmla="*/ 1053 w 1967"/>
                <a:gd name="T39" fmla="*/ 1456 h 1902"/>
                <a:gd name="T40" fmla="*/ 1192 w 1967"/>
                <a:gd name="T41" fmla="*/ 344 h 1902"/>
                <a:gd name="T42" fmla="*/ 1211 w 1967"/>
                <a:gd name="T43" fmla="*/ 134 h 1902"/>
                <a:gd name="T44" fmla="*/ 1453 w 1967"/>
                <a:gd name="T45" fmla="*/ 222 h 1902"/>
                <a:gd name="T46" fmla="*/ 1732 w 1967"/>
                <a:gd name="T47" fmla="*/ 521 h 1902"/>
                <a:gd name="T48" fmla="*/ 1800 w 1967"/>
                <a:gd name="T49" fmla="*/ 759 h 1902"/>
                <a:gd name="T50" fmla="*/ 1784 w 1967"/>
                <a:gd name="T51" fmla="*/ 861 h 1902"/>
                <a:gd name="T52" fmla="*/ 1757 w 1967"/>
                <a:gd name="T53" fmla="*/ 698 h 1902"/>
                <a:gd name="T54" fmla="*/ 1637 w 1967"/>
                <a:gd name="T55" fmla="*/ 467 h 1902"/>
                <a:gd name="T56" fmla="*/ 1337 w 1967"/>
                <a:gd name="T57" fmla="*/ 257 h 1902"/>
                <a:gd name="T58" fmla="*/ 1192 w 1967"/>
                <a:gd name="T59" fmla="*/ 226 h 1902"/>
                <a:gd name="T60" fmla="*/ 227 w 1967"/>
                <a:gd name="T61" fmla="*/ 741 h 1902"/>
                <a:gd name="T62" fmla="*/ 288 w 1967"/>
                <a:gd name="T63" fmla="*/ 525 h 1902"/>
                <a:gd name="T64" fmla="*/ 543 w 1967"/>
                <a:gd name="T65" fmla="*/ 250 h 1902"/>
                <a:gd name="T66" fmla="*/ 763 w 1967"/>
                <a:gd name="T67" fmla="*/ 168 h 1902"/>
                <a:gd name="T68" fmla="*/ 860 w 1967"/>
                <a:gd name="T69" fmla="*/ 137 h 1902"/>
                <a:gd name="T70" fmla="*/ 689 w 1967"/>
                <a:gd name="T71" fmla="*/ 152 h 1902"/>
                <a:gd name="T72" fmla="*/ 434 w 1967"/>
                <a:gd name="T73" fmla="*/ 262 h 1902"/>
                <a:gd name="T74" fmla="*/ 179 w 1967"/>
                <a:gd name="T75" fmla="*/ 575 h 1902"/>
                <a:gd name="T76" fmla="*/ 129 w 1967"/>
                <a:gd name="T77" fmla="*/ 750 h 1902"/>
                <a:gd name="T78" fmla="*/ 745 w 1967"/>
                <a:gd name="T79" fmla="*/ 1677 h 1902"/>
                <a:gd name="T80" fmla="*/ 600 w 1967"/>
                <a:gd name="T81" fmla="*/ 1646 h 1902"/>
                <a:gd name="T82" fmla="*/ 300 w 1967"/>
                <a:gd name="T83" fmla="*/ 1436 h 1902"/>
                <a:gd name="T84" fmla="*/ 179 w 1967"/>
                <a:gd name="T85" fmla="*/ 1205 h 1902"/>
                <a:gd name="T86" fmla="*/ 152 w 1967"/>
                <a:gd name="T87" fmla="*/ 1042 h 1902"/>
                <a:gd name="T88" fmla="*/ 136 w 1967"/>
                <a:gd name="T89" fmla="*/ 1144 h 1902"/>
                <a:gd name="T90" fmla="*/ 205 w 1967"/>
                <a:gd name="T91" fmla="*/ 1381 h 1902"/>
                <a:gd name="T92" fmla="*/ 484 w 1967"/>
                <a:gd name="T93" fmla="*/ 1681 h 1902"/>
                <a:gd name="T94" fmla="*/ 725 w 1967"/>
                <a:gd name="T95" fmla="*/ 1769 h 1902"/>
                <a:gd name="T96" fmla="*/ 745 w 1967"/>
                <a:gd name="T97" fmla="*/ 1558 h 1902"/>
                <a:gd name="T98" fmla="*/ 1741 w 1967"/>
                <a:gd name="T99" fmla="*/ 1169 h 1902"/>
                <a:gd name="T100" fmla="*/ 1710 w 1967"/>
                <a:gd name="T101" fmla="*/ 1314 h 1902"/>
                <a:gd name="T102" fmla="*/ 1500 w 1967"/>
                <a:gd name="T103" fmla="*/ 1614 h 1902"/>
                <a:gd name="T104" fmla="*/ 1269 w 1967"/>
                <a:gd name="T105" fmla="*/ 1735 h 1902"/>
                <a:gd name="T106" fmla="*/ 1106 w 1967"/>
                <a:gd name="T107" fmla="*/ 1762 h 1902"/>
                <a:gd name="T108" fmla="*/ 1208 w 1967"/>
                <a:gd name="T109" fmla="*/ 1778 h 1902"/>
                <a:gd name="T110" fmla="*/ 1446 w 1967"/>
                <a:gd name="T111" fmla="*/ 1709 h 1902"/>
                <a:gd name="T112" fmla="*/ 1745 w 1967"/>
                <a:gd name="T113" fmla="*/ 1430 h 1902"/>
                <a:gd name="T114" fmla="*/ 1833 w 1967"/>
                <a:gd name="T115" fmla="*/ 1189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67" h="1902">
                  <a:moveTo>
                    <a:pt x="1595" y="951"/>
                  </a:moveTo>
                  <a:cubicBezTo>
                    <a:pt x="1595" y="907"/>
                    <a:pt x="1590" y="863"/>
                    <a:pt x="1580" y="821"/>
                  </a:cubicBezTo>
                  <a:cubicBezTo>
                    <a:pt x="1570" y="774"/>
                    <a:pt x="1554" y="730"/>
                    <a:pt x="1534" y="687"/>
                  </a:cubicBezTo>
                  <a:cubicBezTo>
                    <a:pt x="1521" y="660"/>
                    <a:pt x="1507" y="634"/>
                    <a:pt x="1490" y="610"/>
                  </a:cubicBezTo>
                  <a:cubicBezTo>
                    <a:pt x="1474" y="585"/>
                    <a:pt x="1455" y="563"/>
                    <a:pt x="1435" y="541"/>
                  </a:cubicBezTo>
                  <a:cubicBezTo>
                    <a:pt x="1323" y="418"/>
                    <a:pt x="1162" y="340"/>
                    <a:pt x="983" y="340"/>
                  </a:cubicBezTo>
                  <a:cubicBezTo>
                    <a:pt x="854" y="340"/>
                    <a:pt x="734" y="381"/>
                    <a:pt x="635" y="450"/>
                  </a:cubicBezTo>
                  <a:cubicBezTo>
                    <a:pt x="626" y="450"/>
                    <a:pt x="626" y="450"/>
                    <a:pt x="626" y="450"/>
                  </a:cubicBezTo>
                  <a:cubicBezTo>
                    <a:pt x="626" y="452"/>
                    <a:pt x="626" y="454"/>
                    <a:pt x="627" y="456"/>
                  </a:cubicBezTo>
                  <a:cubicBezTo>
                    <a:pt x="572" y="495"/>
                    <a:pt x="524" y="543"/>
                    <a:pt x="485" y="599"/>
                  </a:cubicBezTo>
                  <a:cubicBezTo>
                    <a:pt x="479" y="607"/>
                    <a:pt x="473" y="616"/>
                    <a:pt x="467" y="626"/>
                  </a:cubicBezTo>
                  <a:cubicBezTo>
                    <a:pt x="451" y="650"/>
                    <a:pt x="437" y="675"/>
                    <a:pt x="426" y="702"/>
                  </a:cubicBezTo>
                  <a:cubicBezTo>
                    <a:pt x="402" y="754"/>
                    <a:pt x="386" y="811"/>
                    <a:pt x="378" y="870"/>
                  </a:cubicBezTo>
                  <a:cubicBezTo>
                    <a:pt x="374" y="897"/>
                    <a:pt x="372" y="924"/>
                    <a:pt x="372" y="951"/>
                  </a:cubicBezTo>
                  <a:cubicBezTo>
                    <a:pt x="372" y="1289"/>
                    <a:pt x="646" y="1563"/>
                    <a:pt x="983" y="1563"/>
                  </a:cubicBezTo>
                  <a:cubicBezTo>
                    <a:pt x="1320" y="1563"/>
                    <a:pt x="1595" y="1289"/>
                    <a:pt x="1595" y="951"/>
                  </a:cubicBezTo>
                  <a:close/>
                  <a:moveTo>
                    <a:pt x="1501" y="919"/>
                  </a:moveTo>
                  <a:cubicBezTo>
                    <a:pt x="1463" y="1059"/>
                    <a:pt x="1358" y="1175"/>
                    <a:pt x="1220" y="1238"/>
                  </a:cubicBezTo>
                  <a:cubicBezTo>
                    <a:pt x="1257" y="1161"/>
                    <a:pt x="1280" y="1076"/>
                    <a:pt x="1286" y="985"/>
                  </a:cubicBezTo>
                  <a:cubicBezTo>
                    <a:pt x="1365" y="938"/>
                    <a:pt x="1432" y="875"/>
                    <a:pt x="1480" y="800"/>
                  </a:cubicBezTo>
                  <a:cubicBezTo>
                    <a:pt x="1492" y="838"/>
                    <a:pt x="1499" y="878"/>
                    <a:pt x="1501" y="919"/>
                  </a:cubicBezTo>
                  <a:close/>
                  <a:moveTo>
                    <a:pt x="1451" y="727"/>
                  </a:moveTo>
                  <a:cubicBezTo>
                    <a:pt x="1414" y="801"/>
                    <a:pt x="1357" y="864"/>
                    <a:pt x="1286" y="912"/>
                  </a:cubicBezTo>
                  <a:cubicBezTo>
                    <a:pt x="1283" y="831"/>
                    <a:pt x="1267" y="754"/>
                    <a:pt x="1239" y="682"/>
                  </a:cubicBezTo>
                  <a:cubicBezTo>
                    <a:pt x="1272" y="645"/>
                    <a:pt x="1298" y="600"/>
                    <a:pt x="1313" y="550"/>
                  </a:cubicBezTo>
                  <a:cubicBezTo>
                    <a:pt x="1371" y="598"/>
                    <a:pt x="1418" y="658"/>
                    <a:pt x="1451" y="727"/>
                  </a:cubicBezTo>
                  <a:close/>
                  <a:moveTo>
                    <a:pt x="1252" y="508"/>
                  </a:moveTo>
                  <a:cubicBezTo>
                    <a:pt x="1244" y="546"/>
                    <a:pt x="1228" y="582"/>
                    <a:pt x="1206" y="612"/>
                  </a:cubicBezTo>
                  <a:cubicBezTo>
                    <a:pt x="1172" y="547"/>
                    <a:pt x="1127" y="489"/>
                    <a:pt x="1075" y="440"/>
                  </a:cubicBezTo>
                  <a:cubicBezTo>
                    <a:pt x="1139" y="452"/>
                    <a:pt x="1199" y="475"/>
                    <a:pt x="1252" y="508"/>
                  </a:cubicBezTo>
                  <a:close/>
                  <a:moveTo>
                    <a:pt x="977" y="1005"/>
                  </a:moveTo>
                  <a:cubicBezTo>
                    <a:pt x="895" y="1005"/>
                    <a:pt x="818" y="988"/>
                    <a:pt x="749" y="957"/>
                  </a:cubicBezTo>
                  <a:cubicBezTo>
                    <a:pt x="748" y="951"/>
                    <a:pt x="748" y="945"/>
                    <a:pt x="748" y="939"/>
                  </a:cubicBezTo>
                  <a:cubicBezTo>
                    <a:pt x="748" y="869"/>
                    <a:pt x="759" y="802"/>
                    <a:pt x="780" y="739"/>
                  </a:cubicBezTo>
                  <a:cubicBezTo>
                    <a:pt x="836" y="778"/>
                    <a:pt x="904" y="801"/>
                    <a:pt x="977" y="801"/>
                  </a:cubicBezTo>
                  <a:cubicBezTo>
                    <a:pt x="1054" y="801"/>
                    <a:pt x="1126" y="775"/>
                    <a:pt x="1184" y="733"/>
                  </a:cubicBezTo>
                  <a:cubicBezTo>
                    <a:pt x="1206" y="797"/>
                    <a:pt x="1218" y="866"/>
                    <a:pt x="1218" y="939"/>
                  </a:cubicBezTo>
                  <a:cubicBezTo>
                    <a:pt x="1218" y="943"/>
                    <a:pt x="1218" y="947"/>
                    <a:pt x="1218" y="951"/>
                  </a:cubicBezTo>
                  <a:cubicBezTo>
                    <a:pt x="1146" y="986"/>
                    <a:pt x="1064" y="1005"/>
                    <a:pt x="977" y="1005"/>
                  </a:cubicBezTo>
                  <a:close/>
                  <a:moveTo>
                    <a:pt x="1213" y="1020"/>
                  </a:moveTo>
                  <a:cubicBezTo>
                    <a:pt x="1201" y="1114"/>
                    <a:pt x="1169" y="1200"/>
                    <a:pt x="1122" y="1273"/>
                  </a:cubicBezTo>
                  <a:cubicBezTo>
                    <a:pt x="1076" y="1285"/>
                    <a:pt x="1027" y="1292"/>
                    <a:pt x="977" y="1292"/>
                  </a:cubicBezTo>
                  <a:cubicBezTo>
                    <a:pt x="932" y="1292"/>
                    <a:pt x="888" y="1286"/>
                    <a:pt x="846" y="1277"/>
                  </a:cubicBezTo>
                  <a:cubicBezTo>
                    <a:pt x="799" y="1204"/>
                    <a:pt x="767" y="1118"/>
                    <a:pt x="754" y="1026"/>
                  </a:cubicBezTo>
                  <a:cubicBezTo>
                    <a:pt x="823" y="1052"/>
                    <a:pt x="898" y="1067"/>
                    <a:pt x="977" y="1067"/>
                  </a:cubicBezTo>
                  <a:cubicBezTo>
                    <a:pt x="1061" y="1067"/>
                    <a:pt x="1141" y="1050"/>
                    <a:pt x="1213" y="1020"/>
                  </a:cubicBezTo>
                  <a:close/>
                  <a:moveTo>
                    <a:pt x="983" y="455"/>
                  </a:moveTo>
                  <a:cubicBezTo>
                    <a:pt x="1056" y="508"/>
                    <a:pt x="1115" y="581"/>
                    <a:pt x="1156" y="666"/>
                  </a:cubicBezTo>
                  <a:cubicBezTo>
                    <a:pt x="1108" y="707"/>
                    <a:pt x="1045" y="731"/>
                    <a:pt x="977" y="731"/>
                  </a:cubicBezTo>
                  <a:cubicBezTo>
                    <a:pt x="913" y="731"/>
                    <a:pt x="854" y="710"/>
                    <a:pt x="807" y="673"/>
                  </a:cubicBezTo>
                  <a:cubicBezTo>
                    <a:pt x="848" y="585"/>
                    <a:pt x="909" y="510"/>
                    <a:pt x="983" y="455"/>
                  </a:cubicBezTo>
                  <a:close/>
                  <a:moveTo>
                    <a:pt x="891" y="440"/>
                  </a:moveTo>
                  <a:cubicBezTo>
                    <a:pt x="837" y="491"/>
                    <a:pt x="790" y="553"/>
                    <a:pt x="755" y="622"/>
                  </a:cubicBezTo>
                  <a:cubicBezTo>
                    <a:pt x="731" y="590"/>
                    <a:pt x="713" y="554"/>
                    <a:pt x="703" y="515"/>
                  </a:cubicBezTo>
                  <a:cubicBezTo>
                    <a:pt x="760" y="478"/>
                    <a:pt x="823" y="453"/>
                    <a:pt x="891" y="440"/>
                  </a:cubicBezTo>
                  <a:close/>
                  <a:moveTo>
                    <a:pt x="644" y="559"/>
                  </a:moveTo>
                  <a:cubicBezTo>
                    <a:pt x="660" y="609"/>
                    <a:pt x="688" y="654"/>
                    <a:pt x="724" y="692"/>
                  </a:cubicBezTo>
                  <a:cubicBezTo>
                    <a:pt x="697" y="762"/>
                    <a:pt x="682" y="839"/>
                    <a:pt x="680" y="920"/>
                  </a:cubicBezTo>
                  <a:cubicBezTo>
                    <a:pt x="608" y="874"/>
                    <a:pt x="549" y="812"/>
                    <a:pt x="510" y="739"/>
                  </a:cubicBezTo>
                  <a:cubicBezTo>
                    <a:pt x="541" y="670"/>
                    <a:pt x="587" y="608"/>
                    <a:pt x="644" y="559"/>
                  </a:cubicBezTo>
                  <a:close/>
                  <a:moveTo>
                    <a:pt x="464" y="951"/>
                  </a:moveTo>
                  <a:cubicBezTo>
                    <a:pt x="464" y="904"/>
                    <a:pt x="471" y="857"/>
                    <a:pt x="483" y="813"/>
                  </a:cubicBezTo>
                  <a:cubicBezTo>
                    <a:pt x="533" y="886"/>
                    <a:pt x="601" y="948"/>
                    <a:pt x="681" y="992"/>
                  </a:cubicBezTo>
                  <a:cubicBezTo>
                    <a:pt x="688" y="1083"/>
                    <a:pt x="712" y="1169"/>
                    <a:pt x="750" y="1245"/>
                  </a:cubicBezTo>
                  <a:cubicBezTo>
                    <a:pt x="616" y="1189"/>
                    <a:pt x="511" y="1083"/>
                    <a:pt x="464" y="954"/>
                  </a:cubicBezTo>
                  <a:cubicBezTo>
                    <a:pt x="464" y="953"/>
                    <a:pt x="464" y="952"/>
                    <a:pt x="464" y="951"/>
                  </a:cubicBezTo>
                  <a:close/>
                  <a:moveTo>
                    <a:pt x="916" y="1466"/>
                  </a:moveTo>
                  <a:cubicBezTo>
                    <a:pt x="725" y="1441"/>
                    <a:pt x="567" y="1313"/>
                    <a:pt x="499" y="1139"/>
                  </a:cubicBezTo>
                  <a:cubicBezTo>
                    <a:pt x="575" y="1229"/>
                    <a:pt x="679" y="1296"/>
                    <a:pt x="799" y="1331"/>
                  </a:cubicBezTo>
                  <a:cubicBezTo>
                    <a:pt x="832" y="1378"/>
                    <a:pt x="870" y="1420"/>
                    <a:pt x="913" y="1456"/>
                  </a:cubicBezTo>
                  <a:cubicBezTo>
                    <a:pt x="917" y="1458"/>
                    <a:pt x="922" y="1459"/>
                    <a:pt x="927" y="1461"/>
                  </a:cubicBezTo>
                  <a:cubicBezTo>
                    <a:pt x="923" y="1463"/>
                    <a:pt x="920" y="1464"/>
                    <a:pt x="916" y="1466"/>
                  </a:cubicBezTo>
                  <a:close/>
                  <a:moveTo>
                    <a:pt x="983" y="1424"/>
                  </a:moveTo>
                  <a:cubicBezTo>
                    <a:pt x="954" y="1402"/>
                    <a:pt x="927" y="1378"/>
                    <a:pt x="903" y="1351"/>
                  </a:cubicBezTo>
                  <a:cubicBezTo>
                    <a:pt x="927" y="1354"/>
                    <a:pt x="952" y="1355"/>
                    <a:pt x="977" y="1355"/>
                  </a:cubicBezTo>
                  <a:cubicBezTo>
                    <a:pt x="1007" y="1355"/>
                    <a:pt x="1036" y="1353"/>
                    <a:pt x="1065" y="1349"/>
                  </a:cubicBezTo>
                  <a:cubicBezTo>
                    <a:pt x="1040" y="1377"/>
                    <a:pt x="1013" y="1402"/>
                    <a:pt x="983" y="1424"/>
                  </a:cubicBezTo>
                  <a:close/>
                  <a:moveTo>
                    <a:pt x="1050" y="1466"/>
                  </a:moveTo>
                  <a:cubicBezTo>
                    <a:pt x="1047" y="1464"/>
                    <a:pt x="1043" y="1463"/>
                    <a:pt x="1040" y="1461"/>
                  </a:cubicBezTo>
                  <a:cubicBezTo>
                    <a:pt x="1044" y="1459"/>
                    <a:pt x="1049" y="1458"/>
                    <a:pt x="1053" y="1456"/>
                  </a:cubicBezTo>
                  <a:cubicBezTo>
                    <a:pt x="1097" y="1419"/>
                    <a:pt x="1137" y="1375"/>
                    <a:pt x="1170" y="1326"/>
                  </a:cubicBezTo>
                  <a:cubicBezTo>
                    <a:pt x="1296" y="1287"/>
                    <a:pt x="1404" y="1211"/>
                    <a:pt x="1477" y="1112"/>
                  </a:cubicBezTo>
                  <a:cubicBezTo>
                    <a:pt x="1416" y="1299"/>
                    <a:pt x="1251" y="1440"/>
                    <a:pt x="1050" y="1466"/>
                  </a:cubicBezTo>
                  <a:close/>
                  <a:moveTo>
                    <a:pt x="1192" y="344"/>
                  </a:moveTo>
                  <a:cubicBezTo>
                    <a:pt x="968" y="172"/>
                    <a:pt x="968" y="172"/>
                    <a:pt x="968" y="172"/>
                  </a:cubicBezTo>
                  <a:cubicBezTo>
                    <a:pt x="1192" y="0"/>
                    <a:pt x="1192" y="0"/>
                    <a:pt x="1192" y="0"/>
                  </a:cubicBezTo>
                  <a:cubicBezTo>
                    <a:pt x="1192" y="130"/>
                    <a:pt x="1192" y="130"/>
                    <a:pt x="1192" y="130"/>
                  </a:cubicBezTo>
                  <a:cubicBezTo>
                    <a:pt x="1198" y="131"/>
                    <a:pt x="1204" y="132"/>
                    <a:pt x="1211" y="134"/>
                  </a:cubicBezTo>
                  <a:cubicBezTo>
                    <a:pt x="1234" y="137"/>
                    <a:pt x="1259" y="142"/>
                    <a:pt x="1284" y="150"/>
                  </a:cubicBezTo>
                  <a:cubicBezTo>
                    <a:pt x="1297" y="154"/>
                    <a:pt x="1311" y="158"/>
                    <a:pt x="1325" y="162"/>
                  </a:cubicBezTo>
                  <a:cubicBezTo>
                    <a:pt x="1338" y="168"/>
                    <a:pt x="1352" y="174"/>
                    <a:pt x="1366" y="179"/>
                  </a:cubicBezTo>
                  <a:cubicBezTo>
                    <a:pt x="1395" y="190"/>
                    <a:pt x="1423" y="207"/>
                    <a:pt x="1453" y="222"/>
                  </a:cubicBezTo>
                  <a:cubicBezTo>
                    <a:pt x="1480" y="241"/>
                    <a:pt x="1510" y="258"/>
                    <a:pt x="1537" y="281"/>
                  </a:cubicBezTo>
                  <a:cubicBezTo>
                    <a:pt x="1565" y="302"/>
                    <a:pt x="1589" y="328"/>
                    <a:pt x="1615" y="352"/>
                  </a:cubicBezTo>
                  <a:cubicBezTo>
                    <a:pt x="1637" y="380"/>
                    <a:pt x="1661" y="405"/>
                    <a:pt x="1680" y="435"/>
                  </a:cubicBezTo>
                  <a:cubicBezTo>
                    <a:pt x="1701" y="462"/>
                    <a:pt x="1715" y="493"/>
                    <a:pt x="1732" y="521"/>
                  </a:cubicBezTo>
                  <a:cubicBezTo>
                    <a:pt x="1744" y="552"/>
                    <a:pt x="1759" y="580"/>
                    <a:pt x="1767" y="609"/>
                  </a:cubicBezTo>
                  <a:cubicBezTo>
                    <a:pt x="1772" y="623"/>
                    <a:pt x="1776" y="637"/>
                    <a:pt x="1780" y="650"/>
                  </a:cubicBezTo>
                  <a:cubicBezTo>
                    <a:pt x="1784" y="664"/>
                    <a:pt x="1787" y="677"/>
                    <a:pt x="1789" y="689"/>
                  </a:cubicBezTo>
                  <a:cubicBezTo>
                    <a:pt x="1796" y="715"/>
                    <a:pt x="1798" y="738"/>
                    <a:pt x="1800" y="759"/>
                  </a:cubicBezTo>
                  <a:cubicBezTo>
                    <a:pt x="1801" y="770"/>
                    <a:pt x="1803" y="780"/>
                    <a:pt x="1804" y="788"/>
                  </a:cubicBezTo>
                  <a:cubicBezTo>
                    <a:pt x="1804" y="798"/>
                    <a:pt x="1804" y="806"/>
                    <a:pt x="1804" y="813"/>
                  </a:cubicBezTo>
                  <a:cubicBezTo>
                    <a:pt x="1804" y="843"/>
                    <a:pt x="1805" y="861"/>
                    <a:pt x="1805" y="861"/>
                  </a:cubicBezTo>
                  <a:cubicBezTo>
                    <a:pt x="1784" y="861"/>
                    <a:pt x="1784" y="861"/>
                    <a:pt x="1784" y="861"/>
                  </a:cubicBezTo>
                  <a:cubicBezTo>
                    <a:pt x="1784" y="861"/>
                    <a:pt x="1783" y="844"/>
                    <a:pt x="1780" y="815"/>
                  </a:cubicBezTo>
                  <a:cubicBezTo>
                    <a:pt x="1780" y="808"/>
                    <a:pt x="1779" y="800"/>
                    <a:pt x="1778" y="791"/>
                  </a:cubicBezTo>
                  <a:cubicBezTo>
                    <a:pt x="1777" y="783"/>
                    <a:pt x="1775" y="773"/>
                    <a:pt x="1773" y="763"/>
                  </a:cubicBezTo>
                  <a:cubicBezTo>
                    <a:pt x="1769" y="743"/>
                    <a:pt x="1765" y="721"/>
                    <a:pt x="1757" y="698"/>
                  </a:cubicBezTo>
                  <a:cubicBezTo>
                    <a:pt x="1754" y="686"/>
                    <a:pt x="1750" y="673"/>
                    <a:pt x="1746" y="661"/>
                  </a:cubicBezTo>
                  <a:cubicBezTo>
                    <a:pt x="1741" y="648"/>
                    <a:pt x="1736" y="636"/>
                    <a:pt x="1731" y="623"/>
                  </a:cubicBezTo>
                  <a:cubicBezTo>
                    <a:pt x="1721" y="596"/>
                    <a:pt x="1705" y="571"/>
                    <a:pt x="1691" y="543"/>
                  </a:cubicBezTo>
                  <a:cubicBezTo>
                    <a:pt x="1674" y="518"/>
                    <a:pt x="1658" y="491"/>
                    <a:pt x="1637" y="467"/>
                  </a:cubicBezTo>
                  <a:cubicBezTo>
                    <a:pt x="1618" y="441"/>
                    <a:pt x="1594" y="419"/>
                    <a:pt x="1571" y="396"/>
                  </a:cubicBezTo>
                  <a:cubicBezTo>
                    <a:pt x="1546" y="375"/>
                    <a:pt x="1523" y="353"/>
                    <a:pt x="1496" y="336"/>
                  </a:cubicBezTo>
                  <a:cubicBezTo>
                    <a:pt x="1471" y="317"/>
                    <a:pt x="1442" y="304"/>
                    <a:pt x="1416" y="289"/>
                  </a:cubicBezTo>
                  <a:cubicBezTo>
                    <a:pt x="1389" y="278"/>
                    <a:pt x="1363" y="264"/>
                    <a:pt x="1337" y="257"/>
                  </a:cubicBezTo>
                  <a:cubicBezTo>
                    <a:pt x="1324" y="253"/>
                    <a:pt x="1311" y="249"/>
                    <a:pt x="1299" y="245"/>
                  </a:cubicBezTo>
                  <a:cubicBezTo>
                    <a:pt x="1286" y="242"/>
                    <a:pt x="1274" y="239"/>
                    <a:pt x="1263" y="237"/>
                  </a:cubicBezTo>
                  <a:cubicBezTo>
                    <a:pt x="1239" y="231"/>
                    <a:pt x="1219" y="229"/>
                    <a:pt x="1200" y="227"/>
                  </a:cubicBezTo>
                  <a:cubicBezTo>
                    <a:pt x="1197" y="227"/>
                    <a:pt x="1195" y="227"/>
                    <a:pt x="1192" y="226"/>
                  </a:cubicBezTo>
                  <a:lnTo>
                    <a:pt x="1192" y="344"/>
                  </a:lnTo>
                  <a:close/>
                  <a:moveTo>
                    <a:pt x="344" y="750"/>
                  </a:moveTo>
                  <a:cubicBezTo>
                    <a:pt x="226" y="750"/>
                    <a:pt x="226" y="750"/>
                    <a:pt x="226" y="750"/>
                  </a:cubicBezTo>
                  <a:cubicBezTo>
                    <a:pt x="226" y="747"/>
                    <a:pt x="226" y="744"/>
                    <a:pt x="227" y="741"/>
                  </a:cubicBezTo>
                  <a:cubicBezTo>
                    <a:pt x="229" y="723"/>
                    <a:pt x="230" y="702"/>
                    <a:pt x="236" y="679"/>
                  </a:cubicBezTo>
                  <a:cubicBezTo>
                    <a:pt x="239" y="667"/>
                    <a:pt x="242" y="655"/>
                    <a:pt x="244" y="642"/>
                  </a:cubicBezTo>
                  <a:cubicBezTo>
                    <a:pt x="248" y="630"/>
                    <a:pt x="252" y="617"/>
                    <a:pt x="256" y="605"/>
                  </a:cubicBezTo>
                  <a:cubicBezTo>
                    <a:pt x="263" y="578"/>
                    <a:pt x="277" y="553"/>
                    <a:pt x="288" y="525"/>
                  </a:cubicBezTo>
                  <a:cubicBezTo>
                    <a:pt x="303" y="499"/>
                    <a:pt x="317" y="471"/>
                    <a:pt x="336" y="445"/>
                  </a:cubicBezTo>
                  <a:cubicBezTo>
                    <a:pt x="353" y="418"/>
                    <a:pt x="374" y="395"/>
                    <a:pt x="395" y="370"/>
                  </a:cubicBezTo>
                  <a:cubicBezTo>
                    <a:pt x="418" y="347"/>
                    <a:pt x="440" y="323"/>
                    <a:pt x="466" y="304"/>
                  </a:cubicBezTo>
                  <a:cubicBezTo>
                    <a:pt x="490" y="283"/>
                    <a:pt x="518" y="267"/>
                    <a:pt x="543" y="250"/>
                  </a:cubicBezTo>
                  <a:cubicBezTo>
                    <a:pt x="570" y="236"/>
                    <a:pt x="595" y="220"/>
                    <a:pt x="622" y="211"/>
                  </a:cubicBezTo>
                  <a:cubicBezTo>
                    <a:pt x="635" y="205"/>
                    <a:pt x="648" y="200"/>
                    <a:pt x="660" y="195"/>
                  </a:cubicBezTo>
                  <a:cubicBezTo>
                    <a:pt x="673" y="191"/>
                    <a:pt x="685" y="187"/>
                    <a:pt x="697" y="184"/>
                  </a:cubicBezTo>
                  <a:cubicBezTo>
                    <a:pt x="721" y="176"/>
                    <a:pt x="743" y="172"/>
                    <a:pt x="763" y="168"/>
                  </a:cubicBezTo>
                  <a:cubicBezTo>
                    <a:pt x="773" y="166"/>
                    <a:pt x="782" y="165"/>
                    <a:pt x="791" y="163"/>
                  </a:cubicBezTo>
                  <a:cubicBezTo>
                    <a:pt x="799" y="162"/>
                    <a:pt x="807" y="161"/>
                    <a:pt x="814" y="161"/>
                  </a:cubicBezTo>
                  <a:cubicBezTo>
                    <a:pt x="843" y="158"/>
                    <a:pt x="860" y="157"/>
                    <a:pt x="860" y="157"/>
                  </a:cubicBezTo>
                  <a:cubicBezTo>
                    <a:pt x="860" y="137"/>
                    <a:pt x="860" y="137"/>
                    <a:pt x="860" y="137"/>
                  </a:cubicBezTo>
                  <a:cubicBezTo>
                    <a:pt x="860" y="137"/>
                    <a:pt x="843" y="137"/>
                    <a:pt x="813" y="137"/>
                  </a:cubicBezTo>
                  <a:cubicBezTo>
                    <a:pt x="805" y="137"/>
                    <a:pt x="797" y="137"/>
                    <a:pt x="788" y="137"/>
                  </a:cubicBezTo>
                  <a:cubicBezTo>
                    <a:pt x="779" y="138"/>
                    <a:pt x="769" y="140"/>
                    <a:pt x="759" y="141"/>
                  </a:cubicBezTo>
                  <a:cubicBezTo>
                    <a:pt x="738" y="143"/>
                    <a:pt x="714" y="145"/>
                    <a:pt x="689" y="152"/>
                  </a:cubicBezTo>
                  <a:cubicBezTo>
                    <a:pt x="676" y="155"/>
                    <a:pt x="663" y="158"/>
                    <a:pt x="649" y="161"/>
                  </a:cubicBezTo>
                  <a:cubicBezTo>
                    <a:pt x="636" y="165"/>
                    <a:pt x="622" y="169"/>
                    <a:pt x="608" y="174"/>
                  </a:cubicBezTo>
                  <a:cubicBezTo>
                    <a:pt x="579" y="182"/>
                    <a:pt x="551" y="197"/>
                    <a:pt x="521" y="210"/>
                  </a:cubicBezTo>
                  <a:cubicBezTo>
                    <a:pt x="493" y="226"/>
                    <a:pt x="462" y="241"/>
                    <a:pt x="434" y="262"/>
                  </a:cubicBezTo>
                  <a:cubicBezTo>
                    <a:pt x="405" y="280"/>
                    <a:pt x="379" y="304"/>
                    <a:pt x="352" y="327"/>
                  </a:cubicBezTo>
                  <a:cubicBezTo>
                    <a:pt x="327" y="352"/>
                    <a:pt x="302" y="376"/>
                    <a:pt x="281" y="404"/>
                  </a:cubicBezTo>
                  <a:cubicBezTo>
                    <a:pt x="258" y="431"/>
                    <a:pt x="240" y="461"/>
                    <a:pt x="222" y="488"/>
                  </a:cubicBezTo>
                  <a:cubicBezTo>
                    <a:pt x="207" y="518"/>
                    <a:pt x="189" y="546"/>
                    <a:pt x="179" y="575"/>
                  </a:cubicBezTo>
                  <a:cubicBezTo>
                    <a:pt x="173" y="589"/>
                    <a:pt x="167" y="603"/>
                    <a:pt x="162" y="617"/>
                  </a:cubicBezTo>
                  <a:cubicBezTo>
                    <a:pt x="158" y="630"/>
                    <a:pt x="154" y="644"/>
                    <a:pt x="150" y="657"/>
                  </a:cubicBezTo>
                  <a:cubicBezTo>
                    <a:pt x="141" y="682"/>
                    <a:pt x="137" y="708"/>
                    <a:pt x="133" y="730"/>
                  </a:cubicBezTo>
                  <a:cubicBezTo>
                    <a:pt x="132" y="737"/>
                    <a:pt x="131" y="743"/>
                    <a:pt x="129" y="750"/>
                  </a:cubicBezTo>
                  <a:cubicBezTo>
                    <a:pt x="0" y="750"/>
                    <a:pt x="0" y="750"/>
                    <a:pt x="0" y="750"/>
                  </a:cubicBezTo>
                  <a:cubicBezTo>
                    <a:pt x="172" y="973"/>
                    <a:pt x="172" y="973"/>
                    <a:pt x="172" y="973"/>
                  </a:cubicBezTo>
                  <a:lnTo>
                    <a:pt x="344" y="750"/>
                  </a:lnTo>
                  <a:close/>
                  <a:moveTo>
                    <a:pt x="745" y="1677"/>
                  </a:moveTo>
                  <a:cubicBezTo>
                    <a:pt x="742" y="1676"/>
                    <a:pt x="739" y="1676"/>
                    <a:pt x="736" y="1675"/>
                  </a:cubicBezTo>
                  <a:cubicBezTo>
                    <a:pt x="718" y="1674"/>
                    <a:pt x="697" y="1672"/>
                    <a:pt x="674" y="1666"/>
                  </a:cubicBezTo>
                  <a:cubicBezTo>
                    <a:pt x="662" y="1663"/>
                    <a:pt x="650" y="1661"/>
                    <a:pt x="637" y="1658"/>
                  </a:cubicBezTo>
                  <a:cubicBezTo>
                    <a:pt x="625" y="1654"/>
                    <a:pt x="613" y="1650"/>
                    <a:pt x="600" y="1646"/>
                  </a:cubicBezTo>
                  <a:cubicBezTo>
                    <a:pt x="573" y="1639"/>
                    <a:pt x="548" y="1625"/>
                    <a:pt x="520" y="1614"/>
                  </a:cubicBezTo>
                  <a:cubicBezTo>
                    <a:pt x="494" y="1599"/>
                    <a:pt x="466" y="1586"/>
                    <a:pt x="440" y="1567"/>
                  </a:cubicBezTo>
                  <a:cubicBezTo>
                    <a:pt x="414" y="1550"/>
                    <a:pt x="390" y="1528"/>
                    <a:pt x="365" y="1507"/>
                  </a:cubicBezTo>
                  <a:cubicBezTo>
                    <a:pt x="342" y="1484"/>
                    <a:pt x="319" y="1462"/>
                    <a:pt x="300" y="1436"/>
                  </a:cubicBezTo>
                  <a:cubicBezTo>
                    <a:pt x="278" y="1412"/>
                    <a:pt x="262" y="1385"/>
                    <a:pt x="245" y="1359"/>
                  </a:cubicBezTo>
                  <a:cubicBezTo>
                    <a:pt x="232" y="1332"/>
                    <a:pt x="215" y="1307"/>
                    <a:pt x="206" y="1280"/>
                  </a:cubicBezTo>
                  <a:cubicBezTo>
                    <a:pt x="200" y="1267"/>
                    <a:pt x="195" y="1254"/>
                    <a:pt x="190" y="1242"/>
                  </a:cubicBezTo>
                  <a:cubicBezTo>
                    <a:pt x="186" y="1229"/>
                    <a:pt x="183" y="1217"/>
                    <a:pt x="179" y="1205"/>
                  </a:cubicBezTo>
                  <a:cubicBezTo>
                    <a:pt x="171" y="1182"/>
                    <a:pt x="167" y="1159"/>
                    <a:pt x="163" y="1140"/>
                  </a:cubicBezTo>
                  <a:cubicBezTo>
                    <a:pt x="161" y="1130"/>
                    <a:pt x="160" y="1120"/>
                    <a:pt x="158" y="1112"/>
                  </a:cubicBezTo>
                  <a:cubicBezTo>
                    <a:pt x="157" y="1103"/>
                    <a:pt x="157" y="1095"/>
                    <a:pt x="156" y="1088"/>
                  </a:cubicBezTo>
                  <a:cubicBezTo>
                    <a:pt x="153" y="1059"/>
                    <a:pt x="152" y="1042"/>
                    <a:pt x="152" y="1042"/>
                  </a:cubicBezTo>
                  <a:cubicBezTo>
                    <a:pt x="132" y="1042"/>
                    <a:pt x="132" y="1042"/>
                    <a:pt x="132" y="1042"/>
                  </a:cubicBezTo>
                  <a:cubicBezTo>
                    <a:pt x="132" y="1042"/>
                    <a:pt x="132" y="1059"/>
                    <a:pt x="132" y="1089"/>
                  </a:cubicBezTo>
                  <a:cubicBezTo>
                    <a:pt x="132" y="1097"/>
                    <a:pt x="133" y="1105"/>
                    <a:pt x="133" y="1114"/>
                  </a:cubicBezTo>
                  <a:cubicBezTo>
                    <a:pt x="134" y="1123"/>
                    <a:pt x="135" y="1133"/>
                    <a:pt x="136" y="1144"/>
                  </a:cubicBezTo>
                  <a:cubicBezTo>
                    <a:pt x="138" y="1164"/>
                    <a:pt x="141" y="1188"/>
                    <a:pt x="147" y="1213"/>
                  </a:cubicBezTo>
                  <a:cubicBezTo>
                    <a:pt x="150" y="1226"/>
                    <a:pt x="153" y="1239"/>
                    <a:pt x="156" y="1253"/>
                  </a:cubicBezTo>
                  <a:cubicBezTo>
                    <a:pt x="160" y="1266"/>
                    <a:pt x="165" y="1280"/>
                    <a:pt x="169" y="1294"/>
                  </a:cubicBezTo>
                  <a:cubicBezTo>
                    <a:pt x="177" y="1323"/>
                    <a:pt x="192" y="1351"/>
                    <a:pt x="205" y="1381"/>
                  </a:cubicBezTo>
                  <a:cubicBezTo>
                    <a:pt x="221" y="1410"/>
                    <a:pt x="236" y="1440"/>
                    <a:pt x="257" y="1468"/>
                  </a:cubicBezTo>
                  <a:cubicBezTo>
                    <a:pt x="275" y="1497"/>
                    <a:pt x="299" y="1523"/>
                    <a:pt x="322" y="1550"/>
                  </a:cubicBezTo>
                  <a:cubicBezTo>
                    <a:pt x="347" y="1575"/>
                    <a:pt x="371" y="1601"/>
                    <a:pt x="400" y="1622"/>
                  </a:cubicBezTo>
                  <a:cubicBezTo>
                    <a:pt x="426" y="1645"/>
                    <a:pt x="456" y="1662"/>
                    <a:pt x="484" y="1681"/>
                  </a:cubicBezTo>
                  <a:cubicBezTo>
                    <a:pt x="513" y="1696"/>
                    <a:pt x="541" y="1713"/>
                    <a:pt x="570" y="1723"/>
                  </a:cubicBezTo>
                  <a:cubicBezTo>
                    <a:pt x="584" y="1729"/>
                    <a:pt x="598" y="1735"/>
                    <a:pt x="612" y="1740"/>
                  </a:cubicBezTo>
                  <a:cubicBezTo>
                    <a:pt x="626" y="1744"/>
                    <a:pt x="639" y="1748"/>
                    <a:pt x="652" y="1752"/>
                  </a:cubicBezTo>
                  <a:cubicBezTo>
                    <a:pt x="677" y="1761"/>
                    <a:pt x="703" y="1765"/>
                    <a:pt x="725" y="1769"/>
                  </a:cubicBezTo>
                  <a:cubicBezTo>
                    <a:pt x="732" y="1771"/>
                    <a:pt x="738" y="1772"/>
                    <a:pt x="745" y="1773"/>
                  </a:cubicBezTo>
                  <a:cubicBezTo>
                    <a:pt x="745" y="1902"/>
                    <a:pt x="745" y="1902"/>
                    <a:pt x="745" y="1902"/>
                  </a:cubicBezTo>
                  <a:cubicBezTo>
                    <a:pt x="968" y="1730"/>
                    <a:pt x="968" y="1730"/>
                    <a:pt x="968" y="1730"/>
                  </a:cubicBezTo>
                  <a:cubicBezTo>
                    <a:pt x="745" y="1558"/>
                    <a:pt x="745" y="1558"/>
                    <a:pt x="745" y="1558"/>
                  </a:cubicBezTo>
                  <a:lnTo>
                    <a:pt x="745" y="1677"/>
                  </a:lnTo>
                  <a:close/>
                  <a:moveTo>
                    <a:pt x="1795" y="946"/>
                  </a:moveTo>
                  <a:cubicBezTo>
                    <a:pt x="1623" y="1169"/>
                    <a:pt x="1623" y="1169"/>
                    <a:pt x="1623" y="1169"/>
                  </a:cubicBezTo>
                  <a:cubicBezTo>
                    <a:pt x="1741" y="1169"/>
                    <a:pt x="1741" y="1169"/>
                    <a:pt x="1741" y="1169"/>
                  </a:cubicBezTo>
                  <a:cubicBezTo>
                    <a:pt x="1740" y="1172"/>
                    <a:pt x="1740" y="1175"/>
                    <a:pt x="1740" y="1178"/>
                  </a:cubicBezTo>
                  <a:cubicBezTo>
                    <a:pt x="1738" y="1196"/>
                    <a:pt x="1736" y="1217"/>
                    <a:pt x="1730" y="1240"/>
                  </a:cubicBezTo>
                  <a:cubicBezTo>
                    <a:pt x="1728" y="1252"/>
                    <a:pt x="1725" y="1264"/>
                    <a:pt x="1722" y="1276"/>
                  </a:cubicBezTo>
                  <a:cubicBezTo>
                    <a:pt x="1718" y="1289"/>
                    <a:pt x="1714" y="1301"/>
                    <a:pt x="1710" y="1314"/>
                  </a:cubicBezTo>
                  <a:cubicBezTo>
                    <a:pt x="1703" y="1341"/>
                    <a:pt x="1689" y="1366"/>
                    <a:pt x="1678" y="1394"/>
                  </a:cubicBezTo>
                  <a:cubicBezTo>
                    <a:pt x="1663" y="1420"/>
                    <a:pt x="1650" y="1448"/>
                    <a:pt x="1631" y="1473"/>
                  </a:cubicBezTo>
                  <a:cubicBezTo>
                    <a:pt x="1614" y="1500"/>
                    <a:pt x="1592" y="1524"/>
                    <a:pt x="1571" y="1549"/>
                  </a:cubicBezTo>
                  <a:cubicBezTo>
                    <a:pt x="1548" y="1571"/>
                    <a:pt x="1526" y="1595"/>
                    <a:pt x="1500" y="1614"/>
                  </a:cubicBezTo>
                  <a:cubicBezTo>
                    <a:pt x="1476" y="1636"/>
                    <a:pt x="1449" y="1651"/>
                    <a:pt x="1424" y="1669"/>
                  </a:cubicBezTo>
                  <a:cubicBezTo>
                    <a:pt x="1396" y="1682"/>
                    <a:pt x="1371" y="1699"/>
                    <a:pt x="1344" y="1708"/>
                  </a:cubicBezTo>
                  <a:cubicBezTo>
                    <a:pt x="1331" y="1713"/>
                    <a:pt x="1319" y="1719"/>
                    <a:pt x="1306" y="1724"/>
                  </a:cubicBezTo>
                  <a:cubicBezTo>
                    <a:pt x="1294" y="1728"/>
                    <a:pt x="1281" y="1731"/>
                    <a:pt x="1269" y="1735"/>
                  </a:cubicBezTo>
                  <a:cubicBezTo>
                    <a:pt x="1246" y="1743"/>
                    <a:pt x="1224" y="1747"/>
                    <a:pt x="1204" y="1751"/>
                  </a:cubicBezTo>
                  <a:cubicBezTo>
                    <a:pt x="1194" y="1752"/>
                    <a:pt x="1185" y="1754"/>
                    <a:pt x="1176" y="1756"/>
                  </a:cubicBezTo>
                  <a:cubicBezTo>
                    <a:pt x="1167" y="1757"/>
                    <a:pt x="1159" y="1757"/>
                    <a:pt x="1152" y="1758"/>
                  </a:cubicBezTo>
                  <a:cubicBezTo>
                    <a:pt x="1123" y="1761"/>
                    <a:pt x="1106" y="1762"/>
                    <a:pt x="1106" y="1762"/>
                  </a:cubicBezTo>
                  <a:cubicBezTo>
                    <a:pt x="1106" y="1782"/>
                    <a:pt x="1106" y="1782"/>
                    <a:pt x="1106" y="1782"/>
                  </a:cubicBezTo>
                  <a:cubicBezTo>
                    <a:pt x="1106" y="1782"/>
                    <a:pt x="1124" y="1782"/>
                    <a:pt x="1154" y="1782"/>
                  </a:cubicBezTo>
                  <a:cubicBezTo>
                    <a:pt x="1161" y="1782"/>
                    <a:pt x="1169" y="1781"/>
                    <a:pt x="1179" y="1781"/>
                  </a:cubicBezTo>
                  <a:cubicBezTo>
                    <a:pt x="1188" y="1780"/>
                    <a:pt x="1197" y="1779"/>
                    <a:pt x="1208" y="1778"/>
                  </a:cubicBezTo>
                  <a:cubicBezTo>
                    <a:pt x="1229" y="1776"/>
                    <a:pt x="1252" y="1773"/>
                    <a:pt x="1277" y="1767"/>
                  </a:cubicBezTo>
                  <a:cubicBezTo>
                    <a:pt x="1290" y="1764"/>
                    <a:pt x="1303" y="1761"/>
                    <a:pt x="1317" y="1758"/>
                  </a:cubicBezTo>
                  <a:cubicBezTo>
                    <a:pt x="1330" y="1754"/>
                    <a:pt x="1344" y="1749"/>
                    <a:pt x="1358" y="1745"/>
                  </a:cubicBezTo>
                  <a:cubicBezTo>
                    <a:pt x="1387" y="1737"/>
                    <a:pt x="1415" y="1722"/>
                    <a:pt x="1446" y="1709"/>
                  </a:cubicBezTo>
                  <a:cubicBezTo>
                    <a:pt x="1474" y="1693"/>
                    <a:pt x="1505" y="1678"/>
                    <a:pt x="1532" y="1657"/>
                  </a:cubicBezTo>
                  <a:cubicBezTo>
                    <a:pt x="1562" y="1639"/>
                    <a:pt x="1588" y="1615"/>
                    <a:pt x="1615" y="1592"/>
                  </a:cubicBezTo>
                  <a:cubicBezTo>
                    <a:pt x="1639" y="1567"/>
                    <a:pt x="1665" y="1543"/>
                    <a:pt x="1686" y="1514"/>
                  </a:cubicBezTo>
                  <a:cubicBezTo>
                    <a:pt x="1709" y="1488"/>
                    <a:pt x="1726" y="1458"/>
                    <a:pt x="1745" y="1430"/>
                  </a:cubicBezTo>
                  <a:cubicBezTo>
                    <a:pt x="1760" y="1401"/>
                    <a:pt x="1777" y="1373"/>
                    <a:pt x="1788" y="1344"/>
                  </a:cubicBezTo>
                  <a:cubicBezTo>
                    <a:pt x="1793" y="1329"/>
                    <a:pt x="1799" y="1316"/>
                    <a:pt x="1804" y="1302"/>
                  </a:cubicBezTo>
                  <a:cubicBezTo>
                    <a:pt x="1809" y="1288"/>
                    <a:pt x="1813" y="1275"/>
                    <a:pt x="1817" y="1262"/>
                  </a:cubicBezTo>
                  <a:cubicBezTo>
                    <a:pt x="1825" y="1236"/>
                    <a:pt x="1829" y="1211"/>
                    <a:pt x="1833" y="1189"/>
                  </a:cubicBezTo>
                  <a:cubicBezTo>
                    <a:pt x="1835" y="1182"/>
                    <a:pt x="1836" y="1175"/>
                    <a:pt x="1837" y="1169"/>
                  </a:cubicBezTo>
                  <a:cubicBezTo>
                    <a:pt x="1967" y="1169"/>
                    <a:pt x="1967" y="1169"/>
                    <a:pt x="1967" y="1169"/>
                  </a:cubicBezTo>
                  <a:lnTo>
                    <a:pt x="1795" y="9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100770" tIns="50385" rIns="100770" bIns="50385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tr-TR" sz="1984" dirty="0">
                <a:solidFill>
                  <a:srgbClr val="000000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348" name="Group 347"/>
            <p:cNvGrpSpPr/>
            <p:nvPr/>
          </p:nvGrpSpPr>
          <p:grpSpPr>
            <a:xfrm>
              <a:off x="4091397" y="3316813"/>
              <a:ext cx="1041450" cy="877464"/>
              <a:chOff x="2765024" y="3497401"/>
              <a:chExt cx="423125" cy="409449"/>
            </a:xfrm>
          </p:grpSpPr>
          <p:sp>
            <p:nvSpPr>
              <p:cNvPr id="350" name="Freeform 53"/>
              <p:cNvSpPr>
                <a:spLocks/>
              </p:cNvSpPr>
              <p:nvPr/>
            </p:nvSpPr>
            <p:spPr bwMode="auto">
              <a:xfrm>
                <a:off x="2765024" y="3497408"/>
                <a:ext cx="205783" cy="409442"/>
              </a:xfrm>
              <a:custGeom>
                <a:avLst/>
                <a:gdLst>
                  <a:gd name="T0" fmla="*/ 941 w 942"/>
                  <a:gd name="T1" fmla="*/ 224 h 1874"/>
                  <a:gd name="T2" fmla="*/ 942 w 942"/>
                  <a:gd name="T3" fmla="*/ 426 h 1874"/>
                  <a:gd name="T4" fmla="*/ 922 w 942"/>
                  <a:gd name="T5" fmla="*/ 447 h 1874"/>
                  <a:gd name="T6" fmla="*/ 511 w 942"/>
                  <a:gd name="T7" fmla="*/ 702 h 1874"/>
                  <a:gd name="T8" fmla="*/ 864 w 942"/>
                  <a:gd name="T9" fmla="*/ 1422 h 1874"/>
                  <a:gd name="T10" fmla="*/ 925 w 942"/>
                  <a:gd name="T11" fmla="*/ 1428 h 1874"/>
                  <a:gd name="T12" fmla="*/ 941 w 942"/>
                  <a:gd name="T13" fmla="*/ 1444 h 1874"/>
                  <a:gd name="T14" fmla="*/ 941 w 942"/>
                  <a:gd name="T15" fmla="*/ 1858 h 1874"/>
                  <a:gd name="T16" fmla="*/ 925 w 942"/>
                  <a:gd name="T17" fmla="*/ 1873 h 1874"/>
                  <a:gd name="T18" fmla="*/ 815 w 942"/>
                  <a:gd name="T19" fmla="*/ 1857 h 1874"/>
                  <a:gd name="T20" fmla="*/ 766 w 942"/>
                  <a:gd name="T21" fmla="*/ 1794 h 1874"/>
                  <a:gd name="T22" fmla="*/ 766 w 942"/>
                  <a:gd name="T23" fmla="*/ 1710 h 1874"/>
                  <a:gd name="T24" fmla="*/ 728 w 942"/>
                  <a:gd name="T25" fmla="*/ 1658 h 1874"/>
                  <a:gd name="T26" fmla="*/ 584 w 942"/>
                  <a:gd name="T27" fmla="*/ 1599 h 1874"/>
                  <a:gd name="T28" fmla="*/ 515 w 942"/>
                  <a:gd name="T29" fmla="*/ 1611 h 1874"/>
                  <a:gd name="T30" fmla="*/ 459 w 942"/>
                  <a:gd name="T31" fmla="*/ 1665 h 1874"/>
                  <a:gd name="T32" fmla="*/ 376 w 942"/>
                  <a:gd name="T33" fmla="*/ 1676 h 1874"/>
                  <a:gd name="T34" fmla="*/ 202 w 942"/>
                  <a:gd name="T35" fmla="*/ 1500 h 1874"/>
                  <a:gd name="T36" fmla="*/ 212 w 942"/>
                  <a:gd name="T37" fmla="*/ 1419 h 1874"/>
                  <a:gd name="T38" fmla="*/ 272 w 942"/>
                  <a:gd name="T39" fmla="*/ 1360 h 1874"/>
                  <a:gd name="T40" fmla="*/ 281 w 942"/>
                  <a:gd name="T41" fmla="*/ 1298 h 1874"/>
                  <a:gd name="T42" fmla="*/ 219 w 942"/>
                  <a:gd name="T43" fmla="*/ 1149 h 1874"/>
                  <a:gd name="T44" fmla="*/ 171 w 942"/>
                  <a:gd name="T45" fmla="*/ 1112 h 1874"/>
                  <a:gd name="T46" fmla="*/ 87 w 942"/>
                  <a:gd name="T47" fmla="*/ 1112 h 1874"/>
                  <a:gd name="T48" fmla="*/ 18 w 942"/>
                  <a:gd name="T49" fmla="*/ 1055 h 1874"/>
                  <a:gd name="T50" fmla="*/ 18 w 942"/>
                  <a:gd name="T51" fmla="*/ 821 h 1874"/>
                  <a:gd name="T52" fmla="*/ 93 w 942"/>
                  <a:gd name="T53" fmla="*/ 762 h 1874"/>
                  <a:gd name="T54" fmla="*/ 171 w 942"/>
                  <a:gd name="T55" fmla="*/ 762 h 1874"/>
                  <a:gd name="T56" fmla="*/ 219 w 942"/>
                  <a:gd name="T57" fmla="*/ 727 h 1874"/>
                  <a:gd name="T58" fmla="*/ 282 w 942"/>
                  <a:gd name="T59" fmla="*/ 574 h 1874"/>
                  <a:gd name="T60" fmla="*/ 273 w 942"/>
                  <a:gd name="T61" fmla="*/ 516 h 1874"/>
                  <a:gd name="T62" fmla="*/ 215 w 942"/>
                  <a:gd name="T63" fmla="*/ 458 h 1874"/>
                  <a:gd name="T64" fmla="*/ 204 w 942"/>
                  <a:gd name="T65" fmla="*/ 369 h 1874"/>
                  <a:gd name="T66" fmla="*/ 376 w 942"/>
                  <a:gd name="T67" fmla="*/ 199 h 1874"/>
                  <a:gd name="T68" fmla="*/ 461 w 942"/>
                  <a:gd name="T69" fmla="*/ 210 h 1874"/>
                  <a:gd name="T70" fmla="*/ 516 w 942"/>
                  <a:gd name="T71" fmla="*/ 265 h 1874"/>
                  <a:gd name="T72" fmla="*/ 583 w 942"/>
                  <a:gd name="T73" fmla="*/ 276 h 1874"/>
                  <a:gd name="T74" fmla="*/ 729 w 942"/>
                  <a:gd name="T75" fmla="*/ 216 h 1874"/>
                  <a:gd name="T76" fmla="*/ 766 w 942"/>
                  <a:gd name="T77" fmla="*/ 166 h 1874"/>
                  <a:gd name="T78" fmla="*/ 767 w 942"/>
                  <a:gd name="T79" fmla="*/ 84 h 1874"/>
                  <a:gd name="T80" fmla="*/ 826 w 942"/>
                  <a:gd name="T81" fmla="*/ 13 h 1874"/>
                  <a:gd name="T82" fmla="*/ 923 w 942"/>
                  <a:gd name="T83" fmla="*/ 1 h 1874"/>
                  <a:gd name="T84" fmla="*/ 942 w 942"/>
                  <a:gd name="T85" fmla="*/ 20 h 1874"/>
                  <a:gd name="T86" fmla="*/ 941 w 942"/>
                  <a:gd name="T87" fmla="*/ 224 h 1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42" h="1874">
                    <a:moveTo>
                      <a:pt x="941" y="224"/>
                    </a:moveTo>
                    <a:cubicBezTo>
                      <a:pt x="941" y="291"/>
                      <a:pt x="941" y="359"/>
                      <a:pt x="942" y="426"/>
                    </a:cubicBezTo>
                    <a:cubicBezTo>
                      <a:pt x="942" y="441"/>
                      <a:pt x="938" y="446"/>
                      <a:pt x="922" y="447"/>
                    </a:cubicBezTo>
                    <a:cubicBezTo>
                      <a:pt x="740" y="459"/>
                      <a:pt x="600" y="542"/>
                      <a:pt x="511" y="702"/>
                    </a:cubicBezTo>
                    <a:cubicBezTo>
                      <a:pt x="347" y="998"/>
                      <a:pt x="530" y="1370"/>
                      <a:pt x="864" y="1422"/>
                    </a:cubicBezTo>
                    <a:cubicBezTo>
                      <a:pt x="884" y="1425"/>
                      <a:pt x="905" y="1427"/>
                      <a:pt x="925" y="1428"/>
                    </a:cubicBezTo>
                    <a:cubicBezTo>
                      <a:pt x="937" y="1429"/>
                      <a:pt x="941" y="1432"/>
                      <a:pt x="941" y="1444"/>
                    </a:cubicBezTo>
                    <a:cubicBezTo>
                      <a:pt x="941" y="1582"/>
                      <a:pt x="941" y="1720"/>
                      <a:pt x="941" y="1858"/>
                    </a:cubicBezTo>
                    <a:cubicBezTo>
                      <a:pt x="941" y="1871"/>
                      <a:pt x="937" y="1874"/>
                      <a:pt x="925" y="1873"/>
                    </a:cubicBezTo>
                    <a:cubicBezTo>
                      <a:pt x="888" y="1871"/>
                      <a:pt x="851" y="1867"/>
                      <a:pt x="815" y="1857"/>
                    </a:cubicBezTo>
                    <a:cubicBezTo>
                      <a:pt x="785" y="1849"/>
                      <a:pt x="767" y="1825"/>
                      <a:pt x="766" y="1794"/>
                    </a:cubicBezTo>
                    <a:cubicBezTo>
                      <a:pt x="766" y="1766"/>
                      <a:pt x="767" y="1738"/>
                      <a:pt x="766" y="1710"/>
                    </a:cubicBezTo>
                    <a:cubicBezTo>
                      <a:pt x="766" y="1681"/>
                      <a:pt x="755" y="1666"/>
                      <a:pt x="728" y="1658"/>
                    </a:cubicBezTo>
                    <a:cubicBezTo>
                      <a:pt x="678" y="1644"/>
                      <a:pt x="631" y="1623"/>
                      <a:pt x="584" y="1599"/>
                    </a:cubicBezTo>
                    <a:cubicBezTo>
                      <a:pt x="554" y="1584"/>
                      <a:pt x="539" y="1586"/>
                      <a:pt x="515" y="1611"/>
                    </a:cubicBezTo>
                    <a:cubicBezTo>
                      <a:pt x="496" y="1629"/>
                      <a:pt x="478" y="1647"/>
                      <a:pt x="459" y="1665"/>
                    </a:cubicBezTo>
                    <a:cubicBezTo>
                      <a:pt x="434" y="1690"/>
                      <a:pt x="406" y="1694"/>
                      <a:pt x="376" y="1676"/>
                    </a:cubicBezTo>
                    <a:cubicBezTo>
                      <a:pt x="303" y="1631"/>
                      <a:pt x="246" y="1572"/>
                      <a:pt x="202" y="1500"/>
                    </a:cubicBezTo>
                    <a:cubicBezTo>
                      <a:pt x="185" y="1472"/>
                      <a:pt x="190" y="1442"/>
                      <a:pt x="212" y="1419"/>
                    </a:cubicBezTo>
                    <a:cubicBezTo>
                      <a:pt x="232" y="1399"/>
                      <a:pt x="252" y="1380"/>
                      <a:pt x="272" y="1360"/>
                    </a:cubicBezTo>
                    <a:cubicBezTo>
                      <a:pt x="291" y="1340"/>
                      <a:pt x="294" y="1322"/>
                      <a:pt x="281" y="1298"/>
                    </a:cubicBezTo>
                    <a:cubicBezTo>
                      <a:pt x="256" y="1250"/>
                      <a:pt x="235" y="1200"/>
                      <a:pt x="219" y="1149"/>
                    </a:cubicBezTo>
                    <a:cubicBezTo>
                      <a:pt x="212" y="1123"/>
                      <a:pt x="197" y="1113"/>
                      <a:pt x="171" y="1112"/>
                    </a:cubicBezTo>
                    <a:cubicBezTo>
                      <a:pt x="143" y="1112"/>
                      <a:pt x="115" y="1113"/>
                      <a:pt x="87" y="1112"/>
                    </a:cubicBezTo>
                    <a:cubicBezTo>
                      <a:pt x="49" y="1111"/>
                      <a:pt x="26" y="1093"/>
                      <a:pt x="18" y="1055"/>
                    </a:cubicBezTo>
                    <a:cubicBezTo>
                      <a:pt x="0" y="977"/>
                      <a:pt x="1" y="899"/>
                      <a:pt x="18" y="821"/>
                    </a:cubicBezTo>
                    <a:cubicBezTo>
                      <a:pt x="27" y="780"/>
                      <a:pt x="51" y="762"/>
                      <a:pt x="93" y="762"/>
                    </a:cubicBezTo>
                    <a:cubicBezTo>
                      <a:pt x="119" y="762"/>
                      <a:pt x="145" y="762"/>
                      <a:pt x="171" y="762"/>
                    </a:cubicBezTo>
                    <a:cubicBezTo>
                      <a:pt x="197" y="761"/>
                      <a:pt x="211" y="751"/>
                      <a:pt x="219" y="727"/>
                    </a:cubicBezTo>
                    <a:cubicBezTo>
                      <a:pt x="235" y="674"/>
                      <a:pt x="256" y="623"/>
                      <a:pt x="282" y="574"/>
                    </a:cubicBezTo>
                    <a:cubicBezTo>
                      <a:pt x="294" y="552"/>
                      <a:pt x="291" y="534"/>
                      <a:pt x="273" y="516"/>
                    </a:cubicBezTo>
                    <a:cubicBezTo>
                      <a:pt x="254" y="496"/>
                      <a:pt x="234" y="477"/>
                      <a:pt x="215" y="458"/>
                    </a:cubicBezTo>
                    <a:cubicBezTo>
                      <a:pt x="188" y="431"/>
                      <a:pt x="184" y="401"/>
                      <a:pt x="204" y="369"/>
                    </a:cubicBezTo>
                    <a:cubicBezTo>
                      <a:pt x="248" y="299"/>
                      <a:pt x="306" y="243"/>
                      <a:pt x="376" y="199"/>
                    </a:cubicBezTo>
                    <a:cubicBezTo>
                      <a:pt x="406" y="181"/>
                      <a:pt x="436" y="185"/>
                      <a:pt x="461" y="210"/>
                    </a:cubicBezTo>
                    <a:cubicBezTo>
                      <a:pt x="480" y="229"/>
                      <a:pt x="498" y="247"/>
                      <a:pt x="516" y="265"/>
                    </a:cubicBezTo>
                    <a:cubicBezTo>
                      <a:pt x="539" y="287"/>
                      <a:pt x="556" y="290"/>
                      <a:pt x="583" y="276"/>
                    </a:cubicBezTo>
                    <a:cubicBezTo>
                      <a:pt x="630" y="251"/>
                      <a:pt x="678" y="231"/>
                      <a:pt x="729" y="216"/>
                    </a:cubicBezTo>
                    <a:cubicBezTo>
                      <a:pt x="755" y="209"/>
                      <a:pt x="766" y="194"/>
                      <a:pt x="766" y="166"/>
                    </a:cubicBezTo>
                    <a:cubicBezTo>
                      <a:pt x="767" y="139"/>
                      <a:pt x="766" y="112"/>
                      <a:pt x="767" y="84"/>
                    </a:cubicBezTo>
                    <a:cubicBezTo>
                      <a:pt x="767" y="44"/>
                      <a:pt x="786" y="22"/>
                      <a:pt x="826" y="13"/>
                    </a:cubicBezTo>
                    <a:cubicBezTo>
                      <a:pt x="858" y="7"/>
                      <a:pt x="890" y="3"/>
                      <a:pt x="923" y="1"/>
                    </a:cubicBezTo>
                    <a:cubicBezTo>
                      <a:pt x="938" y="0"/>
                      <a:pt x="942" y="6"/>
                      <a:pt x="942" y="20"/>
                    </a:cubicBezTo>
                    <a:cubicBezTo>
                      <a:pt x="941" y="88"/>
                      <a:pt x="941" y="156"/>
                      <a:pt x="941" y="224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/>
            </p:spPr>
            <p:txBody>
              <a:bodyPr vert="horz" wrap="square" lIns="100770" tIns="50385" rIns="100770" bIns="50385" numCol="1" anchor="t" anchorCtr="0" compatLnSpc="1">
                <a:prstTxWarp prst="textNoShape">
                  <a:avLst/>
                </a:prstTxWarp>
              </a:bodyPr>
              <a:lstStyle/>
              <a:p>
                <a:pPr algn="l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r-TR" sz="1984" kern="0" dirty="0">
                  <a:solidFill>
                    <a:prstClr val="black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351" name="Freeform 54"/>
              <p:cNvSpPr>
                <a:spLocks noEditPoints="1"/>
              </p:cNvSpPr>
              <p:nvPr/>
            </p:nvSpPr>
            <p:spPr bwMode="auto">
              <a:xfrm>
                <a:off x="2984121" y="3497401"/>
                <a:ext cx="204028" cy="409257"/>
              </a:xfrm>
              <a:custGeom>
                <a:avLst/>
                <a:gdLst>
                  <a:gd name="T0" fmla="*/ 923 w 934"/>
                  <a:gd name="T1" fmla="*/ 1201 h 1873"/>
                  <a:gd name="T2" fmla="*/ 846 w 934"/>
                  <a:gd name="T3" fmla="*/ 1017 h 1873"/>
                  <a:gd name="T4" fmla="*/ 763 w 934"/>
                  <a:gd name="T5" fmla="*/ 812 h 1873"/>
                  <a:gd name="T6" fmla="*/ 737 w 934"/>
                  <a:gd name="T7" fmla="*/ 620 h 1873"/>
                  <a:gd name="T8" fmla="*/ 570 w 934"/>
                  <a:gd name="T9" fmla="*/ 263 h 1873"/>
                  <a:gd name="T10" fmla="*/ 30 w 934"/>
                  <a:gd name="T11" fmla="*/ 2 h 1873"/>
                  <a:gd name="T12" fmla="*/ 8 w 934"/>
                  <a:gd name="T13" fmla="*/ 13 h 1873"/>
                  <a:gd name="T14" fmla="*/ 10 w 934"/>
                  <a:gd name="T15" fmla="*/ 31 h 1873"/>
                  <a:gd name="T16" fmla="*/ 8 w 934"/>
                  <a:gd name="T17" fmla="*/ 17 h 1873"/>
                  <a:gd name="T18" fmla="*/ 5 w 934"/>
                  <a:gd name="T19" fmla="*/ 60 h 1873"/>
                  <a:gd name="T20" fmla="*/ 5 w 934"/>
                  <a:gd name="T21" fmla="*/ 370 h 1873"/>
                  <a:gd name="T22" fmla="*/ 5 w 934"/>
                  <a:gd name="T23" fmla="*/ 778 h 1873"/>
                  <a:gd name="T24" fmla="*/ 5 w 934"/>
                  <a:gd name="T25" fmla="*/ 778 h 1873"/>
                  <a:gd name="T26" fmla="*/ 4 w 934"/>
                  <a:gd name="T27" fmla="*/ 1239 h 1873"/>
                  <a:gd name="T28" fmla="*/ 3 w 934"/>
                  <a:gd name="T29" fmla="*/ 1841 h 1873"/>
                  <a:gd name="T30" fmla="*/ 12 w 934"/>
                  <a:gd name="T31" fmla="*/ 1869 h 1873"/>
                  <a:gd name="T32" fmla="*/ 12 w 934"/>
                  <a:gd name="T33" fmla="*/ 1869 h 1873"/>
                  <a:gd name="T34" fmla="*/ 27 w 934"/>
                  <a:gd name="T35" fmla="*/ 1873 h 1873"/>
                  <a:gd name="T36" fmla="*/ 176 w 934"/>
                  <a:gd name="T37" fmla="*/ 1873 h 1873"/>
                  <a:gd name="T38" fmla="*/ 248 w 934"/>
                  <a:gd name="T39" fmla="*/ 1873 h 1873"/>
                  <a:gd name="T40" fmla="*/ 252 w 934"/>
                  <a:gd name="T41" fmla="*/ 1873 h 1873"/>
                  <a:gd name="T42" fmla="*/ 403 w 934"/>
                  <a:gd name="T43" fmla="*/ 1872 h 1873"/>
                  <a:gd name="T44" fmla="*/ 472 w 934"/>
                  <a:gd name="T45" fmla="*/ 1869 h 1873"/>
                  <a:gd name="T46" fmla="*/ 682 w 934"/>
                  <a:gd name="T47" fmla="*/ 1737 h 1873"/>
                  <a:gd name="T48" fmla="*/ 729 w 934"/>
                  <a:gd name="T49" fmla="*/ 1617 h 1873"/>
                  <a:gd name="T50" fmla="*/ 756 w 934"/>
                  <a:gd name="T51" fmla="*/ 1351 h 1873"/>
                  <a:gd name="T52" fmla="*/ 783 w 934"/>
                  <a:gd name="T53" fmla="*/ 1325 h 1873"/>
                  <a:gd name="T54" fmla="*/ 847 w 934"/>
                  <a:gd name="T55" fmla="*/ 1325 h 1873"/>
                  <a:gd name="T56" fmla="*/ 931 w 934"/>
                  <a:gd name="T57" fmla="*/ 1253 h 1873"/>
                  <a:gd name="T58" fmla="*/ 923 w 934"/>
                  <a:gd name="T59" fmla="*/ 1201 h 1873"/>
                  <a:gd name="T60" fmla="*/ 10 w 934"/>
                  <a:gd name="T61" fmla="*/ 53 h 1873"/>
                  <a:gd name="T62" fmla="*/ 10 w 934"/>
                  <a:gd name="T63" fmla="*/ 73 h 1873"/>
                  <a:gd name="T64" fmla="*/ 10 w 934"/>
                  <a:gd name="T65" fmla="*/ 53 h 1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34" h="1873">
                    <a:moveTo>
                      <a:pt x="923" y="1201"/>
                    </a:moveTo>
                    <a:cubicBezTo>
                      <a:pt x="905" y="1136"/>
                      <a:pt x="875" y="1076"/>
                      <a:pt x="846" y="1017"/>
                    </a:cubicBezTo>
                    <a:cubicBezTo>
                      <a:pt x="813" y="950"/>
                      <a:pt x="777" y="885"/>
                      <a:pt x="763" y="812"/>
                    </a:cubicBezTo>
                    <a:cubicBezTo>
                      <a:pt x="751" y="748"/>
                      <a:pt x="744" y="684"/>
                      <a:pt x="737" y="620"/>
                    </a:cubicBezTo>
                    <a:cubicBezTo>
                      <a:pt x="722" y="481"/>
                      <a:pt x="666" y="362"/>
                      <a:pt x="570" y="263"/>
                    </a:cubicBezTo>
                    <a:cubicBezTo>
                      <a:pt x="423" y="109"/>
                      <a:pt x="238" y="32"/>
                      <a:pt x="30" y="2"/>
                    </a:cubicBezTo>
                    <a:cubicBezTo>
                      <a:pt x="20" y="0"/>
                      <a:pt x="11" y="1"/>
                      <a:pt x="8" y="13"/>
                    </a:cubicBezTo>
                    <a:cubicBezTo>
                      <a:pt x="9" y="19"/>
                      <a:pt x="10" y="25"/>
                      <a:pt x="10" y="31"/>
                    </a:cubicBezTo>
                    <a:cubicBezTo>
                      <a:pt x="10" y="26"/>
                      <a:pt x="9" y="21"/>
                      <a:pt x="8" y="17"/>
                    </a:cubicBezTo>
                    <a:cubicBezTo>
                      <a:pt x="3" y="31"/>
                      <a:pt x="5" y="46"/>
                      <a:pt x="5" y="60"/>
                    </a:cubicBezTo>
                    <a:cubicBezTo>
                      <a:pt x="5" y="163"/>
                      <a:pt x="5" y="267"/>
                      <a:pt x="5" y="370"/>
                    </a:cubicBezTo>
                    <a:cubicBezTo>
                      <a:pt x="4" y="506"/>
                      <a:pt x="5" y="642"/>
                      <a:pt x="5" y="778"/>
                    </a:cubicBezTo>
                    <a:cubicBezTo>
                      <a:pt x="5" y="778"/>
                      <a:pt x="5" y="778"/>
                      <a:pt x="5" y="778"/>
                    </a:cubicBezTo>
                    <a:cubicBezTo>
                      <a:pt x="4" y="931"/>
                      <a:pt x="4" y="1085"/>
                      <a:pt x="4" y="1239"/>
                    </a:cubicBezTo>
                    <a:cubicBezTo>
                      <a:pt x="4" y="1440"/>
                      <a:pt x="3" y="1640"/>
                      <a:pt x="3" y="1841"/>
                    </a:cubicBezTo>
                    <a:cubicBezTo>
                      <a:pt x="3" y="1851"/>
                      <a:pt x="0" y="1863"/>
                      <a:pt x="12" y="1869"/>
                    </a:cubicBezTo>
                    <a:cubicBezTo>
                      <a:pt x="12" y="1869"/>
                      <a:pt x="12" y="1869"/>
                      <a:pt x="12" y="1869"/>
                    </a:cubicBezTo>
                    <a:cubicBezTo>
                      <a:pt x="16" y="1873"/>
                      <a:pt x="21" y="1873"/>
                      <a:pt x="27" y="1873"/>
                    </a:cubicBezTo>
                    <a:cubicBezTo>
                      <a:pt x="77" y="1873"/>
                      <a:pt x="127" y="1873"/>
                      <a:pt x="176" y="1873"/>
                    </a:cubicBezTo>
                    <a:cubicBezTo>
                      <a:pt x="200" y="1869"/>
                      <a:pt x="224" y="1871"/>
                      <a:pt x="248" y="1873"/>
                    </a:cubicBezTo>
                    <a:cubicBezTo>
                      <a:pt x="249" y="1873"/>
                      <a:pt x="251" y="1873"/>
                      <a:pt x="252" y="1873"/>
                    </a:cubicBezTo>
                    <a:cubicBezTo>
                      <a:pt x="303" y="1868"/>
                      <a:pt x="353" y="1872"/>
                      <a:pt x="403" y="1872"/>
                    </a:cubicBezTo>
                    <a:cubicBezTo>
                      <a:pt x="426" y="1871"/>
                      <a:pt x="449" y="1865"/>
                      <a:pt x="472" y="1869"/>
                    </a:cubicBezTo>
                    <a:cubicBezTo>
                      <a:pt x="562" y="1858"/>
                      <a:pt x="635" y="1818"/>
                      <a:pt x="682" y="1737"/>
                    </a:cubicBezTo>
                    <a:cubicBezTo>
                      <a:pt x="704" y="1700"/>
                      <a:pt x="719" y="1659"/>
                      <a:pt x="729" y="1617"/>
                    </a:cubicBezTo>
                    <a:cubicBezTo>
                      <a:pt x="749" y="1529"/>
                      <a:pt x="755" y="1440"/>
                      <a:pt x="756" y="1351"/>
                    </a:cubicBezTo>
                    <a:cubicBezTo>
                      <a:pt x="757" y="1325"/>
                      <a:pt x="757" y="1325"/>
                      <a:pt x="783" y="1325"/>
                    </a:cubicBezTo>
                    <a:cubicBezTo>
                      <a:pt x="805" y="1325"/>
                      <a:pt x="826" y="1325"/>
                      <a:pt x="847" y="1325"/>
                    </a:cubicBezTo>
                    <a:cubicBezTo>
                      <a:pt x="893" y="1322"/>
                      <a:pt x="925" y="1295"/>
                      <a:pt x="931" y="1253"/>
                    </a:cubicBezTo>
                    <a:cubicBezTo>
                      <a:pt x="934" y="1235"/>
                      <a:pt x="928" y="1218"/>
                      <a:pt x="923" y="1201"/>
                    </a:cubicBezTo>
                    <a:close/>
                    <a:moveTo>
                      <a:pt x="10" y="53"/>
                    </a:moveTo>
                    <a:cubicBezTo>
                      <a:pt x="10" y="60"/>
                      <a:pt x="10" y="67"/>
                      <a:pt x="10" y="73"/>
                    </a:cubicBezTo>
                    <a:cubicBezTo>
                      <a:pt x="9" y="67"/>
                      <a:pt x="10" y="60"/>
                      <a:pt x="10" y="53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/>
            </p:spPr>
            <p:txBody>
              <a:bodyPr vert="horz" wrap="square" lIns="100770" tIns="50385" rIns="100770" bIns="50385" numCol="1" anchor="t" anchorCtr="0" compatLnSpc="1">
                <a:prstTxWarp prst="textNoShape">
                  <a:avLst/>
                </a:prstTxWarp>
              </a:bodyPr>
              <a:lstStyle/>
              <a:p>
                <a:pPr algn="l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r-TR" sz="1984" kern="0" dirty="0">
                  <a:solidFill>
                    <a:prstClr val="black"/>
                  </a:solidFill>
                  <a:latin typeface="EYInterstate Light" panose="02000506000000020004" pitchFamily="2" charset="0"/>
                </a:endParaRPr>
              </a:p>
            </p:txBody>
          </p:sp>
        </p:grpSp>
        <p:sp>
          <p:nvSpPr>
            <p:cNvPr id="349" name="TextBox 348"/>
            <p:cNvSpPr txBox="1"/>
            <p:nvPr/>
          </p:nvSpPr>
          <p:spPr>
            <a:xfrm>
              <a:off x="617578" y="1109187"/>
              <a:ext cx="4565972" cy="1060151"/>
            </a:xfrm>
            <a:prstGeom prst="rect">
              <a:avLst/>
            </a:prstGeom>
            <a:noFill/>
          </p:spPr>
          <p:txBody>
            <a:bodyPr wrap="square" lIns="0" tIns="40308" rIns="0" bIns="0" rtlCol="0">
              <a:spAutoFit/>
            </a:bodyPr>
            <a:lstStyle/>
            <a:p>
              <a:pPr algn="r" fontAlgn="auto">
                <a:lnSpc>
                  <a:spcPct val="85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buSzPct val="70000"/>
              </a:pPr>
              <a:r>
                <a:rPr lang="tr-TR" sz="3967" b="1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RSO’nun</a:t>
              </a:r>
              <a:endParaRPr lang="tr-TR" sz="3967" b="1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  <a:p>
              <a:pPr algn="r" fontAlgn="auto">
                <a:lnSpc>
                  <a:spcPct val="85000"/>
                </a:lnSpc>
                <a:spcBef>
                  <a:spcPts val="0"/>
                </a:spcBef>
                <a:spcAft>
                  <a:spcPts val="661"/>
                </a:spcAft>
                <a:buClr>
                  <a:srgbClr val="FFE600"/>
                </a:buClr>
                <a:buSzPct val="70000"/>
              </a:pPr>
              <a:r>
                <a:rPr lang="tr-TR" sz="3967" b="1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FAYDALARI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56377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95018"/>
              </p:ext>
            </p:extLst>
          </p:nvPr>
        </p:nvGraphicFramePr>
        <p:xfrm>
          <a:off x="4735" y="33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35" y="33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92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tr-TR" sz="2400" dirty="0">
                <a:latin typeface="EYInterstate Light" panose="02000506000000020004" pitchFamily="2" charset="0"/>
              </a:rPr>
              <a:t>RSO farklı sektörlerde geniş bir uygulama alanına sahiptir</a:t>
            </a:r>
            <a:endParaRPr lang="tr-TR" sz="2400" b="0" dirty="0">
              <a:latin typeface="EYInterstate Light" panose="02000506000000020004" pitchFamily="2" charset="0"/>
            </a:endParaRPr>
          </a:p>
        </p:txBody>
      </p:sp>
      <p:cxnSp>
        <p:nvCxnSpPr>
          <p:cNvPr id="253" name="Straight Connector 252"/>
          <p:cNvCxnSpPr/>
          <p:nvPr/>
        </p:nvCxnSpPr>
        <p:spPr>
          <a:xfrm>
            <a:off x="4884150" y="1557894"/>
            <a:ext cx="0" cy="4744006"/>
          </a:xfrm>
          <a:prstGeom prst="line">
            <a:avLst/>
          </a:prstGeom>
          <a:ln w="12700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Freeform 801"/>
          <p:cNvSpPr/>
          <p:nvPr/>
        </p:nvSpPr>
        <p:spPr>
          <a:xfrm>
            <a:off x="7736404" y="1584887"/>
            <a:ext cx="860821" cy="860821"/>
          </a:xfrm>
          <a:custGeom>
            <a:avLst/>
            <a:gdLst/>
            <a:ahLst/>
            <a:cxnLst/>
            <a:rect l="0" t="0" r="0" b="0"/>
            <a:pathLst>
              <a:path w="567004" h="567004">
                <a:moveTo>
                  <a:pt x="283502" y="567004"/>
                </a:moveTo>
                <a:cubicBezTo>
                  <a:pt x="440080" y="567004"/>
                  <a:pt x="567004" y="440081"/>
                  <a:pt x="567004" y="283502"/>
                </a:cubicBezTo>
                <a:cubicBezTo>
                  <a:pt x="567004" y="126937"/>
                  <a:pt x="440080" y="0"/>
                  <a:pt x="283502" y="0"/>
                </a:cubicBezTo>
                <a:cubicBezTo>
                  <a:pt x="126924" y="0"/>
                  <a:pt x="0" y="126937"/>
                  <a:pt x="0" y="283502"/>
                </a:cubicBezTo>
                <a:cubicBezTo>
                  <a:pt x="0" y="440081"/>
                  <a:pt x="126924" y="567004"/>
                  <a:pt x="283502" y="567004"/>
                </a:cubicBezTo>
              </a:path>
            </a:pathLst>
          </a:custGeom>
          <a:solidFill>
            <a:srgbClr val="FFD427">
              <a:alpha val="100000"/>
            </a:srgbClr>
          </a:solidFill>
          <a:ln w="237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55" name="Freeform 802"/>
          <p:cNvSpPr/>
          <p:nvPr/>
        </p:nvSpPr>
        <p:spPr>
          <a:xfrm>
            <a:off x="7666764" y="2016847"/>
            <a:ext cx="1000088" cy="498415"/>
          </a:xfrm>
          <a:custGeom>
            <a:avLst/>
            <a:gdLst/>
            <a:ahLst/>
            <a:cxnLst/>
            <a:rect l="0" t="0" r="0" b="0"/>
            <a:pathLst>
              <a:path w="658736" h="328295">
                <a:moveTo>
                  <a:pt x="12700" y="0"/>
                </a:moveTo>
                <a:lnTo>
                  <a:pt x="0" y="317"/>
                </a:lnTo>
                <a:moveTo>
                  <a:pt x="12865" y="6362"/>
                </a:moveTo>
                <a:lnTo>
                  <a:pt x="166" y="6692"/>
                </a:lnTo>
                <a:moveTo>
                  <a:pt x="13017" y="12738"/>
                </a:moveTo>
                <a:lnTo>
                  <a:pt x="331" y="13055"/>
                </a:lnTo>
                <a:moveTo>
                  <a:pt x="13347" y="18770"/>
                </a:moveTo>
                <a:lnTo>
                  <a:pt x="686" y="19735"/>
                </a:lnTo>
                <a:moveTo>
                  <a:pt x="13830" y="25120"/>
                </a:moveTo>
                <a:lnTo>
                  <a:pt x="1169" y="26085"/>
                </a:lnTo>
                <a:moveTo>
                  <a:pt x="14312" y="31470"/>
                </a:moveTo>
                <a:lnTo>
                  <a:pt x="1651" y="32435"/>
                </a:lnTo>
                <a:moveTo>
                  <a:pt x="15087" y="37465"/>
                </a:moveTo>
                <a:lnTo>
                  <a:pt x="2490" y="39065"/>
                </a:lnTo>
                <a:moveTo>
                  <a:pt x="15887" y="43789"/>
                </a:moveTo>
                <a:lnTo>
                  <a:pt x="3290" y="45389"/>
                </a:lnTo>
                <a:moveTo>
                  <a:pt x="16776" y="49758"/>
                </a:moveTo>
                <a:lnTo>
                  <a:pt x="4280" y="51993"/>
                </a:lnTo>
                <a:moveTo>
                  <a:pt x="17894" y="56032"/>
                </a:moveTo>
                <a:lnTo>
                  <a:pt x="5398" y="58267"/>
                </a:lnTo>
                <a:moveTo>
                  <a:pt x="19024" y="62306"/>
                </a:moveTo>
                <a:lnTo>
                  <a:pt x="6516" y="64541"/>
                </a:lnTo>
                <a:moveTo>
                  <a:pt x="20358" y="68198"/>
                </a:moveTo>
                <a:lnTo>
                  <a:pt x="7976" y="71056"/>
                </a:lnTo>
                <a:moveTo>
                  <a:pt x="21780" y="74409"/>
                </a:moveTo>
                <a:lnTo>
                  <a:pt x="9411" y="77266"/>
                </a:lnTo>
                <a:moveTo>
                  <a:pt x="23253" y="80276"/>
                </a:moveTo>
                <a:lnTo>
                  <a:pt x="11037" y="83743"/>
                </a:lnTo>
                <a:moveTo>
                  <a:pt x="24993" y="86398"/>
                </a:moveTo>
                <a:lnTo>
                  <a:pt x="12776" y="89877"/>
                </a:lnTo>
                <a:moveTo>
                  <a:pt x="26733" y="92532"/>
                </a:moveTo>
                <a:lnTo>
                  <a:pt x="14516" y="95999"/>
                </a:lnTo>
                <a:moveTo>
                  <a:pt x="28638" y="98272"/>
                </a:moveTo>
                <a:lnTo>
                  <a:pt x="16611" y="102349"/>
                </a:lnTo>
                <a:moveTo>
                  <a:pt x="30683" y="104305"/>
                </a:moveTo>
                <a:lnTo>
                  <a:pt x="18656" y="108369"/>
                </a:lnTo>
                <a:moveTo>
                  <a:pt x="32727" y="110007"/>
                </a:moveTo>
                <a:lnTo>
                  <a:pt x="20916" y="114655"/>
                </a:lnTo>
                <a:moveTo>
                  <a:pt x="35064" y="115925"/>
                </a:moveTo>
                <a:lnTo>
                  <a:pt x="23253" y="120586"/>
                </a:lnTo>
                <a:moveTo>
                  <a:pt x="37401" y="121843"/>
                </a:moveTo>
                <a:lnTo>
                  <a:pt x="25590" y="126504"/>
                </a:lnTo>
                <a:moveTo>
                  <a:pt x="39878" y="127380"/>
                </a:moveTo>
                <a:lnTo>
                  <a:pt x="28308" y="132613"/>
                </a:lnTo>
                <a:moveTo>
                  <a:pt x="42506" y="133184"/>
                </a:moveTo>
                <a:lnTo>
                  <a:pt x="30937" y="138417"/>
                </a:lnTo>
                <a:moveTo>
                  <a:pt x="45110" y="138645"/>
                </a:moveTo>
                <a:lnTo>
                  <a:pt x="33807" y="144437"/>
                </a:lnTo>
                <a:moveTo>
                  <a:pt x="48018" y="144310"/>
                </a:moveTo>
                <a:lnTo>
                  <a:pt x="36715" y="150101"/>
                </a:lnTo>
                <a:moveTo>
                  <a:pt x="50926" y="149987"/>
                </a:moveTo>
                <a:lnTo>
                  <a:pt x="39623" y="155765"/>
                </a:lnTo>
                <a:moveTo>
                  <a:pt x="53949" y="155232"/>
                </a:moveTo>
                <a:lnTo>
                  <a:pt x="42938" y="161569"/>
                </a:lnTo>
                <a:moveTo>
                  <a:pt x="57124" y="160756"/>
                </a:moveTo>
                <a:lnTo>
                  <a:pt x="46113" y="167081"/>
                </a:lnTo>
                <a:moveTo>
                  <a:pt x="60274" y="165925"/>
                </a:moveTo>
                <a:lnTo>
                  <a:pt x="49580" y="172783"/>
                </a:lnTo>
                <a:moveTo>
                  <a:pt x="63715" y="171284"/>
                </a:moveTo>
                <a:lnTo>
                  <a:pt x="53022" y="178142"/>
                </a:lnTo>
                <a:moveTo>
                  <a:pt x="67005" y="176377"/>
                </a:moveTo>
                <a:lnTo>
                  <a:pt x="56654" y="183743"/>
                </a:lnTo>
                <a:moveTo>
                  <a:pt x="70688" y="181571"/>
                </a:moveTo>
                <a:lnTo>
                  <a:pt x="60337" y="188925"/>
                </a:lnTo>
                <a:moveTo>
                  <a:pt x="74383" y="186766"/>
                </a:moveTo>
                <a:lnTo>
                  <a:pt x="64033" y="194119"/>
                </a:lnTo>
                <a:moveTo>
                  <a:pt x="78054" y="191592"/>
                </a:moveTo>
                <a:lnTo>
                  <a:pt x="68059" y="199440"/>
                </a:lnTo>
                <a:moveTo>
                  <a:pt x="81991" y="196595"/>
                </a:moveTo>
                <a:lnTo>
                  <a:pt x="71996" y="204444"/>
                </a:lnTo>
                <a:moveTo>
                  <a:pt x="85775" y="201333"/>
                </a:moveTo>
                <a:lnTo>
                  <a:pt x="76174" y="209638"/>
                </a:lnTo>
                <a:moveTo>
                  <a:pt x="89941" y="206146"/>
                </a:moveTo>
                <a:lnTo>
                  <a:pt x="80352" y="214452"/>
                </a:lnTo>
                <a:moveTo>
                  <a:pt x="94119" y="210959"/>
                </a:moveTo>
                <a:lnTo>
                  <a:pt x="84518" y="219265"/>
                </a:lnTo>
                <a:moveTo>
                  <a:pt x="98259" y="215379"/>
                </a:moveTo>
                <a:lnTo>
                  <a:pt x="89065" y="224154"/>
                </a:lnTo>
                <a:moveTo>
                  <a:pt x="102654" y="220002"/>
                </a:moveTo>
                <a:lnTo>
                  <a:pt x="93459" y="228752"/>
                </a:lnTo>
                <a:moveTo>
                  <a:pt x="106908" y="224320"/>
                </a:moveTo>
                <a:lnTo>
                  <a:pt x="98145" y="233502"/>
                </a:lnTo>
                <a:moveTo>
                  <a:pt x="111518" y="228714"/>
                </a:moveTo>
                <a:lnTo>
                  <a:pt x="102755" y="237896"/>
                </a:lnTo>
                <a:moveTo>
                  <a:pt x="116128" y="233108"/>
                </a:moveTo>
                <a:lnTo>
                  <a:pt x="107365" y="242303"/>
                </a:lnTo>
                <a:moveTo>
                  <a:pt x="120688" y="237096"/>
                </a:moveTo>
                <a:lnTo>
                  <a:pt x="112382" y="246697"/>
                </a:lnTo>
                <a:moveTo>
                  <a:pt x="125501" y="241261"/>
                </a:moveTo>
                <a:lnTo>
                  <a:pt x="117195" y="250863"/>
                </a:lnTo>
                <a:moveTo>
                  <a:pt x="130175" y="245122"/>
                </a:moveTo>
                <a:lnTo>
                  <a:pt x="122326" y="255117"/>
                </a:lnTo>
                <a:moveTo>
                  <a:pt x="135191" y="249059"/>
                </a:moveTo>
                <a:lnTo>
                  <a:pt x="127342" y="259041"/>
                </a:lnTo>
                <a:moveTo>
                  <a:pt x="139954" y="252806"/>
                </a:moveTo>
                <a:lnTo>
                  <a:pt x="132600" y="263156"/>
                </a:lnTo>
                <a:moveTo>
                  <a:pt x="145148" y="256501"/>
                </a:moveTo>
                <a:lnTo>
                  <a:pt x="137782" y="266839"/>
                </a:lnTo>
                <a:moveTo>
                  <a:pt x="150329" y="260184"/>
                </a:moveTo>
                <a:lnTo>
                  <a:pt x="142976" y="270535"/>
                </a:lnTo>
                <a:moveTo>
                  <a:pt x="155371" y="263550"/>
                </a:moveTo>
                <a:lnTo>
                  <a:pt x="148526" y="274243"/>
                </a:lnTo>
                <a:moveTo>
                  <a:pt x="160731" y="266992"/>
                </a:moveTo>
                <a:lnTo>
                  <a:pt x="153885" y="277685"/>
                </a:lnTo>
                <a:moveTo>
                  <a:pt x="165862" y="270230"/>
                </a:moveTo>
                <a:lnTo>
                  <a:pt x="159524" y="281241"/>
                </a:lnTo>
                <a:moveTo>
                  <a:pt x="171386" y="273405"/>
                </a:moveTo>
                <a:lnTo>
                  <a:pt x="165049" y="284416"/>
                </a:lnTo>
                <a:moveTo>
                  <a:pt x="176898" y="276580"/>
                </a:moveTo>
                <a:lnTo>
                  <a:pt x="170573" y="287591"/>
                </a:lnTo>
                <a:moveTo>
                  <a:pt x="182257" y="279412"/>
                </a:moveTo>
                <a:lnTo>
                  <a:pt x="176466" y="290715"/>
                </a:lnTo>
                <a:moveTo>
                  <a:pt x="187921" y="282320"/>
                </a:moveTo>
                <a:lnTo>
                  <a:pt x="182130" y="293624"/>
                </a:lnTo>
                <a:moveTo>
                  <a:pt x="193344" y="285013"/>
                </a:moveTo>
                <a:lnTo>
                  <a:pt x="188112" y="296595"/>
                </a:lnTo>
                <a:moveTo>
                  <a:pt x="199148" y="287642"/>
                </a:moveTo>
                <a:lnTo>
                  <a:pt x="193916" y="299211"/>
                </a:lnTo>
                <a:moveTo>
                  <a:pt x="204952" y="290271"/>
                </a:moveTo>
                <a:lnTo>
                  <a:pt x="199720" y="301840"/>
                </a:lnTo>
                <a:moveTo>
                  <a:pt x="210565" y="292544"/>
                </a:moveTo>
                <a:lnTo>
                  <a:pt x="205905" y="304355"/>
                </a:lnTo>
                <a:moveTo>
                  <a:pt x="216484" y="294881"/>
                </a:moveTo>
                <a:lnTo>
                  <a:pt x="211823" y="306692"/>
                </a:lnTo>
                <a:moveTo>
                  <a:pt x="222148" y="297014"/>
                </a:moveTo>
                <a:lnTo>
                  <a:pt x="218084" y="309054"/>
                </a:lnTo>
                <a:moveTo>
                  <a:pt x="228180" y="299059"/>
                </a:moveTo>
                <a:lnTo>
                  <a:pt x="224104" y="311086"/>
                </a:lnTo>
                <a:moveTo>
                  <a:pt x="234213" y="301104"/>
                </a:moveTo>
                <a:lnTo>
                  <a:pt x="230136" y="313131"/>
                </a:lnTo>
                <a:moveTo>
                  <a:pt x="240017" y="302806"/>
                </a:moveTo>
                <a:lnTo>
                  <a:pt x="236550" y="315023"/>
                </a:lnTo>
                <a:moveTo>
                  <a:pt x="246151" y="304545"/>
                </a:moveTo>
                <a:lnTo>
                  <a:pt x="242671" y="316763"/>
                </a:lnTo>
                <a:moveTo>
                  <a:pt x="251993" y="306108"/>
                </a:moveTo>
                <a:lnTo>
                  <a:pt x="249135" y="318490"/>
                </a:lnTo>
                <a:moveTo>
                  <a:pt x="258190" y="307543"/>
                </a:moveTo>
                <a:lnTo>
                  <a:pt x="255346" y="319913"/>
                </a:lnTo>
                <a:moveTo>
                  <a:pt x="264401" y="308978"/>
                </a:moveTo>
                <a:lnTo>
                  <a:pt x="261543" y="321348"/>
                </a:lnTo>
                <a:moveTo>
                  <a:pt x="270344" y="310095"/>
                </a:moveTo>
                <a:lnTo>
                  <a:pt x="268109" y="322592"/>
                </a:lnTo>
                <a:moveTo>
                  <a:pt x="276618" y="311213"/>
                </a:moveTo>
                <a:lnTo>
                  <a:pt x="274383" y="323722"/>
                </a:lnTo>
                <a:moveTo>
                  <a:pt x="282575" y="312204"/>
                </a:moveTo>
                <a:lnTo>
                  <a:pt x="280974" y="324802"/>
                </a:lnTo>
                <a:moveTo>
                  <a:pt x="288899" y="313004"/>
                </a:moveTo>
                <a:lnTo>
                  <a:pt x="287299" y="325602"/>
                </a:lnTo>
                <a:moveTo>
                  <a:pt x="295211" y="313804"/>
                </a:moveTo>
                <a:lnTo>
                  <a:pt x="293611" y="326415"/>
                </a:lnTo>
                <a:moveTo>
                  <a:pt x="301231" y="314363"/>
                </a:moveTo>
                <a:lnTo>
                  <a:pt x="300278" y="327025"/>
                </a:lnTo>
                <a:moveTo>
                  <a:pt x="307581" y="314845"/>
                </a:moveTo>
                <a:lnTo>
                  <a:pt x="306628" y="327507"/>
                </a:lnTo>
                <a:moveTo>
                  <a:pt x="313613" y="315277"/>
                </a:moveTo>
                <a:lnTo>
                  <a:pt x="313296" y="327964"/>
                </a:lnTo>
                <a:moveTo>
                  <a:pt x="319989" y="315429"/>
                </a:moveTo>
                <a:lnTo>
                  <a:pt x="319659" y="328129"/>
                </a:lnTo>
                <a:moveTo>
                  <a:pt x="326351" y="315595"/>
                </a:moveTo>
                <a:lnTo>
                  <a:pt x="326034" y="328295"/>
                </a:lnTo>
                <a:moveTo>
                  <a:pt x="332397" y="315595"/>
                </a:moveTo>
                <a:lnTo>
                  <a:pt x="332714" y="328295"/>
                </a:lnTo>
                <a:moveTo>
                  <a:pt x="338759" y="315429"/>
                </a:moveTo>
                <a:lnTo>
                  <a:pt x="339077" y="328129"/>
                </a:lnTo>
                <a:moveTo>
                  <a:pt x="345122" y="315277"/>
                </a:moveTo>
                <a:lnTo>
                  <a:pt x="345452" y="327964"/>
                </a:lnTo>
                <a:moveTo>
                  <a:pt x="351154" y="314845"/>
                </a:moveTo>
                <a:lnTo>
                  <a:pt x="352120" y="327507"/>
                </a:lnTo>
                <a:moveTo>
                  <a:pt x="357504" y="314363"/>
                </a:moveTo>
                <a:lnTo>
                  <a:pt x="358470" y="327025"/>
                </a:lnTo>
                <a:moveTo>
                  <a:pt x="363524" y="313804"/>
                </a:moveTo>
                <a:lnTo>
                  <a:pt x="365125" y="326415"/>
                </a:lnTo>
                <a:moveTo>
                  <a:pt x="369849" y="313004"/>
                </a:moveTo>
                <a:lnTo>
                  <a:pt x="371449" y="325602"/>
                </a:lnTo>
                <a:moveTo>
                  <a:pt x="376161" y="312204"/>
                </a:moveTo>
                <a:lnTo>
                  <a:pt x="377761" y="324802"/>
                </a:lnTo>
                <a:moveTo>
                  <a:pt x="382130" y="311213"/>
                </a:moveTo>
                <a:lnTo>
                  <a:pt x="384365" y="323722"/>
                </a:lnTo>
                <a:moveTo>
                  <a:pt x="388404" y="310095"/>
                </a:moveTo>
                <a:lnTo>
                  <a:pt x="390626" y="322592"/>
                </a:lnTo>
                <a:moveTo>
                  <a:pt x="394347" y="308978"/>
                </a:moveTo>
                <a:lnTo>
                  <a:pt x="397192" y="321348"/>
                </a:lnTo>
                <a:moveTo>
                  <a:pt x="400545" y="307543"/>
                </a:moveTo>
                <a:lnTo>
                  <a:pt x="403402" y="319913"/>
                </a:lnTo>
                <a:moveTo>
                  <a:pt x="406755" y="306108"/>
                </a:moveTo>
                <a:lnTo>
                  <a:pt x="409613" y="318490"/>
                </a:lnTo>
                <a:moveTo>
                  <a:pt x="412597" y="304545"/>
                </a:moveTo>
                <a:lnTo>
                  <a:pt x="416064" y="316763"/>
                </a:lnTo>
                <a:moveTo>
                  <a:pt x="418718" y="302806"/>
                </a:moveTo>
                <a:lnTo>
                  <a:pt x="422186" y="315023"/>
                </a:lnTo>
                <a:moveTo>
                  <a:pt x="424535" y="301104"/>
                </a:moveTo>
                <a:lnTo>
                  <a:pt x="428599" y="313131"/>
                </a:lnTo>
                <a:moveTo>
                  <a:pt x="430568" y="299059"/>
                </a:moveTo>
                <a:lnTo>
                  <a:pt x="434632" y="311086"/>
                </a:lnTo>
                <a:moveTo>
                  <a:pt x="436600" y="297014"/>
                </a:moveTo>
                <a:lnTo>
                  <a:pt x="440664" y="309054"/>
                </a:lnTo>
                <a:moveTo>
                  <a:pt x="442264" y="294881"/>
                </a:moveTo>
                <a:lnTo>
                  <a:pt x="446912" y="306692"/>
                </a:lnTo>
                <a:moveTo>
                  <a:pt x="448183" y="292544"/>
                </a:moveTo>
                <a:lnTo>
                  <a:pt x="452843" y="304355"/>
                </a:lnTo>
                <a:moveTo>
                  <a:pt x="453796" y="290271"/>
                </a:moveTo>
                <a:lnTo>
                  <a:pt x="459028" y="301840"/>
                </a:lnTo>
                <a:moveTo>
                  <a:pt x="459600" y="287642"/>
                </a:moveTo>
                <a:lnTo>
                  <a:pt x="464832" y="299211"/>
                </a:lnTo>
                <a:moveTo>
                  <a:pt x="465404" y="285013"/>
                </a:moveTo>
                <a:lnTo>
                  <a:pt x="470636" y="296595"/>
                </a:lnTo>
                <a:moveTo>
                  <a:pt x="470827" y="282320"/>
                </a:moveTo>
                <a:lnTo>
                  <a:pt x="476605" y="293624"/>
                </a:lnTo>
                <a:moveTo>
                  <a:pt x="476491" y="279412"/>
                </a:moveTo>
                <a:lnTo>
                  <a:pt x="482282" y="290715"/>
                </a:lnTo>
                <a:moveTo>
                  <a:pt x="481837" y="276580"/>
                </a:moveTo>
                <a:lnTo>
                  <a:pt x="488175" y="287591"/>
                </a:lnTo>
                <a:moveTo>
                  <a:pt x="487362" y="273405"/>
                </a:moveTo>
                <a:lnTo>
                  <a:pt x="493699" y="284416"/>
                </a:lnTo>
                <a:moveTo>
                  <a:pt x="492887" y="270230"/>
                </a:moveTo>
                <a:lnTo>
                  <a:pt x="499211" y="281241"/>
                </a:lnTo>
                <a:moveTo>
                  <a:pt x="498005" y="266992"/>
                </a:moveTo>
                <a:lnTo>
                  <a:pt x="504863" y="277685"/>
                </a:lnTo>
                <a:moveTo>
                  <a:pt x="503364" y="263550"/>
                </a:moveTo>
                <a:lnTo>
                  <a:pt x="510222" y="274243"/>
                </a:lnTo>
                <a:moveTo>
                  <a:pt x="508406" y="260184"/>
                </a:moveTo>
                <a:lnTo>
                  <a:pt x="515772" y="270535"/>
                </a:lnTo>
                <a:moveTo>
                  <a:pt x="513600" y="256501"/>
                </a:moveTo>
                <a:lnTo>
                  <a:pt x="520954" y="266839"/>
                </a:lnTo>
                <a:moveTo>
                  <a:pt x="518782" y="252806"/>
                </a:moveTo>
                <a:lnTo>
                  <a:pt x="526148" y="263156"/>
                </a:lnTo>
                <a:moveTo>
                  <a:pt x="523557" y="249059"/>
                </a:moveTo>
                <a:lnTo>
                  <a:pt x="531406" y="259041"/>
                </a:lnTo>
                <a:moveTo>
                  <a:pt x="528561" y="245122"/>
                </a:moveTo>
                <a:lnTo>
                  <a:pt x="536409" y="255117"/>
                </a:lnTo>
                <a:moveTo>
                  <a:pt x="533234" y="241261"/>
                </a:moveTo>
                <a:lnTo>
                  <a:pt x="541553" y="250863"/>
                </a:lnTo>
                <a:moveTo>
                  <a:pt x="538048" y="237096"/>
                </a:moveTo>
                <a:lnTo>
                  <a:pt x="546366" y="246697"/>
                </a:lnTo>
                <a:moveTo>
                  <a:pt x="542620" y="233108"/>
                </a:moveTo>
                <a:lnTo>
                  <a:pt x="551383" y="242303"/>
                </a:lnTo>
                <a:moveTo>
                  <a:pt x="547230" y="228714"/>
                </a:moveTo>
                <a:lnTo>
                  <a:pt x="555993" y="237896"/>
                </a:lnTo>
                <a:moveTo>
                  <a:pt x="551840" y="224320"/>
                </a:moveTo>
                <a:lnTo>
                  <a:pt x="560603" y="233502"/>
                </a:lnTo>
                <a:moveTo>
                  <a:pt x="556094" y="220002"/>
                </a:moveTo>
                <a:lnTo>
                  <a:pt x="565289" y="228752"/>
                </a:lnTo>
                <a:moveTo>
                  <a:pt x="560489" y="215379"/>
                </a:moveTo>
                <a:lnTo>
                  <a:pt x="569683" y="224154"/>
                </a:lnTo>
                <a:moveTo>
                  <a:pt x="564629" y="210959"/>
                </a:moveTo>
                <a:lnTo>
                  <a:pt x="574230" y="219265"/>
                </a:lnTo>
                <a:moveTo>
                  <a:pt x="568794" y="206146"/>
                </a:moveTo>
                <a:lnTo>
                  <a:pt x="578396" y="214452"/>
                </a:lnTo>
                <a:moveTo>
                  <a:pt x="572973" y="201333"/>
                </a:moveTo>
                <a:lnTo>
                  <a:pt x="582561" y="209638"/>
                </a:lnTo>
                <a:moveTo>
                  <a:pt x="576757" y="196595"/>
                </a:moveTo>
                <a:lnTo>
                  <a:pt x="586740" y="204444"/>
                </a:lnTo>
                <a:moveTo>
                  <a:pt x="580694" y="191592"/>
                </a:moveTo>
                <a:lnTo>
                  <a:pt x="590676" y="199440"/>
                </a:lnTo>
                <a:moveTo>
                  <a:pt x="584365" y="186766"/>
                </a:moveTo>
                <a:lnTo>
                  <a:pt x="594715" y="194119"/>
                </a:lnTo>
                <a:moveTo>
                  <a:pt x="588048" y="181571"/>
                </a:moveTo>
                <a:lnTo>
                  <a:pt x="598398" y="188925"/>
                </a:lnTo>
                <a:moveTo>
                  <a:pt x="591743" y="176377"/>
                </a:moveTo>
                <a:lnTo>
                  <a:pt x="602094" y="183743"/>
                </a:lnTo>
                <a:moveTo>
                  <a:pt x="595033" y="171284"/>
                </a:moveTo>
                <a:lnTo>
                  <a:pt x="605726" y="178142"/>
                </a:lnTo>
                <a:moveTo>
                  <a:pt x="598462" y="165925"/>
                </a:moveTo>
                <a:lnTo>
                  <a:pt x="609155" y="172783"/>
                </a:lnTo>
                <a:moveTo>
                  <a:pt x="601624" y="160756"/>
                </a:moveTo>
                <a:lnTo>
                  <a:pt x="612635" y="167081"/>
                </a:lnTo>
                <a:moveTo>
                  <a:pt x="604799" y="155232"/>
                </a:moveTo>
                <a:lnTo>
                  <a:pt x="615810" y="161569"/>
                </a:lnTo>
                <a:moveTo>
                  <a:pt x="607822" y="149987"/>
                </a:moveTo>
                <a:lnTo>
                  <a:pt x="619125" y="155765"/>
                </a:lnTo>
                <a:moveTo>
                  <a:pt x="610730" y="144310"/>
                </a:moveTo>
                <a:lnTo>
                  <a:pt x="622033" y="150101"/>
                </a:lnTo>
                <a:moveTo>
                  <a:pt x="613625" y="138645"/>
                </a:moveTo>
                <a:lnTo>
                  <a:pt x="624928" y="144437"/>
                </a:lnTo>
                <a:moveTo>
                  <a:pt x="616242" y="133184"/>
                </a:moveTo>
                <a:lnTo>
                  <a:pt x="627811" y="138417"/>
                </a:lnTo>
                <a:moveTo>
                  <a:pt x="618858" y="127380"/>
                </a:moveTo>
                <a:lnTo>
                  <a:pt x="630440" y="132613"/>
                </a:lnTo>
                <a:moveTo>
                  <a:pt x="621334" y="121843"/>
                </a:moveTo>
                <a:lnTo>
                  <a:pt x="633158" y="126504"/>
                </a:lnTo>
                <a:moveTo>
                  <a:pt x="623671" y="115925"/>
                </a:moveTo>
                <a:lnTo>
                  <a:pt x="635495" y="120586"/>
                </a:lnTo>
                <a:moveTo>
                  <a:pt x="626008" y="110007"/>
                </a:moveTo>
                <a:lnTo>
                  <a:pt x="637832" y="114655"/>
                </a:lnTo>
                <a:moveTo>
                  <a:pt x="628053" y="104305"/>
                </a:moveTo>
                <a:lnTo>
                  <a:pt x="640092" y="108369"/>
                </a:lnTo>
                <a:moveTo>
                  <a:pt x="630097" y="98272"/>
                </a:moveTo>
                <a:lnTo>
                  <a:pt x="642124" y="102349"/>
                </a:lnTo>
                <a:moveTo>
                  <a:pt x="632015" y="92532"/>
                </a:moveTo>
                <a:lnTo>
                  <a:pt x="644232" y="95999"/>
                </a:lnTo>
                <a:moveTo>
                  <a:pt x="633755" y="86398"/>
                </a:moveTo>
                <a:lnTo>
                  <a:pt x="645960" y="89877"/>
                </a:lnTo>
                <a:moveTo>
                  <a:pt x="635495" y="80276"/>
                </a:moveTo>
                <a:lnTo>
                  <a:pt x="647700" y="83743"/>
                </a:lnTo>
                <a:moveTo>
                  <a:pt x="636955" y="74409"/>
                </a:moveTo>
                <a:lnTo>
                  <a:pt x="649338" y="77266"/>
                </a:lnTo>
                <a:moveTo>
                  <a:pt x="638390" y="68198"/>
                </a:moveTo>
                <a:lnTo>
                  <a:pt x="650760" y="71056"/>
                </a:lnTo>
                <a:moveTo>
                  <a:pt x="639724" y="62306"/>
                </a:moveTo>
                <a:lnTo>
                  <a:pt x="652233" y="64541"/>
                </a:lnTo>
                <a:moveTo>
                  <a:pt x="640841" y="56032"/>
                </a:moveTo>
                <a:lnTo>
                  <a:pt x="653351" y="58267"/>
                </a:lnTo>
                <a:moveTo>
                  <a:pt x="641959" y="49758"/>
                </a:moveTo>
                <a:lnTo>
                  <a:pt x="654469" y="51993"/>
                </a:lnTo>
                <a:moveTo>
                  <a:pt x="642861" y="43789"/>
                </a:moveTo>
                <a:lnTo>
                  <a:pt x="655459" y="45389"/>
                </a:lnTo>
                <a:moveTo>
                  <a:pt x="643661" y="37465"/>
                </a:moveTo>
                <a:lnTo>
                  <a:pt x="656259" y="39065"/>
                </a:lnTo>
                <a:moveTo>
                  <a:pt x="644423" y="31470"/>
                </a:moveTo>
                <a:lnTo>
                  <a:pt x="657085" y="32435"/>
                </a:lnTo>
                <a:moveTo>
                  <a:pt x="644905" y="25120"/>
                </a:moveTo>
                <a:lnTo>
                  <a:pt x="657567" y="26085"/>
                </a:lnTo>
                <a:moveTo>
                  <a:pt x="645388" y="18770"/>
                </a:moveTo>
                <a:lnTo>
                  <a:pt x="658050" y="19735"/>
                </a:lnTo>
                <a:moveTo>
                  <a:pt x="645718" y="12738"/>
                </a:moveTo>
                <a:lnTo>
                  <a:pt x="658418" y="13055"/>
                </a:lnTo>
                <a:moveTo>
                  <a:pt x="645883" y="6362"/>
                </a:moveTo>
                <a:lnTo>
                  <a:pt x="658583" y="6692"/>
                </a:lnTo>
                <a:moveTo>
                  <a:pt x="646048" y="0"/>
                </a:moveTo>
                <a:lnTo>
                  <a:pt x="658736" y="317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56" name="Freeform 803"/>
          <p:cNvSpPr/>
          <p:nvPr/>
        </p:nvSpPr>
        <p:spPr>
          <a:xfrm>
            <a:off x="7266812" y="2580977"/>
            <a:ext cx="1800000" cy="19281"/>
          </a:xfrm>
          <a:custGeom>
            <a:avLst/>
            <a:gdLst/>
            <a:ahLst/>
            <a:cxnLst/>
            <a:rect l="0" t="0" r="0" b="0"/>
            <a:pathLst>
              <a:path w="1185621" h="12700">
                <a:moveTo>
                  <a:pt x="0" y="0"/>
                </a:moveTo>
                <a:lnTo>
                  <a:pt x="0" y="12700"/>
                </a:lnTo>
                <a:moveTo>
                  <a:pt x="6375" y="0"/>
                </a:moveTo>
                <a:lnTo>
                  <a:pt x="6375" y="12700"/>
                </a:lnTo>
                <a:moveTo>
                  <a:pt x="12750" y="0"/>
                </a:moveTo>
                <a:lnTo>
                  <a:pt x="12750" y="12700"/>
                </a:lnTo>
                <a:moveTo>
                  <a:pt x="19126" y="0"/>
                </a:moveTo>
                <a:lnTo>
                  <a:pt x="19126" y="12700"/>
                </a:lnTo>
                <a:moveTo>
                  <a:pt x="25501" y="0"/>
                </a:moveTo>
                <a:lnTo>
                  <a:pt x="25501" y="12700"/>
                </a:lnTo>
                <a:moveTo>
                  <a:pt x="31876" y="0"/>
                </a:moveTo>
                <a:lnTo>
                  <a:pt x="31876" y="12700"/>
                </a:lnTo>
                <a:moveTo>
                  <a:pt x="38239" y="0"/>
                </a:moveTo>
                <a:lnTo>
                  <a:pt x="38239" y="12700"/>
                </a:lnTo>
                <a:moveTo>
                  <a:pt x="44615" y="0"/>
                </a:moveTo>
                <a:lnTo>
                  <a:pt x="44615" y="12700"/>
                </a:lnTo>
                <a:moveTo>
                  <a:pt x="50990" y="0"/>
                </a:moveTo>
                <a:lnTo>
                  <a:pt x="50990" y="12700"/>
                </a:lnTo>
                <a:moveTo>
                  <a:pt x="57365" y="0"/>
                </a:moveTo>
                <a:lnTo>
                  <a:pt x="57365" y="12700"/>
                </a:lnTo>
                <a:moveTo>
                  <a:pt x="63741" y="0"/>
                </a:moveTo>
                <a:lnTo>
                  <a:pt x="63741" y="12700"/>
                </a:lnTo>
                <a:moveTo>
                  <a:pt x="70116" y="0"/>
                </a:moveTo>
                <a:lnTo>
                  <a:pt x="70116" y="12700"/>
                </a:lnTo>
                <a:moveTo>
                  <a:pt x="76492" y="0"/>
                </a:moveTo>
                <a:lnTo>
                  <a:pt x="76492" y="12700"/>
                </a:lnTo>
                <a:moveTo>
                  <a:pt x="82867" y="0"/>
                </a:moveTo>
                <a:lnTo>
                  <a:pt x="82867" y="12700"/>
                </a:lnTo>
                <a:moveTo>
                  <a:pt x="89242" y="0"/>
                </a:moveTo>
                <a:lnTo>
                  <a:pt x="89242" y="12700"/>
                </a:lnTo>
                <a:moveTo>
                  <a:pt x="95618" y="0"/>
                </a:moveTo>
                <a:lnTo>
                  <a:pt x="95618" y="12700"/>
                </a:lnTo>
                <a:moveTo>
                  <a:pt x="101993" y="0"/>
                </a:moveTo>
                <a:lnTo>
                  <a:pt x="101993" y="12700"/>
                </a:lnTo>
                <a:moveTo>
                  <a:pt x="108369" y="0"/>
                </a:moveTo>
                <a:lnTo>
                  <a:pt x="108369" y="12700"/>
                </a:lnTo>
                <a:moveTo>
                  <a:pt x="114731" y="0"/>
                </a:moveTo>
                <a:lnTo>
                  <a:pt x="114731" y="12700"/>
                </a:lnTo>
                <a:moveTo>
                  <a:pt x="121107" y="0"/>
                </a:moveTo>
                <a:lnTo>
                  <a:pt x="121107" y="12700"/>
                </a:lnTo>
                <a:moveTo>
                  <a:pt x="127482" y="0"/>
                </a:moveTo>
                <a:lnTo>
                  <a:pt x="127482" y="12700"/>
                </a:lnTo>
                <a:moveTo>
                  <a:pt x="133857" y="0"/>
                </a:moveTo>
                <a:lnTo>
                  <a:pt x="133857" y="12700"/>
                </a:lnTo>
                <a:moveTo>
                  <a:pt x="140233" y="0"/>
                </a:moveTo>
                <a:lnTo>
                  <a:pt x="140233" y="12700"/>
                </a:lnTo>
                <a:moveTo>
                  <a:pt x="146608" y="0"/>
                </a:moveTo>
                <a:lnTo>
                  <a:pt x="146608" y="12700"/>
                </a:lnTo>
                <a:moveTo>
                  <a:pt x="152984" y="0"/>
                </a:moveTo>
                <a:lnTo>
                  <a:pt x="152984" y="12700"/>
                </a:lnTo>
                <a:moveTo>
                  <a:pt x="159359" y="0"/>
                </a:moveTo>
                <a:lnTo>
                  <a:pt x="159359" y="12700"/>
                </a:lnTo>
                <a:moveTo>
                  <a:pt x="165735" y="0"/>
                </a:moveTo>
                <a:lnTo>
                  <a:pt x="165735" y="12700"/>
                </a:lnTo>
                <a:moveTo>
                  <a:pt x="172110" y="0"/>
                </a:moveTo>
                <a:lnTo>
                  <a:pt x="172110" y="12700"/>
                </a:lnTo>
                <a:moveTo>
                  <a:pt x="178485" y="0"/>
                </a:moveTo>
                <a:lnTo>
                  <a:pt x="178485" y="12700"/>
                </a:lnTo>
                <a:moveTo>
                  <a:pt x="184861" y="0"/>
                </a:moveTo>
                <a:lnTo>
                  <a:pt x="184861" y="12700"/>
                </a:lnTo>
                <a:moveTo>
                  <a:pt x="191223" y="0"/>
                </a:moveTo>
                <a:lnTo>
                  <a:pt x="191223" y="12700"/>
                </a:lnTo>
                <a:moveTo>
                  <a:pt x="197599" y="0"/>
                </a:moveTo>
                <a:lnTo>
                  <a:pt x="197599" y="12700"/>
                </a:lnTo>
                <a:moveTo>
                  <a:pt x="203974" y="0"/>
                </a:moveTo>
                <a:lnTo>
                  <a:pt x="203974" y="12700"/>
                </a:lnTo>
                <a:moveTo>
                  <a:pt x="210350" y="0"/>
                </a:moveTo>
                <a:lnTo>
                  <a:pt x="210350" y="12700"/>
                </a:lnTo>
                <a:moveTo>
                  <a:pt x="216725" y="0"/>
                </a:moveTo>
                <a:lnTo>
                  <a:pt x="216725" y="12700"/>
                </a:lnTo>
                <a:moveTo>
                  <a:pt x="223100" y="0"/>
                </a:moveTo>
                <a:lnTo>
                  <a:pt x="223100" y="12700"/>
                </a:lnTo>
                <a:moveTo>
                  <a:pt x="229476" y="0"/>
                </a:moveTo>
                <a:lnTo>
                  <a:pt x="229476" y="12700"/>
                </a:lnTo>
                <a:moveTo>
                  <a:pt x="235851" y="0"/>
                </a:moveTo>
                <a:lnTo>
                  <a:pt x="235851" y="12700"/>
                </a:lnTo>
                <a:moveTo>
                  <a:pt x="242227" y="0"/>
                </a:moveTo>
                <a:lnTo>
                  <a:pt x="242227" y="12700"/>
                </a:lnTo>
                <a:moveTo>
                  <a:pt x="248602" y="0"/>
                </a:moveTo>
                <a:lnTo>
                  <a:pt x="248602" y="12700"/>
                </a:lnTo>
                <a:moveTo>
                  <a:pt x="254977" y="0"/>
                </a:moveTo>
                <a:lnTo>
                  <a:pt x="254977" y="12700"/>
                </a:lnTo>
                <a:moveTo>
                  <a:pt x="261353" y="0"/>
                </a:moveTo>
                <a:lnTo>
                  <a:pt x="261353" y="12700"/>
                </a:lnTo>
                <a:moveTo>
                  <a:pt x="267715" y="0"/>
                </a:moveTo>
                <a:lnTo>
                  <a:pt x="267715" y="12700"/>
                </a:lnTo>
                <a:moveTo>
                  <a:pt x="274091" y="0"/>
                </a:moveTo>
                <a:lnTo>
                  <a:pt x="274091" y="12700"/>
                </a:lnTo>
                <a:moveTo>
                  <a:pt x="280466" y="0"/>
                </a:moveTo>
                <a:lnTo>
                  <a:pt x="280466" y="12700"/>
                </a:lnTo>
                <a:moveTo>
                  <a:pt x="286842" y="0"/>
                </a:moveTo>
                <a:lnTo>
                  <a:pt x="286842" y="12700"/>
                </a:lnTo>
                <a:moveTo>
                  <a:pt x="293217" y="0"/>
                </a:moveTo>
                <a:lnTo>
                  <a:pt x="293217" y="12700"/>
                </a:lnTo>
                <a:moveTo>
                  <a:pt x="299593" y="0"/>
                </a:moveTo>
                <a:lnTo>
                  <a:pt x="299593" y="12700"/>
                </a:lnTo>
                <a:moveTo>
                  <a:pt x="305968" y="0"/>
                </a:moveTo>
                <a:lnTo>
                  <a:pt x="305968" y="12700"/>
                </a:lnTo>
                <a:moveTo>
                  <a:pt x="312343" y="0"/>
                </a:moveTo>
                <a:lnTo>
                  <a:pt x="312343" y="12700"/>
                </a:lnTo>
                <a:moveTo>
                  <a:pt x="318719" y="0"/>
                </a:moveTo>
                <a:lnTo>
                  <a:pt x="318719" y="12700"/>
                </a:lnTo>
                <a:moveTo>
                  <a:pt x="325094" y="0"/>
                </a:moveTo>
                <a:lnTo>
                  <a:pt x="325094" y="12700"/>
                </a:lnTo>
                <a:moveTo>
                  <a:pt x="331470" y="0"/>
                </a:moveTo>
                <a:lnTo>
                  <a:pt x="331470" y="12700"/>
                </a:lnTo>
                <a:moveTo>
                  <a:pt x="337845" y="0"/>
                </a:moveTo>
                <a:lnTo>
                  <a:pt x="337845" y="12700"/>
                </a:lnTo>
                <a:moveTo>
                  <a:pt x="344208" y="0"/>
                </a:moveTo>
                <a:lnTo>
                  <a:pt x="344208" y="12700"/>
                </a:lnTo>
                <a:moveTo>
                  <a:pt x="350583" y="0"/>
                </a:moveTo>
                <a:lnTo>
                  <a:pt x="350583" y="12700"/>
                </a:lnTo>
                <a:moveTo>
                  <a:pt x="356958" y="0"/>
                </a:moveTo>
                <a:lnTo>
                  <a:pt x="356958" y="12700"/>
                </a:lnTo>
                <a:moveTo>
                  <a:pt x="363334" y="0"/>
                </a:moveTo>
                <a:lnTo>
                  <a:pt x="363334" y="12700"/>
                </a:lnTo>
                <a:moveTo>
                  <a:pt x="369709" y="0"/>
                </a:moveTo>
                <a:lnTo>
                  <a:pt x="369709" y="12700"/>
                </a:lnTo>
                <a:moveTo>
                  <a:pt x="376085" y="0"/>
                </a:moveTo>
                <a:lnTo>
                  <a:pt x="376085" y="12700"/>
                </a:lnTo>
                <a:moveTo>
                  <a:pt x="382460" y="0"/>
                </a:moveTo>
                <a:lnTo>
                  <a:pt x="382460" y="12700"/>
                </a:lnTo>
                <a:moveTo>
                  <a:pt x="388835" y="0"/>
                </a:moveTo>
                <a:lnTo>
                  <a:pt x="388835" y="12700"/>
                </a:lnTo>
                <a:moveTo>
                  <a:pt x="395211" y="0"/>
                </a:moveTo>
                <a:lnTo>
                  <a:pt x="395211" y="12700"/>
                </a:lnTo>
                <a:moveTo>
                  <a:pt x="401586" y="0"/>
                </a:moveTo>
                <a:lnTo>
                  <a:pt x="401586" y="12700"/>
                </a:lnTo>
                <a:moveTo>
                  <a:pt x="407962" y="0"/>
                </a:moveTo>
                <a:lnTo>
                  <a:pt x="407962" y="12700"/>
                </a:lnTo>
                <a:moveTo>
                  <a:pt x="414337" y="0"/>
                </a:moveTo>
                <a:lnTo>
                  <a:pt x="414337" y="12700"/>
                </a:lnTo>
                <a:moveTo>
                  <a:pt x="420700" y="0"/>
                </a:moveTo>
                <a:lnTo>
                  <a:pt x="420700" y="12700"/>
                </a:lnTo>
                <a:moveTo>
                  <a:pt x="427075" y="0"/>
                </a:moveTo>
                <a:lnTo>
                  <a:pt x="427075" y="12700"/>
                </a:lnTo>
                <a:moveTo>
                  <a:pt x="433451" y="0"/>
                </a:moveTo>
                <a:lnTo>
                  <a:pt x="433451" y="12700"/>
                </a:lnTo>
                <a:moveTo>
                  <a:pt x="439826" y="0"/>
                </a:moveTo>
                <a:lnTo>
                  <a:pt x="439826" y="12700"/>
                </a:lnTo>
                <a:moveTo>
                  <a:pt x="446201" y="0"/>
                </a:moveTo>
                <a:lnTo>
                  <a:pt x="446201" y="12700"/>
                </a:lnTo>
                <a:moveTo>
                  <a:pt x="452577" y="0"/>
                </a:moveTo>
                <a:lnTo>
                  <a:pt x="452577" y="12700"/>
                </a:lnTo>
                <a:moveTo>
                  <a:pt x="458952" y="0"/>
                </a:moveTo>
                <a:lnTo>
                  <a:pt x="458952" y="12700"/>
                </a:lnTo>
                <a:moveTo>
                  <a:pt x="465327" y="0"/>
                </a:moveTo>
                <a:lnTo>
                  <a:pt x="465327" y="12700"/>
                </a:lnTo>
                <a:moveTo>
                  <a:pt x="471703" y="0"/>
                </a:moveTo>
                <a:lnTo>
                  <a:pt x="471703" y="12700"/>
                </a:lnTo>
                <a:moveTo>
                  <a:pt x="478078" y="0"/>
                </a:moveTo>
                <a:lnTo>
                  <a:pt x="478078" y="12700"/>
                </a:lnTo>
                <a:moveTo>
                  <a:pt x="484454" y="0"/>
                </a:moveTo>
                <a:lnTo>
                  <a:pt x="484454" y="12700"/>
                </a:lnTo>
                <a:moveTo>
                  <a:pt x="490816" y="0"/>
                </a:moveTo>
                <a:lnTo>
                  <a:pt x="490816" y="12700"/>
                </a:lnTo>
                <a:moveTo>
                  <a:pt x="497192" y="0"/>
                </a:moveTo>
                <a:lnTo>
                  <a:pt x="497192" y="12700"/>
                </a:lnTo>
                <a:moveTo>
                  <a:pt x="503567" y="0"/>
                </a:moveTo>
                <a:lnTo>
                  <a:pt x="503567" y="12700"/>
                </a:lnTo>
                <a:moveTo>
                  <a:pt x="509943" y="0"/>
                </a:moveTo>
                <a:lnTo>
                  <a:pt x="509943" y="12700"/>
                </a:lnTo>
                <a:moveTo>
                  <a:pt x="516318" y="0"/>
                </a:moveTo>
                <a:lnTo>
                  <a:pt x="516318" y="12700"/>
                </a:lnTo>
                <a:moveTo>
                  <a:pt x="522693" y="0"/>
                </a:moveTo>
                <a:lnTo>
                  <a:pt x="522693" y="12700"/>
                </a:lnTo>
                <a:moveTo>
                  <a:pt x="529069" y="0"/>
                </a:moveTo>
                <a:lnTo>
                  <a:pt x="529069" y="12700"/>
                </a:lnTo>
                <a:moveTo>
                  <a:pt x="535444" y="0"/>
                </a:moveTo>
                <a:lnTo>
                  <a:pt x="535444" y="12700"/>
                </a:lnTo>
                <a:moveTo>
                  <a:pt x="541820" y="0"/>
                </a:moveTo>
                <a:lnTo>
                  <a:pt x="541820" y="12700"/>
                </a:lnTo>
                <a:moveTo>
                  <a:pt x="548195" y="0"/>
                </a:moveTo>
                <a:lnTo>
                  <a:pt x="548195" y="12700"/>
                </a:lnTo>
                <a:moveTo>
                  <a:pt x="554570" y="0"/>
                </a:moveTo>
                <a:lnTo>
                  <a:pt x="554570" y="12700"/>
                </a:lnTo>
                <a:moveTo>
                  <a:pt x="560946" y="0"/>
                </a:moveTo>
                <a:lnTo>
                  <a:pt x="560946" y="12700"/>
                </a:lnTo>
                <a:moveTo>
                  <a:pt x="567308" y="0"/>
                </a:moveTo>
                <a:lnTo>
                  <a:pt x="567308" y="12700"/>
                </a:lnTo>
                <a:moveTo>
                  <a:pt x="573684" y="0"/>
                </a:moveTo>
                <a:lnTo>
                  <a:pt x="573684" y="12700"/>
                </a:lnTo>
                <a:moveTo>
                  <a:pt x="580059" y="0"/>
                </a:moveTo>
                <a:lnTo>
                  <a:pt x="580059" y="12700"/>
                </a:lnTo>
                <a:moveTo>
                  <a:pt x="586435" y="0"/>
                </a:moveTo>
                <a:lnTo>
                  <a:pt x="586435" y="12700"/>
                </a:lnTo>
                <a:moveTo>
                  <a:pt x="592810" y="0"/>
                </a:moveTo>
                <a:lnTo>
                  <a:pt x="592810" y="12700"/>
                </a:lnTo>
                <a:moveTo>
                  <a:pt x="599186" y="0"/>
                </a:moveTo>
                <a:lnTo>
                  <a:pt x="599186" y="12700"/>
                </a:lnTo>
                <a:moveTo>
                  <a:pt x="605561" y="0"/>
                </a:moveTo>
                <a:lnTo>
                  <a:pt x="605561" y="12700"/>
                </a:lnTo>
                <a:moveTo>
                  <a:pt x="611936" y="0"/>
                </a:moveTo>
                <a:lnTo>
                  <a:pt x="611936" y="12700"/>
                </a:lnTo>
                <a:moveTo>
                  <a:pt x="618312" y="0"/>
                </a:moveTo>
                <a:lnTo>
                  <a:pt x="618312" y="12700"/>
                </a:lnTo>
                <a:moveTo>
                  <a:pt x="624687" y="0"/>
                </a:moveTo>
                <a:lnTo>
                  <a:pt x="624687" y="12700"/>
                </a:lnTo>
                <a:moveTo>
                  <a:pt x="631062" y="0"/>
                </a:moveTo>
                <a:lnTo>
                  <a:pt x="631062" y="12700"/>
                </a:lnTo>
                <a:moveTo>
                  <a:pt x="637438" y="0"/>
                </a:moveTo>
                <a:lnTo>
                  <a:pt x="637438" y="12700"/>
                </a:lnTo>
                <a:moveTo>
                  <a:pt x="643801" y="0"/>
                </a:moveTo>
                <a:lnTo>
                  <a:pt x="643801" y="12700"/>
                </a:lnTo>
                <a:moveTo>
                  <a:pt x="650176" y="0"/>
                </a:moveTo>
                <a:lnTo>
                  <a:pt x="650176" y="12700"/>
                </a:lnTo>
                <a:moveTo>
                  <a:pt x="656551" y="0"/>
                </a:moveTo>
                <a:lnTo>
                  <a:pt x="656551" y="12700"/>
                </a:lnTo>
                <a:moveTo>
                  <a:pt x="662927" y="0"/>
                </a:moveTo>
                <a:lnTo>
                  <a:pt x="662927" y="12700"/>
                </a:lnTo>
                <a:moveTo>
                  <a:pt x="669302" y="0"/>
                </a:moveTo>
                <a:lnTo>
                  <a:pt x="669302" y="12700"/>
                </a:lnTo>
                <a:moveTo>
                  <a:pt x="675678" y="0"/>
                </a:moveTo>
                <a:lnTo>
                  <a:pt x="675678" y="12700"/>
                </a:lnTo>
                <a:moveTo>
                  <a:pt x="682053" y="0"/>
                </a:moveTo>
                <a:lnTo>
                  <a:pt x="682053" y="12700"/>
                </a:lnTo>
                <a:moveTo>
                  <a:pt x="688428" y="0"/>
                </a:moveTo>
                <a:lnTo>
                  <a:pt x="688428" y="12700"/>
                </a:lnTo>
                <a:moveTo>
                  <a:pt x="694804" y="0"/>
                </a:moveTo>
                <a:lnTo>
                  <a:pt x="694804" y="12700"/>
                </a:lnTo>
                <a:moveTo>
                  <a:pt x="701179" y="0"/>
                </a:moveTo>
                <a:lnTo>
                  <a:pt x="701179" y="12700"/>
                </a:lnTo>
                <a:moveTo>
                  <a:pt x="707555" y="0"/>
                </a:moveTo>
                <a:lnTo>
                  <a:pt x="707555" y="12700"/>
                </a:lnTo>
                <a:moveTo>
                  <a:pt x="713930" y="0"/>
                </a:moveTo>
                <a:lnTo>
                  <a:pt x="713930" y="12700"/>
                </a:lnTo>
                <a:moveTo>
                  <a:pt x="720293" y="0"/>
                </a:moveTo>
                <a:lnTo>
                  <a:pt x="720293" y="12700"/>
                </a:lnTo>
                <a:moveTo>
                  <a:pt x="726668" y="0"/>
                </a:moveTo>
                <a:lnTo>
                  <a:pt x="726668" y="12700"/>
                </a:lnTo>
                <a:moveTo>
                  <a:pt x="733044" y="0"/>
                </a:moveTo>
                <a:lnTo>
                  <a:pt x="733044" y="12700"/>
                </a:lnTo>
                <a:moveTo>
                  <a:pt x="739419" y="0"/>
                </a:moveTo>
                <a:lnTo>
                  <a:pt x="739419" y="12700"/>
                </a:lnTo>
                <a:moveTo>
                  <a:pt x="745794" y="0"/>
                </a:moveTo>
                <a:lnTo>
                  <a:pt x="745794" y="12700"/>
                </a:lnTo>
                <a:moveTo>
                  <a:pt x="752170" y="0"/>
                </a:moveTo>
                <a:lnTo>
                  <a:pt x="752170" y="12700"/>
                </a:lnTo>
                <a:moveTo>
                  <a:pt x="758545" y="0"/>
                </a:moveTo>
                <a:lnTo>
                  <a:pt x="758545" y="12700"/>
                </a:lnTo>
                <a:moveTo>
                  <a:pt x="764920" y="0"/>
                </a:moveTo>
                <a:lnTo>
                  <a:pt x="764920" y="12700"/>
                </a:lnTo>
                <a:moveTo>
                  <a:pt x="771296" y="0"/>
                </a:moveTo>
                <a:lnTo>
                  <a:pt x="771296" y="12700"/>
                </a:lnTo>
                <a:moveTo>
                  <a:pt x="777671" y="0"/>
                </a:moveTo>
                <a:lnTo>
                  <a:pt x="777671" y="12700"/>
                </a:lnTo>
                <a:moveTo>
                  <a:pt x="784047" y="0"/>
                </a:moveTo>
                <a:lnTo>
                  <a:pt x="784047" y="12700"/>
                </a:lnTo>
                <a:moveTo>
                  <a:pt x="790422" y="0"/>
                </a:moveTo>
                <a:lnTo>
                  <a:pt x="790422" y="12700"/>
                </a:lnTo>
                <a:moveTo>
                  <a:pt x="796785" y="0"/>
                </a:moveTo>
                <a:lnTo>
                  <a:pt x="796785" y="12700"/>
                </a:lnTo>
                <a:moveTo>
                  <a:pt x="803160" y="0"/>
                </a:moveTo>
                <a:lnTo>
                  <a:pt x="803160" y="12700"/>
                </a:lnTo>
                <a:moveTo>
                  <a:pt x="809536" y="0"/>
                </a:moveTo>
                <a:lnTo>
                  <a:pt x="809536" y="12700"/>
                </a:lnTo>
                <a:moveTo>
                  <a:pt x="815911" y="0"/>
                </a:moveTo>
                <a:lnTo>
                  <a:pt x="815911" y="12700"/>
                </a:lnTo>
                <a:moveTo>
                  <a:pt x="822286" y="0"/>
                </a:moveTo>
                <a:lnTo>
                  <a:pt x="822286" y="12700"/>
                </a:lnTo>
                <a:moveTo>
                  <a:pt x="828662" y="0"/>
                </a:moveTo>
                <a:lnTo>
                  <a:pt x="828662" y="12700"/>
                </a:lnTo>
                <a:moveTo>
                  <a:pt x="835037" y="0"/>
                </a:moveTo>
                <a:lnTo>
                  <a:pt x="835037" y="12700"/>
                </a:lnTo>
                <a:moveTo>
                  <a:pt x="841413" y="0"/>
                </a:moveTo>
                <a:lnTo>
                  <a:pt x="841413" y="12700"/>
                </a:lnTo>
                <a:moveTo>
                  <a:pt x="847788" y="0"/>
                </a:moveTo>
                <a:lnTo>
                  <a:pt x="847788" y="12700"/>
                </a:lnTo>
                <a:moveTo>
                  <a:pt x="854163" y="0"/>
                </a:moveTo>
                <a:lnTo>
                  <a:pt x="854163" y="12700"/>
                </a:lnTo>
                <a:moveTo>
                  <a:pt x="860539" y="0"/>
                </a:moveTo>
                <a:lnTo>
                  <a:pt x="860539" y="12700"/>
                </a:lnTo>
                <a:moveTo>
                  <a:pt x="866914" y="0"/>
                </a:moveTo>
                <a:lnTo>
                  <a:pt x="866914" y="12700"/>
                </a:lnTo>
                <a:moveTo>
                  <a:pt x="873277" y="0"/>
                </a:moveTo>
                <a:lnTo>
                  <a:pt x="873277" y="12700"/>
                </a:lnTo>
                <a:moveTo>
                  <a:pt x="879652" y="0"/>
                </a:moveTo>
                <a:lnTo>
                  <a:pt x="879652" y="12700"/>
                </a:lnTo>
                <a:moveTo>
                  <a:pt x="886028" y="0"/>
                </a:moveTo>
                <a:lnTo>
                  <a:pt x="886028" y="12700"/>
                </a:lnTo>
                <a:moveTo>
                  <a:pt x="892403" y="0"/>
                </a:moveTo>
                <a:lnTo>
                  <a:pt x="892403" y="12700"/>
                </a:lnTo>
                <a:moveTo>
                  <a:pt x="898778" y="0"/>
                </a:moveTo>
                <a:lnTo>
                  <a:pt x="898778" y="12700"/>
                </a:lnTo>
                <a:moveTo>
                  <a:pt x="905154" y="0"/>
                </a:moveTo>
                <a:lnTo>
                  <a:pt x="905154" y="12700"/>
                </a:lnTo>
                <a:moveTo>
                  <a:pt x="911529" y="0"/>
                </a:moveTo>
                <a:lnTo>
                  <a:pt x="911529" y="12700"/>
                </a:lnTo>
                <a:moveTo>
                  <a:pt x="917905" y="0"/>
                </a:moveTo>
                <a:lnTo>
                  <a:pt x="917905" y="12700"/>
                </a:lnTo>
                <a:moveTo>
                  <a:pt x="924280" y="0"/>
                </a:moveTo>
                <a:lnTo>
                  <a:pt x="924280" y="12700"/>
                </a:lnTo>
                <a:moveTo>
                  <a:pt x="930655" y="0"/>
                </a:moveTo>
                <a:lnTo>
                  <a:pt x="930655" y="12700"/>
                </a:lnTo>
                <a:moveTo>
                  <a:pt x="937031" y="0"/>
                </a:moveTo>
                <a:lnTo>
                  <a:pt x="937031" y="12700"/>
                </a:lnTo>
                <a:moveTo>
                  <a:pt x="943406" y="0"/>
                </a:moveTo>
                <a:lnTo>
                  <a:pt x="943406" y="12700"/>
                </a:lnTo>
                <a:moveTo>
                  <a:pt x="949769" y="0"/>
                </a:moveTo>
                <a:lnTo>
                  <a:pt x="949769" y="12700"/>
                </a:lnTo>
                <a:moveTo>
                  <a:pt x="956144" y="0"/>
                </a:moveTo>
                <a:lnTo>
                  <a:pt x="956144" y="12700"/>
                </a:lnTo>
                <a:moveTo>
                  <a:pt x="962520" y="0"/>
                </a:moveTo>
                <a:lnTo>
                  <a:pt x="962520" y="12700"/>
                </a:lnTo>
                <a:moveTo>
                  <a:pt x="968895" y="0"/>
                </a:moveTo>
                <a:lnTo>
                  <a:pt x="968895" y="12700"/>
                </a:lnTo>
                <a:moveTo>
                  <a:pt x="975271" y="0"/>
                </a:moveTo>
                <a:lnTo>
                  <a:pt x="975271" y="12700"/>
                </a:lnTo>
                <a:moveTo>
                  <a:pt x="981646" y="0"/>
                </a:moveTo>
                <a:lnTo>
                  <a:pt x="981646" y="12700"/>
                </a:lnTo>
                <a:moveTo>
                  <a:pt x="988021" y="0"/>
                </a:moveTo>
                <a:lnTo>
                  <a:pt x="988021" y="12700"/>
                </a:lnTo>
                <a:moveTo>
                  <a:pt x="994397" y="0"/>
                </a:moveTo>
                <a:lnTo>
                  <a:pt x="994397" y="12700"/>
                </a:lnTo>
                <a:moveTo>
                  <a:pt x="1000772" y="0"/>
                </a:moveTo>
                <a:lnTo>
                  <a:pt x="1000772" y="12700"/>
                </a:lnTo>
                <a:moveTo>
                  <a:pt x="1007148" y="0"/>
                </a:moveTo>
                <a:lnTo>
                  <a:pt x="1007148" y="12700"/>
                </a:lnTo>
                <a:moveTo>
                  <a:pt x="1013523" y="0"/>
                </a:moveTo>
                <a:lnTo>
                  <a:pt x="1013523" y="12700"/>
                </a:lnTo>
                <a:moveTo>
                  <a:pt x="1019886" y="0"/>
                </a:moveTo>
                <a:lnTo>
                  <a:pt x="1019886" y="12700"/>
                </a:lnTo>
                <a:moveTo>
                  <a:pt x="1026261" y="0"/>
                </a:moveTo>
                <a:lnTo>
                  <a:pt x="1026261" y="12700"/>
                </a:lnTo>
                <a:moveTo>
                  <a:pt x="1032636" y="0"/>
                </a:moveTo>
                <a:lnTo>
                  <a:pt x="1032636" y="12700"/>
                </a:lnTo>
                <a:moveTo>
                  <a:pt x="1039012" y="0"/>
                </a:moveTo>
                <a:lnTo>
                  <a:pt x="1039012" y="12700"/>
                </a:lnTo>
                <a:moveTo>
                  <a:pt x="1045387" y="0"/>
                </a:moveTo>
                <a:lnTo>
                  <a:pt x="1045387" y="12700"/>
                </a:lnTo>
                <a:moveTo>
                  <a:pt x="1051763" y="0"/>
                </a:moveTo>
                <a:lnTo>
                  <a:pt x="1051763" y="12700"/>
                </a:lnTo>
                <a:moveTo>
                  <a:pt x="1058138" y="0"/>
                </a:moveTo>
                <a:lnTo>
                  <a:pt x="1058138" y="12700"/>
                </a:lnTo>
                <a:moveTo>
                  <a:pt x="1064513" y="0"/>
                </a:moveTo>
                <a:lnTo>
                  <a:pt x="1064513" y="12700"/>
                </a:lnTo>
                <a:moveTo>
                  <a:pt x="1070889" y="0"/>
                </a:moveTo>
                <a:lnTo>
                  <a:pt x="1070889" y="12700"/>
                </a:lnTo>
                <a:moveTo>
                  <a:pt x="1077264" y="0"/>
                </a:moveTo>
                <a:lnTo>
                  <a:pt x="1077264" y="12700"/>
                </a:lnTo>
                <a:moveTo>
                  <a:pt x="1083640" y="0"/>
                </a:moveTo>
                <a:lnTo>
                  <a:pt x="1083640" y="12700"/>
                </a:lnTo>
                <a:moveTo>
                  <a:pt x="1090015" y="0"/>
                </a:moveTo>
                <a:lnTo>
                  <a:pt x="1090015" y="12700"/>
                </a:lnTo>
                <a:moveTo>
                  <a:pt x="1096378" y="0"/>
                </a:moveTo>
                <a:lnTo>
                  <a:pt x="1096378" y="12700"/>
                </a:lnTo>
                <a:moveTo>
                  <a:pt x="1102753" y="0"/>
                </a:moveTo>
                <a:lnTo>
                  <a:pt x="1102753" y="12700"/>
                </a:lnTo>
                <a:moveTo>
                  <a:pt x="1109129" y="0"/>
                </a:moveTo>
                <a:lnTo>
                  <a:pt x="1109129" y="12700"/>
                </a:lnTo>
                <a:moveTo>
                  <a:pt x="1115504" y="0"/>
                </a:moveTo>
                <a:lnTo>
                  <a:pt x="1115504" y="12700"/>
                </a:lnTo>
                <a:moveTo>
                  <a:pt x="1121879" y="0"/>
                </a:moveTo>
                <a:lnTo>
                  <a:pt x="1121879" y="12700"/>
                </a:lnTo>
                <a:moveTo>
                  <a:pt x="1128255" y="0"/>
                </a:moveTo>
                <a:lnTo>
                  <a:pt x="1128255" y="12700"/>
                </a:lnTo>
                <a:moveTo>
                  <a:pt x="1134630" y="0"/>
                </a:moveTo>
                <a:lnTo>
                  <a:pt x="1134630" y="12700"/>
                </a:lnTo>
                <a:moveTo>
                  <a:pt x="1141006" y="0"/>
                </a:moveTo>
                <a:lnTo>
                  <a:pt x="1141006" y="12700"/>
                </a:lnTo>
                <a:moveTo>
                  <a:pt x="1147381" y="0"/>
                </a:moveTo>
                <a:lnTo>
                  <a:pt x="1147381" y="12700"/>
                </a:lnTo>
                <a:moveTo>
                  <a:pt x="1153756" y="0"/>
                </a:moveTo>
                <a:lnTo>
                  <a:pt x="1153756" y="12700"/>
                </a:lnTo>
                <a:moveTo>
                  <a:pt x="1160132" y="0"/>
                </a:moveTo>
                <a:lnTo>
                  <a:pt x="1160132" y="12700"/>
                </a:lnTo>
                <a:moveTo>
                  <a:pt x="1166507" y="0"/>
                </a:moveTo>
                <a:lnTo>
                  <a:pt x="1166507" y="12700"/>
                </a:lnTo>
                <a:moveTo>
                  <a:pt x="1172870" y="0"/>
                </a:moveTo>
                <a:lnTo>
                  <a:pt x="1172870" y="12700"/>
                </a:lnTo>
                <a:moveTo>
                  <a:pt x="1179245" y="0"/>
                </a:moveTo>
                <a:lnTo>
                  <a:pt x="1179245" y="12700"/>
                </a:lnTo>
                <a:moveTo>
                  <a:pt x="1185621" y="0"/>
                </a:moveTo>
                <a:lnTo>
                  <a:pt x="1185621" y="12700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57" name="Freeform 804"/>
          <p:cNvSpPr/>
          <p:nvPr/>
        </p:nvSpPr>
        <p:spPr>
          <a:xfrm>
            <a:off x="7955456" y="1798328"/>
            <a:ext cx="410281" cy="419765"/>
          </a:xfrm>
          <a:custGeom>
            <a:avLst/>
            <a:gdLst/>
            <a:ahLst/>
            <a:cxnLst/>
            <a:rect l="0" t="0" r="0" b="0"/>
            <a:pathLst>
              <a:path w="270243" h="276490">
                <a:moveTo>
                  <a:pt x="254495" y="190461"/>
                </a:moveTo>
                <a:lnTo>
                  <a:pt x="254495" y="190461"/>
                </a:lnTo>
                <a:cubicBezTo>
                  <a:pt x="227927" y="177330"/>
                  <a:pt x="197968" y="169735"/>
                  <a:pt x="167399" y="167703"/>
                </a:cubicBezTo>
                <a:cubicBezTo>
                  <a:pt x="169558" y="159842"/>
                  <a:pt x="169558" y="154292"/>
                  <a:pt x="171425" y="146710"/>
                </a:cubicBezTo>
                <a:cubicBezTo>
                  <a:pt x="177889" y="142621"/>
                  <a:pt x="183452" y="137363"/>
                  <a:pt x="183452" y="131546"/>
                </a:cubicBezTo>
                <a:cubicBezTo>
                  <a:pt x="183452" y="125717"/>
                  <a:pt x="185915" y="119875"/>
                  <a:pt x="185915" y="114325"/>
                </a:cubicBezTo>
                <a:lnTo>
                  <a:pt x="189637" y="114325"/>
                </a:lnTo>
                <a:cubicBezTo>
                  <a:pt x="191796" y="116370"/>
                  <a:pt x="195809" y="112572"/>
                  <a:pt x="195809" y="110248"/>
                </a:cubicBezTo>
                <a:lnTo>
                  <a:pt x="197968" y="81953"/>
                </a:lnTo>
                <a:cubicBezTo>
                  <a:pt x="197968" y="77889"/>
                  <a:pt x="195809" y="76136"/>
                  <a:pt x="193663" y="76136"/>
                </a:cubicBezTo>
                <a:lnTo>
                  <a:pt x="189637" y="76136"/>
                </a:lnTo>
                <a:cubicBezTo>
                  <a:pt x="189637" y="70586"/>
                  <a:pt x="191796" y="64757"/>
                  <a:pt x="191796" y="60960"/>
                </a:cubicBezTo>
                <a:cubicBezTo>
                  <a:pt x="191796" y="53378"/>
                  <a:pt x="195809" y="32385"/>
                  <a:pt x="181598" y="18973"/>
                </a:cubicBezTo>
                <a:cubicBezTo>
                  <a:pt x="159360" y="0"/>
                  <a:pt x="111189" y="0"/>
                  <a:pt x="88633" y="18973"/>
                </a:cubicBezTo>
                <a:cubicBezTo>
                  <a:pt x="72568" y="32385"/>
                  <a:pt x="76886" y="53378"/>
                  <a:pt x="78740" y="60960"/>
                </a:cubicBezTo>
                <a:cubicBezTo>
                  <a:pt x="78740" y="64757"/>
                  <a:pt x="78740" y="70586"/>
                  <a:pt x="80607" y="76136"/>
                </a:cubicBezTo>
                <a:lnTo>
                  <a:pt x="76886" y="76136"/>
                </a:lnTo>
                <a:cubicBezTo>
                  <a:pt x="72568" y="76136"/>
                  <a:pt x="70714" y="77889"/>
                  <a:pt x="70714" y="81953"/>
                </a:cubicBezTo>
                <a:lnTo>
                  <a:pt x="74727" y="110248"/>
                </a:lnTo>
                <a:cubicBezTo>
                  <a:pt x="74727" y="112572"/>
                  <a:pt x="78740" y="116370"/>
                  <a:pt x="80607" y="114325"/>
                </a:cubicBezTo>
                <a:lnTo>
                  <a:pt x="84620" y="114325"/>
                </a:lnTo>
                <a:cubicBezTo>
                  <a:pt x="84620" y="119875"/>
                  <a:pt x="86792" y="125717"/>
                  <a:pt x="86792" y="131546"/>
                </a:cubicBezTo>
                <a:cubicBezTo>
                  <a:pt x="86792" y="137363"/>
                  <a:pt x="92964" y="142621"/>
                  <a:pt x="98819" y="146710"/>
                </a:cubicBezTo>
                <a:cubicBezTo>
                  <a:pt x="98819" y="154292"/>
                  <a:pt x="100991" y="159842"/>
                  <a:pt x="100991" y="167703"/>
                </a:cubicBezTo>
                <a:cubicBezTo>
                  <a:pt x="72568" y="169735"/>
                  <a:pt x="42609" y="177330"/>
                  <a:pt x="16053" y="190461"/>
                </a:cubicBezTo>
                <a:cubicBezTo>
                  <a:pt x="6160" y="194524"/>
                  <a:pt x="0" y="205612"/>
                  <a:pt x="1842" y="215251"/>
                </a:cubicBezTo>
                <a:cubicBezTo>
                  <a:pt x="1842" y="224573"/>
                  <a:pt x="4001" y="234491"/>
                  <a:pt x="4001" y="245871"/>
                </a:cubicBezTo>
                <a:cubicBezTo>
                  <a:pt x="6160" y="253440"/>
                  <a:pt x="14186" y="263066"/>
                  <a:pt x="22238" y="264819"/>
                </a:cubicBezTo>
                <a:cubicBezTo>
                  <a:pt x="96965" y="276490"/>
                  <a:pt x="173571" y="276490"/>
                  <a:pt x="248311" y="264819"/>
                </a:cubicBezTo>
                <a:cubicBezTo>
                  <a:pt x="256349" y="263066"/>
                  <a:pt x="264362" y="253440"/>
                  <a:pt x="266534" y="245871"/>
                </a:cubicBezTo>
                <a:cubicBezTo>
                  <a:pt x="266534" y="234491"/>
                  <a:pt x="268388" y="224573"/>
                  <a:pt x="268388" y="215251"/>
                </a:cubicBezTo>
                <a:cubicBezTo>
                  <a:pt x="270243" y="205612"/>
                  <a:pt x="264362" y="194524"/>
                  <a:pt x="254495" y="190461"/>
                </a:cubicBezTo>
              </a:path>
            </a:pathLst>
          </a:custGeom>
          <a:solidFill>
            <a:srgbClr val="FFFFFF">
              <a:alpha val="100000"/>
            </a:srgbClr>
          </a:solidFill>
          <a:ln w="237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58" name="Freeform 805"/>
          <p:cNvSpPr/>
          <p:nvPr/>
        </p:nvSpPr>
        <p:spPr>
          <a:xfrm>
            <a:off x="9588400" y="1584887"/>
            <a:ext cx="860821" cy="860821"/>
          </a:xfrm>
          <a:custGeom>
            <a:avLst/>
            <a:gdLst/>
            <a:ahLst/>
            <a:cxnLst/>
            <a:rect l="0" t="0" r="0" b="0"/>
            <a:pathLst>
              <a:path w="567004" h="567004">
                <a:moveTo>
                  <a:pt x="283502" y="567004"/>
                </a:moveTo>
                <a:cubicBezTo>
                  <a:pt x="440080" y="567004"/>
                  <a:pt x="567004" y="440081"/>
                  <a:pt x="567004" y="283502"/>
                </a:cubicBezTo>
                <a:cubicBezTo>
                  <a:pt x="567004" y="126937"/>
                  <a:pt x="440080" y="0"/>
                  <a:pt x="283502" y="0"/>
                </a:cubicBezTo>
                <a:cubicBezTo>
                  <a:pt x="126924" y="0"/>
                  <a:pt x="0" y="126937"/>
                  <a:pt x="0" y="283502"/>
                </a:cubicBezTo>
                <a:cubicBezTo>
                  <a:pt x="0" y="440081"/>
                  <a:pt x="126924" y="567004"/>
                  <a:pt x="283502" y="567004"/>
                </a:cubicBezTo>
              </a:path>
            </a:pathLst>
          </a:custGeom>
          <a:solidFill>
            <a:srgbClr val="FFD427">
              <a:alpha val="100000"/>
            </a:srgbClr>
          </a:solidFill>
          <a:ln w="237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59" name="Freeform 806"/>
          <p:cNvSpPr/>
          <p:nvPr/>
        </p:nvSpPr>
        <p:spPr>
          <a:xfrm>
            <a:off x="9518760" y="2016847"/>
            <a:ext cx="1000088" cy="498415"/>
          </a:xfrm>
          <a:custGeom>
            <a:avLst/>
            <a:gdLst/>
            <a:ahLst/>
            <a:cxnLst/>
            <a:rect l="0" t="0" r="0" b="0"/>
            <a:pathLst>
              <a:path w="658736" h="328295">
                <a:moveTo>
                  <a:pt x="12700" y="0"/>
                </a:moveTo>
                <a:lnTo>
                  <a:pt x="0" y="317"/>
                </a:lnTo>
                <a:moveTo>
                  <a:pt x="12865" y="6362"/>
                </a:moveTo>
                <a:lnTo>
                  <a:pt x="166" y="6692"/>
                </a:lnTo>
                <a:moveTo>
                  <a:pt x="13017" y="12738"/>
                </a:moveTo>
                <a:lnTo>
                  <a:pt x="331" y="13055"/>
                </a:lnTo>
                <a:moveTo>
                  <a:pt x="13347" y="18770"/>
                </a:moveTo>
                <a:lnTo>
                  <a:pt x="686" y="19735"/>
                </a:lnTo>
                <a:moveTo>
                  <a:pt x="13830" y="25120"/>
                </a:moveTo>
                <a:lnTo>
                  <a:pt x="1169" y="26085"/>
                </a:lnTo>
                <a:moveTo>
                  <a:pt x="14312" y="31470"/>
                </a:moveTo>
                <a:lnTo>
                  <a:pt x="1651" y="32435"/>
                </a:lnTo>
                <a:moveTo>
                  <a:pt x="15087" y="37465"/>
                </a:moveTo>
                <a:lnTo>
                  <a:pt x="2490" y="39065"/>
                </a:lnTo>
                <a:moveTo>
                  <a:pt x="15887" y="43789"/>
                </a:moveTo>
                <a:lnTo>
                  <a:pt x="3290" y="45389"/>
                </a:lnTo>
                <a:moveTo>
                  <a:pt x="16776" y="49758"/>
                </a:moveTo>
                <a:lnTo>
                  <a:pt x="4280" y="51993"/>
                </a:lnTo>
                <a:moveTo>
                  <a:pt x="17894" y="56032"/>
                </a:moveTo>
                <a:lnTo>
                  <a:pt x="5398" y="58267"/>
                </a:lnTo>
                <a:moveTo>
                  <a:pt x="19024" y="62306"/>
                </a:moveTo>
                <a:lnTo>
                  <a:pt x="6516" y="64541"/>
                </a:lnTo>
                <a:moveTo>
                  <a:pt x="20358" y="68198"/>
                </a:moveTo>
                <a:lnTo>
                  <a:pt x="7976" y="71056"/>
                </a:lnTo>
                <a:moveTo>
                  <a:pt x="21780" y="74409"/>
                </a:moveTo>
                <a:lnTo>
                  <a:pt x="9411" y="77266"/>
                </a:lnTo>
                <a:moveTo>
                  <a:pt x="23253" y="80276"/>
                </a:moveTo>
                <a:lnTo>
                  <a:pt x="11037" y="83743"/>
                </a:lnTo>
                <a:moveTo>
                  <a:pt x="24993" y="86398"/>
                </a:moveTo>
                <a:lnTo>
                  <a:pt x="12776" y="89877"/>
                </a:lnTo>
                <a:moveTo>
                  <a:pt x="26733" y="92532"/>
                </a:moveTo>
                <a:lnTo>
                  <a:pt x="14516" y="95999"/>
                </a:lnTo>
                <a:moveTo>
                  <a:pt x="28638" y="98272"/>
                </a:moveTo>
                <a:lnTo>
                  <a:pt x="16611" y="102349"/>
                </a:lnTo>
                <a:moveTo>
                  <a:pt x="30683" y="104305"/>
                </a:moveTo>
                <a:lnTo>
                  <a:pt x="18656" y="108369"/>
                </a:lnTo>
                <a:moveTo>
                  <a:pt x="32727" y="110007"/>
                </a:moveTo>
                <a:lnTo>
                  <a:pt x="20916" y="114655"/>
                </a:lnTo>
                <a:moveTo>
                  <a:pt x="35064" y="115925"/>
                </a:moveTo>
                <a:lnTo>
                  <a:pt x="23253" y="120586"/>
                </a:lnTo>
                <a:moveTo>
                  <a:pt x="37401" y="121843"/>
                </a:moveTo>
                <a:lnTo>
                  <a:pt x="25590" y="126504"/>
                </a:lnTo>
                <a:moveTo>
                  <a:pt x="39878" y="127380"/>
                </a:moveTo>
                <a:lnTo>
                  <a:pt x="28308" y="132613"/>
                </a:lnTo>
                <a:moveTo>
                  <a:pt x="42506" y="133184"/>
                </a:moveTo>
                <a:lnTo>
                  <a:pt x="30937" y="138417"/>
                </a:lnTo>
                <a:moveTo>
                  <a:pt x="45110" y="138645"/>
                </a:moveTo>
                <a:lnTo>
                  <a:pt x="33807" y="144437"/>
                </a:lnTo>
                <a:moveTo>
                  <a:pt x="48018" y="144310"/>
                </a:moveTo>
                <a:lnTo>
                  <a:pt x="36715" y="150101"/>
                </a:lnTo>
                <a:moveTo>
                  <a:pt x="50926" y="149987"/>
                </a:moveTo>
                <a:lnTo>
                  <a:pt x="39623" y="155765"/>
                </a:lnTo>
                <a:moveTo>
                  <a:pt x="53949" y="155232"/>
                </a:moveTo>
                <a:lnTo>
                  <a:pt x="42938" y="161569"/>
                </a:lnTo>
                <a:moveTo>
                  <a:pt x="57124" y="160756"/>
                </a:moveTo>
                <a:lnTo>
                  <a:pt x="46113" y="167081"/>
                </a:lnTo>
                <a:moveTo>
                  <a:pt x="60274" y="165925"/>
                </a:moveTo>
                <a:lnTo>
                  <a:pt x="49580" y="172783"/>
                </a:lnTo>
                <a:moveTo>
                  <a:pt x="63715" y="171284"/>
                </a:moveTo>
                <a:lnTo>
                  <a:pt x="53022" y="178142"/>
                </a:lnTo>
                <a:moveTo>
                  <a:pt x="67005" y="176377"/>
                </a:moveTo>
                <a:lnTo>
                  <a:pt x="56654" y="183743"/>
                </a:lnTo>
                <a:moveTo>
                  <a:pt x="70688" y="181571"/>
                </a:moveTo>
                <a:lnTo>
                  <a:pt x="60337" y="188925"/>
                </a:lnTo>
                <a:moveTo>
                  <a:pt x="74383" y="186766"/>
                </a:moveTo>
                <a:lnTo>
                  <a:pt x="64033" y="194119"/>
                </a:lnTo>
                <a:moveTo>
                  <a:pt x="78054" y="191592"/>
                </a:moveTo>
                <a:lnTo>
                  <a:pt x="68059" y="199440"/>
                </a:lnTo>
                <a:moveTo>
                  <a:pt x="81991" y="196595"/>
                </a:moveTo>
                <a:lnTo>
                  <a:pt x="71996" y="204444"/>
                </a:lnTo>
                <a:moveTo>
                  <a:pt x="85775" y="201333"/>
                </a:moveTo>
                <a:lnTo>
                  <a:pt x="76174" y="209638"/>
                </a:lnTo>
                <a:moveTo>
                  <a:pt x="89941" y="206146"/>
                </a:moveTo>
                <a:lnTo>
                  <a:pt x="80352" y="214452"/>
                </a:lnTo>
                <a:moveTo>
                  <a:pt x="94119" y="210959"/>
                </a:moveTo>
                <a:lnTo>
                  <a:pt x="84518" y="219265"/>
                </a:lnTo>
                <a:moveTo>
                  <a:pt x="98259" y="215379"/>
                </a:moveTo>
                <a:lnTo>
                  <a:pt x="89065" y="224154"/>
                </a:lnTo>
                <a:moveTo>
                  <a:pt x="102654" y="220002"/>
                </a:moveTo>
                <a:lnTo>
                  <a:pt x="93459" y="228752"/>
                </a:lnTo>
                <a:moveTo>
                  <a:pt x="106908" y="224320"/>
                </a:moveTo>
                <a:lnTo>
                  <a:pt x="98145" y="233502"/>
                </a:lnTo>
                <a:moveTo>
                  <a:pt x="111518" y="228714"/>
                </a:moveTo>
                <a:lnTo>
                  <a:pt x="102755" y="237896"/>
                </a:lnTo>
                <a:moveTo>
                  <a:pt x="116128" y="233108"/>
                </a:moveTo>
                <a:lnTo>
                  <a:pt x="107365" y="242303"/>
                </a:lnTo>
                <a:moveTo>
                  <a:pt x="120688" y="237096"/>
                </a:moveTo>
                <a:lnTo>
                  <a:pt x="112382" y="246697"/>
                </a:lnTo>
                <a:moveTo>
                  <a:pt x="125501" y="241261"/>
                </a:moveTo>
                <a:lnTo>
                  <a:pt x="117195" y="250863"/>
                </a:lnTo>
                <a:moveTo>
                  <a:pt x="130175" y="245122"/>
                </a:moveTo>
                <a:lnTo>
                  <a:pt x="122326" y="255117"/>
                </a:lnTo>
                <a:moveTo>
                  <a:pt x="135191" y="249059"/>
                </a:moveTo>
                <a:lnTo>
                  <a:pt x="127342" y="259041"/>
                </a:lnTo>
                <a:moveTo>
                  <a:pt x="139954" y="252806"/>
                </a:moveTo>
                <a:lnTo>
                  <a:pt x="132600" y="263156"/>
                </a:lnTo>
                <a:moveTo>
                  <a:pt x="145148" y="256501"/>
                </a:moveTo>
                <a:lnTo>
                  <a:pt x="137782" y="266839"/>
                </a:lnTo>
                <a:moveTo>
                  <a:pt x="150329" y="260184"/>
                </a:moveTo>
                <a:lnTo>
                  <a:pt x="142976" y="270535"/>
                </a:lnTo>
                <a:moveTo>
                  <a:pt x="155371" y="263550"/>
                </a:moveTo>
                <a:lnTo>
                  <a:pt x="148526" y="274243"/>
                </a:lnTo>
                <a:moveTo>
                  <a:pt x="160731" y="266992"/>
                </a:moveTo>
                <a:lnTo>
                  <a:pt x="153885" y="277685"/>
                </a:lnTo>
                <a:moveTo>
                  <a:pt x="165862" y="270230"/>
                </a:moveTo>
                <a:lnTo>
                  <a:pt x="159524" y="281241"/>
                </a:lnTo>
                <a:moveTo>
                  <a:pt x="171386" y="273405"/>
                </a:moveTo>
                <a:lnTo>
                  <a:pt x="165049" y="284416"/>
                </a:lnTo>
                <a:moveTo>
                  <a:pt x="176898" y="276580"/>
                </a:moveTo>
                <a:lnTo>
                  <a:pt x="170573" y="287591"/>
                </a:lnTo>
                <a:moveTo>
                  <a:pt x="182257" y="279412"/>
                </a:moveTo>
                <a:lnTo>
                  <a:pt x="176466" y="290715"/>
                </a:lnTo>
                <a:moveTo>
                  <a:pt x="187921" y="282320"/>
                </a:moveTo>
                <a:lnTo>
                  <a:pt x="182130" y="293624"/>
                </a:lnTo>
                <a:moveTo>
                  <a:pt x="193344" y="285013"/>
                </a:moveTo>
                <a:lnTo>
                  <a:pt x="188112" y="296595"/>
                </a:lnTo>
                <a:moveTo>
                  <a:pt x="199148" y="287642"/>
                </a:moveTo>
                <a:lnTo>
                  <a:pt x="193916" y="299211"/>
                </a:lnTo>
                <a:moveTo>
                  <a:pt x="204952" y="290271"/>
                </a:moveTo>
                <a:lnTo>
                  <a:pt x="199720" y="301840"/>
                </a:lnTo>
                <a:moveTo>
                  <a:pt x="210565" y="292544"/>
                </a:moveTo>
                <a:lnTo>
                  <a:pt x="205905" y="304355"/>
                </a:lnTo>
                <a:moveTo>
                  <a:pt x="216484" y="294881"/>
                </a:moveTo>
                <a:lnTo>
                  <a:pt x="211823" y="306692"/>
                </a:lnTo>
                <a:moveTo>
                  <a:pt x="222148" y="297014"/>
                </a:moveTo>
                <a:lnTo>
                  <a:pt x="218084" y="309054"/>
                </a:lnTo>
                <a:moveTo>
                  <a:pt x="228180" y="299059"/>
                </a:moveTo>
                <a:lnTo>
                  <a:pt x="224104" y="311086"/>
                </a:lnTo>
                <a:moveTo>
                  <a:pt x="234213" y="301104"/>
                </a:moveTo>
                <a:lnTo>
                  <a:pt x="230136" y="313131"/>
                </a:lnTo>
                <a:moveTo>
                  <a:pt x="240017" y="302806"/>
                </a:moveTo>
                <a:lnTo>
                  <a:pt x="236550" y="315023"/>
                </a:lnTo>
                <a:moveTo>
                  <a:pt x="246151" y="304545"/>
                </a:moveTo>
                <a:lnTo>
                  <a:pt x="242671" y="316763"/>
                </a:lnTo>
                <a:moveTo>
                  <a:pt x="251993" y="306108"/>
                </a:moveTo>
                <a:lnTo>
                  <a:pt x="249135" y="318490"/>
                </a:lnTo>
                <a:moveTo>
                  <a:pt x="258190" y="307543"/>
                </a:moveTo>
                <a:lnTo>
                  <a:pt x="255346" y="319913"/>
                </a:lnTo>
                <a:moveTo>
                  <a:pt x="264401" y="308978"/>
                </a:moveTo>
                <a:lnTo>
                  <a:pt x="261543" y="321348"/>
                </a:lnTo>
                <a:moveTo>
                  <a:pt x="270344" y="310095"/>
                </a:moveTo>
                <a:lnTo>
                  <a:pt x="268109" y="322592"/>
                </a:lnTo>
                <a:moveTo>
                  <a:pt x="276618" y="311213"/>
                </a:moveTo>
                <a:lnTo>
                  <a:pt x="274383" y="323722"/>
                </a:lnTo>
                <a:moveTo>
                  <a:pt x="282575" y="312204"/>
                </a:moveTo>
                <a:lnTo>
                  <a:pt x="280974" y="324802"/>
                </a:lnTo>
                <a:moveTo>
                  <a:pt x="288899" y="313004"/>
                </a:moveTo>
                <a:lnTo>
                  <a:pt x="287299" y="325602"/>
                </a:lnTo>
                <a:moveTo>
                  <a:pt x="295211" y="313804"/>
                </a:moveTo>
                <a:lnTo>
                  <a:pt x="293611" y="326415"/>
                </a:lnTo>
                <a:moveTo>
                  <a:pt x="301231" y="314363"/>
                </a:moveTo>
                <a:lnTo>
                  <a:pt x="300278" y="327025"/>
                </a:lnTo>
                <a:moveTo>
                  <a:pt x="307581" y="314845"/>
                </a:moveTo>
                <a:lnTo>
                  <a:pt x="306628" y="327507"/>
                </a:lnTo>
                <a:moveTo>
                  <a:pt x="313613" y="315277"/>
                </a:moveTo>
                <a:lnTo>
                  <a:pt x="313296" y="327964"/>
                </a:lnTo>
                <a:moveTo>
                  <a:pt x="319989" y="315429"/>
                </a:moveTo>
                <a:lnTo>
                  <a:pt x="319659" y="328129"/>
                </a:lnTo>
                <a:moveTo>
                  <a:pt x="326351" y="315595"/>
                </a:moveTo>
                <a:lnTo>
                  <a:pt x="326034" y="328295"/>
                </a:lnTo>
                <a:moveTo>
                  <a:pt x="332397" y="315595"/>
                </a:moveTo>
                <a:lnTo>
                  <a:pt x="332714" y="328295"/>
                </a:lnTo>
                <a:moveTo>
                  <a:pt x="338759" y="315429"/>
                </a:moveTo>
                <a:lnTo>
                  <a:pt x="339077" y="328129"/>
                </a:lnTo>
                <a:moveTo>
                  <a:pt x="345122" y="315277"/>
                </a:moveTo>
                <a:lnTo>
                  <a:pt x="345452" y="327964"/>
                </a:lnTo>
                <a:moveTo>
                  <a:pt x="351154" y="314845"/>
                </a:moveTo>
                <a:lnTo>
                  <a:pt x="352120" y="327507"/>
                </a:lnTo>
                <a:moveTo>
                  <a:pt x="357504" y="314363"/>
                </a:moveTo>
                <a:lnTo>
                  <a:pt x="358470" y="327025"/>
                </a:lnTo>
                <a:moveTo>
                  <a:pt x="363524" y="313804"/>
                </a:moveTo>
                <a:lnTo>
                  <a:pt x="365125" y="326415"/>
                </a:lnTo>
                <a:moveTo>
                  <a:pt x="369849" y="313004"/>
                </a:moveTo>
                <a:lnTo>
                  <a:pt x="371449" y="325602"/>
                </a:lnTo>
                <a:moveTo>
                  <a:pt x="376161" y="312204"/>
                </a:moveTo>
                <a:lnTo>
                  <a:pt x="377761" y="324802"/>
                </a:lnTo>
                <a:moveTo>
                  <a:pt x="382130" y="311213"/>
                </a:moveTo>
                <a:lnTo>
                  <a:pt x="384365" y="323722"/>
                </a:lnTo>
                <a:moveTo>
                  <a:pt x="388404" y="310095"/>
                </a:moveTo>
                <a:lnTo>
                  <a:pt x="390626" y="322592"/>
                </a:lnTo>
                <a:moveTo>
                  <a:pt x="394347" y="308978"/>
                </a:moveTo>
                <a:lnTo>
                  <a:pt x="397192" y="321348"/>
                </a:lnTo>
                <a:moveTo>
                  <a:pt x="400545" y="307543"/>
                </a:moveTo>
                <a:lnTo>
                  <a:pt x="403402" y="319913"/>
                </a:lnTo>
                <a:moveTo>
                  <a:pt x="406755" y="306108"/>
                </a:moveTo>
                <a:lnTo>
                  <a:pt x="409613" y="318490"/>
                </a:lnTo>
                <a:moveTo>
                  <a:pt x="412597" y="304545"/>
                </a:moveTo>
                <a:lnTo>
                  <a:pt x="416064" y="316763"/>
                </a:lnTo>
                <a:moveTo>
                  <a:pt x="418718" y="302806"/>
                </a:moveTo>
                <a:lnTo>
                  <a:pt x="422186" y="315023"/>
                </a:lnTo>
                <a:moveTo>
                  <a:pt x="424535" y="301104"/>
                </a:moveTo>
                <a:lnTo>
                  <a:pt x="428599" y="313131"/>
                </a:lnTo>
                <a:moveTo>
                  <a:pt x="430568" y="299059"/>
                </a:moveTo>
                <a:lnTo>
                  <a:pt x="434632" y="311086"/>
                </a:lnTo>
                <a:moveTo>
                  <a:pt x="436600" y="297014"/>
                </a:moveTo>
                <a:lnTo>
                  <a:pt x="440664" y="309054"/>
                </a:lnTo>
                <a:moveTo>
                  <a:pt x="442264" y="294881"/>
                </a:moveTo>
                <a:lnTo>
                  <a:pt x="446912" y="306692"/>
                </a:lnTo>
                <a:moveTo>
                  <a:pt x="448183" y="292544"/>
                </a:moveTo>
                <a:lnTo>
                  <a:pt x="452843" y="304355"/>
                </a:lnTo>
                <a:moveTo>
                  <a:pt x="453796" y="290271"/>
                </a:moveTo>
                <a:lnTo>
                  <a:pt x="459028" y="301840"/>
                </a:lnTo>
                <a:moveTo>
                  <a:pt x="459600" y="287642"/>
                </a:moveTo>
                <a:lnTo>
                  <a:pt x="464832" y="299211"/>
                </a:lnTo>
                <a:moveTo>
                  <a:pt x="465404" y="285013"/>
                </a:moveTo>
                <a:lnTo>
                  <a:pt x="470636" y="296595"/>
                </a:lnTo>
                <a:moveTo>
                  <a:pt x="470827" y="282320"/>
                </a:moveTo>
                <a:lnTo>
                  <a:pt x="476605" y="293624"/>
                </a:lnTo>
                <a:moveTo>
                  <a:pt x="476491" y="279412"/>
                </a:moveTo>
                <a:lnTo>
                  <a:pt x="482282" y="290715"/>
                </a:lnTo>
                <a:moveTo>
                  <a:pt x="481837" y="276580"/>
                </a:moveTo>
                <a:lnTo>
                  <a:pt x="488175" y="287591"/>
                </a:lnTo>
                <a:moveTo>
                  <a:pt x="487362" y="273405"/>
                </a:moveTo>
                <a:lnTo>
                  <a:pt x="493699" y="284416"/>
                </a:lnTo>
                <a:moveTo>
                  <a:pt x="492887" y="270230"/>
                </a:moveTo>
                <a:lnTo>
                  <a:pt x="499211" y="281241"/>
                </a:lnTo>
                <a:moveTo>
                  <a:pt x="498005" y="266992"/>
                </a:moveTo>
                <a:lnTo>
                  <a:pt x="504863" y="277685"/>
                </a:lnTo>
                <a:moveTo>
                  <a:pt x="503364" y="263550"/>
                </a:moveTo>
                <a:lnTo>
                  <a:pt x="510222" y="274243"/>
                </a:lnTo>
                <a:moveTo>
                  <a:pt x="508406" y="260184"/>
                </a:moveTo>
                <a:lnTo>
                  <a:pt x="515772" y="270535"/>
                </a:lnTo>
                <a:moveTo>
                  <a:pt x="513600" y="256501"/>
                </a:moveTo>
                <a:lnTo>
                  <a:pt x="520954" y="266839"/>
                </a:lnTo>
                <a:moveTo>
                  <a:pt x="518782" y="252806"/>
                </a:moveTo>
                <a:lnTo>
                  <a:pt x="526148" y="263156"/>
                </a:lnTo>
                <a:moveTo>
                  <a:pt x="523557" y="249059"/>
                </a:moveTo>
                <a:lnTo>
                  <a:pt x="531406" y="259041"/>
                </a:lnTo>
                <a:moveTo>
                  <a:pt x="528561" y="245122"/>
                </a:moveTo>
                <a:lnTo>
                  <a:pt x="536409" y="255117"/>
                </a:lnTo>
                <a:moveTo>
                  <a:pt x="533234" y="241261"/>
                </a:moveTo>
                <a:lnTo>
                  <a:pt x="541553" y="250863"/>
                </a:lnTo>
                <a:moveTo>
                  <a:pt x="538048" y="237096"/>
                </a:moveTo>
                <a:lnTo>
                  <a:pt x="546366" y="246697"/>
                </a:lnTo>
                <a:moveTo>
                  <a:pt x="542620" y="233108"/>
                </a:moveTo>
                <a:lnTo>
                  <a:pt x="551383" y="242303"/>
                </a:lnTo>
                <a:moveTo>
                  <a:pt x="547230" y="228714"/>
                </a:moveTo>
                <a:lnTo>
                  <a:pt x="555993" y="237896"/>
                </a:lnTo>
                <a:moveTo>
                  <a:pt x="551840" y="224320"/>
                </a:moveTo>
                <a:lnTo>
                  <a:pt x="560603" y="233502"/>
                </a:lnTo>
                <a:moveTo>
                  <a:pt x="556094" y="220002"/>
                </a:moveTo>
                <a:lnTo>
                  <a:pt x="565289" y="228752"/>
                </a:lnTo>
                <a:moveTo>
                  <a:pt x="560489" y="215379"/>
                </a:moveTo>
                <a:lnTo>
                  <a:pt x="569683" y="224154"/>
                </a:lnTo>
                <a:moveTo>
                  <a:pt x="564629" y="210959"/>
                </a:moveTo>
                <a:lnTo>
                  <a:pt x="574230" y="219265"/>
                </a:lnTo>
                <a:moveTo>
                  <a:pt x="568794" y="206146"/>
                </a:moveTo>
                <a:lnTo>
                  <a:pt x="578396" y="214452"/>
                </a:lnTo>
                <a:moveTo>
                  <a:pt x="572973" y="201333"/>
                </a:moveTo>
                <a:lnTo>
                  <a:pt x="582561" y="209638"/>
                </a:lnTo>
                <a:moveTo>
                  <a:pt x="576757" y="196595"/>
                </a:moveTo>
                <a:lnTo>
                  <a:pt x="586740" y="204444"/>
                </a:lnTo>
                <a:moveTo>
                  <a:pt x="580694" y="191592"/>
                </a:moveTo>
                <a:lnTo>
                  <a:pt x="590676" y="199440"/>
                </a:lnTo>
                <a:moveTo>
                  <a:pt x="584365" y="186766"/>
                </a:moveTo>
                <a:lnTo>
                  <a:pt x="594715" y="194119"/>
                </a:lnTo>
                <a:moveTo>
                  <a:pt x="588048" y="181571"/>
                </a:moveTo>
                <a:lnTo>
                  <a:pt x="598398" y="188925"/>
                </a:lnTo>
                <a:moveTo>
                  <a:pt x="591743" y="176377"/>
                </a:moveTo>
                <a:lnTo>
                  <a:pt x="602094" y="183743"/>
                </a:lnTo>
                <a:moveTo>
                  <a:pt x="595033" y="171284"/>
                </a:moveTo>
                <a:lnTo>
                  <a:pt x="605726" y="178142"/>
                </a:lnTo>
                <a:moveTo>
                  <a:pt x="598462" y="165925"/>
                </a:moveTo>
                <a:lnTo>
                  <a:pt x="609155" y="172783"/>
                </a:lnTo>
                <a:moveTo>
                  <a:pt x="601624" y="160756"/>
                </a:moveTo>
                <a:lnTo>
                  <a:pt x="612635" y="167081"/>
                </a:lnTo>
                <a:moveTo>
                  <a:pt x="604799" y="155232"/>
                </a:moveTo>
                <a:lnTo>
                  <a:pt x="615810" y="161569"/>
                </a:lnTo>
                <a:moveTo>
                  <a:pt x="607822" y="149987"/>
                </a:moveTo>
                <a:lnTo>
                  <a:pt x="619125" y="155765"/>
                </a:lnTo>
                <a:moveTo>
                  <a:pt x="610730" y="144310"/>
                </a:moveTo>
                <a:lnTo>
                  <a:pt x="622033" y="150101"/>
                </a:lnTo>
                <a:moveTo>
                  <a:pt x="613625" y="138645"/>
                </a:moveTo>
                <a:lnTo>
                  <a:pt x="624928" y="144437"/>
                </a:lnTo>
                <a:moveTo>
                  <a:pt x="616242" y="133184"/>
                </a:moveTo>
                <a:lnTo>
                  <a:pt x="627811" y="138417"/>
                </a:lnTo>
                <a:moveTo>
                  <a:pt x="618858" y="127380"/>
                </a:moveTo>
                <a:lnTo>
                  <a:pt x="630440" y="132613"/>
                </a:lnTo>
                <a:moveTo>
                  <a:pt x="621334" y="121843"/>
                </a:moveTo>
                <a:lnTo>
                  <a:pt x="633158" y="126504"/>
                </a:lnTo>
                <a:moveTo>
                  <a:pt x="623671" y="115925"/>
                </a:moveTo>
                <a:lnTo>
                  <a:pt x="635495" y="120586"/>
                </a:lnTo>
                <a:moveTo>
                  <a:pt x="626008" y="110007"/>
                </a:moveTo>
                <a:lnTo>
                  <a:pt x="637832" y="114655"/>
                </a:lnTo>
                <a:moveTo>
                  <a:pt x="628053" y="104305"/>
                </a:moveTo>
                <a:lnTo>
                  <a:pt x="640092" y="108369"/>
                </a:lnTo>
                <a:moveTo>
                  <a:pt x="630097" y="98272"/>
                </a:moveTo>
                <a:lnTo>
                  <a:pt x="642124" y="102349"/>
                </a:lnTo>
                <a:moveTo>
                  <a:pt x="632015" y="92532"/>
                </a:moveTo>
                <a:lnTo>
                  <a:pt x="644232" y="95999"/>
                </a:lnTo>
                <a:moveTo>
                  <a:pt x="633755" y="86398"/>
                </a:moveTo>
                <a:lnTo>
                  <a:pt x="645960" y="89877"/>
                </a:lnTo>
                <a:moveTo>
                  <a:pt x="635495" y="80276"/>
                </a:moveTo>
                <a:lnTo>
                  <a:pt x="647700" y="83743"/>
                </a:lnTo>
                <a:moveTo>
                  <a:pt x="636955" y="74409"/>
                </a:moveTo>
                <a:lnTo>
                  <a:pt x="649338" y="77266"/>
                </a:lnTo>
                <a:moveTo>
                  <a:pt x="638390" y="68198"/>
                </a:moveTo>
                <a:lnTo>
                  <a:pt x="650760" y="71056"/>
                </a:lnTo>
                <a:moveTo>
                  <a:pt x="639724" y="62306"/>
                </a:moveTo>
                <a:lnTo>
                  <a:pt x="652233" y="64541"/>
                </a:lnTo>
                <a:moveTo>
                  <a:pt x="640841" y="56032"/>
                </a:moveTo>
                <a:lnTo>
                  <a:pt x="653351" y="58267"/>
                </a:lnTo>
                <a:moveTo>
                  <a:pt x="641959" y="49758"/>
                </a:moveTo>
                <a:lnTo>
                  <a:pt x="654469" y="51993"/>
                </a:lnTo>
                <a:moveTo>
                  <a:pt x="642861" y="43789"/>
                </a:moveTo>
                <a:lnTo>
                  <a:pt x="655459" y="45389"/>
                </a:lnTo>
                <a:moveTo>
                  <a:pt x="643661" y="37465"/>
                </a:moveTo>
                <a:lnTo>
                  <a:pt x="656259" y="39065"/>
                </a:lnTo>
                <a:moveTo>
                  <a:pt x="644423" y="31470"/>
                </a:moveTo>
                <a:lnTo>
                  <a:pt x="657085" y="32435"/>
                </a:lnTo>
                <a:moveTo>
                  <a:pt x="644905" y="25120"/>
                </a:moveTo>
                <a:lnTo>
                  <a:pt x="657567" y="26085"/>
                </a:lnTo>
                <a:moveTo>
                  <a:pt x="645388" y="18770"/>
                </a:moveTo>
                <a:lnTo>
                  <a:pt x="658050" y="19735"/>
                </a:lnTo>
                <a:moveTo>
                  <a:pt x="645718" y="12738"/>
                </a:moveTo>
                <a:lnTo>
                  <a:pt x="658418" y="13055"/>
                </a:lnTo>
                <a:moveTo>
                  <a:pt x="645883" y="6362"/>
                </a:moveTo>
                <a:lnTo>
                  <a:pt x="658583" y="6692"/>
                </a:lnTo>
                <a:moveTo>
                  <a:pt x="646048" y="0"/>
                </a:moveTo>
                <a:lnTo>
                  <a:pt x="658736" y="317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60" name="Freeform 807"/>
          <p:cNvSpPr/>
          <p:nvPr/>
        </p:nvSpPr>
        <p:spPr>
          <a:xfrm>
            <a:off x="9118808" y="2580977"/>
            <a:ext cx="1800000" cy="19281"/>
          </a:xfrm>
          <a:custGeom>
            <a:avLst/>
            <a:gdLst/>
            <a:ahLst/>
            <a:cxnLst/>
            <a:rect l="0" t="0" r="0" b="0"/>
            <a:pathLst>
              <a:path w="1185621" h="12700">
                <a:moveTo>
                  <a:pt x="0" y="0"/>
                </a:moveTo>
                <a:lnTo>
                  <a:pt x="0" y="12700"/>
                </a:lnTo>
                <a:moveTo>
                  <a:pt x="6375" y="0"/>
                </a:moveTo>
                <a:lnTo>
                  <a:pt x="6375" y="12700"/>
                </a:lnTo>
                <a:moveTo>
                  <a:pt x="12750" y="0"/>
                </a:moveTo>
                <a:lnTo>
                  <a:pt x="12750" y="12700"/>
                </a:lnTo>
                <a:moveTo>
                  <a:pt x="19126" y="0"/>
                </a:moveTo>
                <a:lnTo>
                  <a:pt x="19126" y="12700"/>
                </a:lnTo>
                <a:moveTo>
                  <a:pt x="25501" y="0"/>
                </a:moveTo>
                <a:lnTo>
                  <a:pt x="25501" y="12700"/>
                </a:lnTo>
                <a:moveTo>
                  <a:pt x="31876" y="0"/>
                </a:moveTo>
                <a:lnTo>
                  <a:pt x="31876" y="12700"/>
                </a:lnTo>
                <a:moveTo>
                  <a:pt x="38239" y="0"/>
                </a:moveTo>
                <a:lnTo>
                  <a:pt x="38239" y="12700"/>
                </a:lnTo>
                <a:moveTo>
                  <a:pt x="44615" y="0"/>
                </a:moveTo>
                <a:lnTo>
                  <a:pt x="44615" y="12700"/>
                </a:lnTo>
                <a:moveTo>
                  <a:pt x="50990" y="0"/>
                </a:moveTo>
                <a:lnTo>
                  <a:pt x="50990" y="12700"/>
                </a:lnTo>
                <a:moveTo>
                  <a:pt x="57365" y="0"/>
                </a:moveTo>
                <a:lnTo>
                  <a:pt x="57365" y="12700"/>
                </a:lnTo>
                <a:moveTo>
                  <a:pt x="63741" y="0"/>
                </a:moveTo>
                <a:lnTo>
                  <a:pt x="63741" y="12700"/>
                </a:lnTo>
                <a:moveTo>
                  <a:pt x="70116" y="0"/>
                </a:moveTo>
                <a:lnTo>
                  <a:pt x="70116" y="12700"/>
                </a:lnTo>
                <a:moveTo>
                  <a:pt x="76492" y="0"/>
                </a:moveTo>
                <a:lnTo>
                  <a:pt x="76492" y="12700"/>
                </a:lnTo>
                <a:moveTo>
                  <a:pt x="82867" y="0"/>
                </a:moveTo>
                <a:lnTo>
                  <a:pt x="82867" y="12700"/>
                </a:lnTo>
                <a:moveTo>
                  <a:pt x="89242" y="0"/>
                </a:moveTo>
                <a:lnTo>
                  <a:pt x="89242" y="12700"/>
                </a:lnTo>
                <a:moveTo>
                  <a:pt x="95618" y="0"/>
                </a:moveTo>
                <a:lnTo>
                  <a:pt x="95618" y="12700"/>
                </a:lnTo>
                <a:moveTo>
                  <a:pt x="101993" y="0"/>
                </a:moveTo>
                <a:lnTo>
                  <a:pt x="101993" y="12700"/>
                </a:lnTo>
                <a:moveTo>
                  <a:pt x="108369" y="0"/>
                </a:moveTo>
                <a:lnTo>
                  <a:pt x="108369" y="12700"/>
                </a:lnTo>
                <a:moveTo>
                  <a:pt x="114731" y="0"/>
                </a:moveTo>
                <a:lnTo>
                  <a:pt x="114731" y="12700"/>
                </a:lnTo>
                <a:moveTo>
                  <a:pt x="121107" y="0"/>
                </a:moveTo>
                <a:lnTo>
                  <a:pt x="121107" y="12700"/>
                </a:lnTo>
                <a:moveTo>
                  <a:pt x="127482" y="0"/>
                </a:moveTo>
                <a:lnTo>
                  <a:pt x="127482" y="12700"/>
                </a:lnTo>
                <a:moveTo>
                  <a:pt x="133857" y="0"/>
                </a:moveTo>
                <a:lnTo>
                  <a:pt x="133857" y="12700"/>
                </a:lnTo>
                <a:moveTo>
                  <a:pt x="140233" y="0"/>
                </a:moveTo>
                <a:lnTo>
                  <a:pt x="140233" y="12700"/>
                </a:lnTo>
                <a:moveTo>
                  <a:pt x="146608" y="0"/>
                </a:moveTo>
                <a:lnTo>
                  <a:pt x="146608" y="12700"/>
                </a:lnTo>
                <a:moveTo>
                  <a:pt x="152984" y="0"/>
                </a:moveTo>
                <a:lnTo>
                  <a:pt x="152984" y="12700"/>
                </a:lnTo>
                <a:moveTo>
                  <a:pt x="159359" y="0"/>
                </a:moveTo>
                <a:lnTo>
                  <a:pt x="159359" y="12700"/>
                </a:lnTo>
                <a:moveTo>
                  <a:pt x="165735" y="0"/>
                </a:moveTo>
                <a:lnTo>
                  <a:pt x="165735" y="12700"/>
                </a:lnTo>
                <a:moveTo>
                  <a:pt x="172110" y="0"/>
                </a:moveTo>
                <a:lnTo>
                  <a:pt x="172110" y="12700"/>
                </a:lnTo>
                <a:moveTo>
                  <a:pt x="178485" y="0"/>
                </a:moveTo>
                <a:lnTo>
                  <a:pt x="178485" y="12700"/>
                </a:lnTo>
                <a:moveTo>
                  <a:pt x="184861" y="0"/>
                </a:moveTo>
                <a:lnTo>
                  <a:pt x="184861" y="12700"/>
                </a:lnTo>
                <a:moveTo>
                  <a:pt x="191223" y="0"/>
                </a:moveTo>
                <a:lnTo>
                  <a:pt x="191223" y="12700"/>
                </a:lnTo>
                <a:moveTo>
                  <a:pt x="197599" y="0"/>
                </a:moveTo>
                <a:lnTo>
                  <a:pt x="197599" y="12700"/>
                </a:lnTo>
                <a:moveTo>
                  <a:pt x="203974" y="0"/>
                </a:moveTo>
                <a:lnTo>
                  <a:pt x="203974" y="12700"/>
                </a:lnTo>
                <a:moveTo>
                  <a:pt x="210350" y="0"/>
                </a:moveTo>
                <a:lnTo>
                  <a:pt x="210350" y="12700"/>
                </a:lnTo>
                <a:moveTo>
                  <a:pt x="216725" y="0"/>
                </a:moveTo>
                <a:lnTo>
                  <a:pt x="216725" y="12700"/>
                </a:lnTo>
                <a:moveTo>
                  <a:pt x="223100" y="0"/>
                </a:moveTo>
                <a:lnTo>
                  <a:pt x="223100" y="12700"/>
                </a:lnTo>
                <a:moveTo>
                  <a:pt x="229476" y="0"/>
                </a:moveTo>
                <a:lnTo>
                  <a:pt x="229476" y="12700"/>
                </a:lnTo>
                <a:moveTo>
                  <a:pt x="235851" y="0"/>
                </a:moveTo>
                <a:lnTo>
                  <a:pt x="235851" y="12700"/>
                </a:lnTo>
                <a:moveTo>
                  <a:pt x="242227" y="0"/>
                </a:moveTo>
                <a:lnTo>
                  <a:pt x="242227" y="12700"/>
                </a:lnTo>
                <a:moveTo>
                  <a:pt x="248602" y="0"/>
                </a:moveTo>
                <a:lnTo>
                  <a:pt x="248602" y="12700"/>
                </a:lnTo>
                <a:moveTo>
                  <a:pt x="254977" y="0"/>
                </a:moveTo>
                <a:lnTo>
                  <a:pt x="254977" y="12700"/>
                </a:lnTo>
                <a:moveTo>
                  <a:pt x="261353" y="0"/>
                </a:moveTo>
                <a:lnTo>
                  <a:pt x="261353" y="12700"/>
                </a:lnTo>
                <a:moveTo>
                  <a:pt x="267715" y="0"/>
                </a:moveTo>
                <a:lnTo>
                  <a:pt x="267715" y="12700"/>
                </a:lnTo>
                <a:moveTo>
                  <a:pt x="274091" y="0"/>
                </a:moveTo>
                <a:lnTo>
                  <a:pt x="274091" y="12700"/>
                </a:lnTo>
                <a:moveTo>
                  <a:pt x="280466" y="0"/>
                </a:moveTo>
                <a:lnTo>
                  <a:pt x="280466" y="12700"/>
                </a:lnTo>
                <a:moveTo>
                  <a:pt x="286842" y="0"/>
                </a:moveTo>
                <a:lnTo>
                  <a:pt x="286842" y="12700"/>
                </a:lnTo>
                <a:moveTo>
                  <a:pt x="293217" y="0"/>
                </a:moveTo>
                <a:lnTo>
                  <a:pt x="293217" y="12700"/>
                </a:lnTo>
                <a:moveTo>
                  <a:pt x="299593" y="0"/>
                </a:moveTo>
                <a:lnTo>
                  <a:pt x="299593" y="12700"/>
                </a:lnTo>
                <a:moveTo>
                  <a:pt x="305968" y="0"/>
                </a:moveTo>
                <a:lnTo>
                  <a:pt x="305968" y="12700"/>
                </a:lnTo>
                <a:moveTo>
                  <a:pt x="312343" y="0"/>
                </a:moveTo>
                <a:lnTo>
                  <a:pt x="312343" y="12700"/>
                </a:lnTo>
                <a:moveTo>
                  <a:pt x="318719" y="0"/>
                </a:moveTo>
                <a:lnTo>
                  <a:pt x="318719" y="12700"/>
                </a:lnTo>
                <a:moveTo>
                  <a:pt x="325094" y="0"/>
                </a:moveTo>
                <a:lnTo>
                  <a:pt x="325094" y="12700"/>
                </a:lnTo>
                <a:moveTo>
                  <a:pt x="331470" y="0"/>
                </a:moveTo>
                <a:lnTo>
                  <a:pt x="331470" y="12700"/>
                </a:lnTo>
                <a:moveTo>
                  <a:pt x="337845" y="0"/>
                </a:moveTo>
                <a:lnTo>
                  <a:pt x="337845" y="12700"/>
                </a:lnTo>
                <a:moveTo>
                  <a:pt x="344208" y="0"/>
                </a:moveTo>
                <a:lnTo>
                  <a:pt x="344208" y="12700"/>
                </a:lnTo>
                <a:moveTo>
                  <a:pt x="350583" y="0"/>
                </a:moveTo>
                <a:lnTo>
                  <a:pt x="350583" y="12700"/>
                </a:lnTo>
                <a:moveTo>
                  <a:pt x="356958" y="0"/>
                </a:moveTo>
                <a:lnTo>
                  <a:pt x="356958" y="12700"/>
                </a:lnTo>
                <a:moveTo>
                  <a:pt x="363334" y="0"/>
                </a:moveTo>
                <a:lnTo>
                  <a:pt x="363334" y="12700"/>
                </a:lnTo>
                <a:moveTo>
                  <a:pt x="369709" y="0"/>
                </a:moveTo>
                <a:lnTo>
                  <a:pt x="369709" y="12700"/>
                </a:lnTo>
                <a:moveTo>
                  <a:pt x="376085" y="0"/>
                </a:moveTo>
                <a:lnTo>
                  <a:pt x="376085" y="12700"/>
                </a:lnTo>
                <a:moveTo>
                  <a:pt x="382460" y="0"/>
                </a:moveTo>
                <a:lnTo>
                  <a:pt x="382460" y="12700"/>
                </a:lnTo>
                <a:moveTo>
                  <a:pt x="388835" y="0"/>
                </a:moveTo>
                <a:lnTo>
                  <a:pt x="388835" y="12700"/>
                </a:lnTo>
                <a:moveTo>
                  <a:pt x="395211" y="0"/>
                </a:moveTo>
                <a:lnTo>
                  <a:pt x="395211" y="12700"/>
                </a:lnTo>
                <a:moveTo>
                  <a:pt x="401586" y="0"/>
                </a:moveTo>
                <a:lnTo>
                  <a:pt x="401586" y="12700"/>
                </a:lnTo>
                <a:moveTo>
                  <a:pt x="407962" y="0"/>
                </a:moveTo>
                <a:lnTo>
                  <a:pt x="407962" y="12700"/>
                </a:lnTo>
                <a:moveTo>
                  <a:pt x="414337" y="0"/>
                </a:moveTo>
                <a:lnTo>
                  <a:pt x="414337" y="12700"/>
                </a:lnTo>
                <a:moveTo>
                  <a:pt x="420700" y="0"/>
                </a:moveTo>
                <a:lnTo>
                  <a:pt x="420700" y="12700"/>
                </a:lnTo>
                <a:moveTo>
                  <a:pt x="427075" y="0"/>
                </a:moveTo>
                <a:lnTo>
                  <a:pt x="427075" y="12700"/>
                </a:lnTo>
                <a:moveTo>
                  <a:pt x="433451" y="0"/>
                </a:moveTo>
                <a:lnTo>
                  <a:pt x="433451" y="12700"/>
                </a:lnTo>
                <a:moveTo>
                  <a:pt x="439826" y="0"/>
                </a:moveTo>
                <a:lnTo>
                  <a:pt x="439826" y="12700"/>
                </a:lnTo>
                <a:moveTo>
                  <a:pt x="446201" y="0"/>
                </a:moveTo>
                <a:lnTo>
                  <a:pt x="446201" y="12700"/>
                </a:lnTo>
                <a:moveTo>
                  <a:pt x="452577" y="0"/>
                </a:moveTo>
                <a:lnTo>
                  <a:pt x="452577" y="12700"/>
                </a:lnTo>
                <a:moveTo>
                  <a:pt x="458952" y="0"/>
                </a:moveTo>
                <a:lnTo>
                  <a:pt x="458952" y="12700"/>
                </a:lnTo>
                <a:moveTo>
                  <a:pt x="465327" y="0"/>
                </a:moveTo>
                <a:lnTo>
                  <a:pt x="465327" y="12700"/>
                </a:lnTo>
                <a:moveTo>
                  <a:pt x="471703" y="0"/>
                </a:moveTo>
                <a:lnTo>
                  <a:pt x="471703" y="12700"/>
                </a:lnTo>
                <a:moveTo>
                  <a:pt x="478078" y="0"/>
                </a:moveTo>
                <a:lnTo>
                  <a:pt x="478078" y="12700"/>
                </a:lnTo>
                <a:moveTo>
                  <a:pt x="484454" y="0"/>
                </a:moveTo>
                <a:lnTo>
                  <a:pt x="484454" y="12700"/>
                </a:lnTo>
                <a:moveTo>
                  <a:pt x="490816" y="0"/>
                </a:moveTo>
                <a:lnTo>
                  <a:pt x="490816" y="12700"/>
                </a:lnTo>
                <a:moveTo>
                  <a:pt x="497192" y="0"/>
                </a:moveTo>
                <a:lnTo>
                  <a:pt x="497192" y="12700"/>
                </a:lnTo>
                <a:moveTo>
                  <a:pt x="503567" y="0"/>
                </a:moveTo>
                <a:lnTo>
                  <a:pt x="503567" y="12700"/>
                </a:lnTo>
                <a:moveTo>
                  <a:pt x="509943" y="0"/>
                </a:moveTo>
                <a:lnTo>
                  <a:pt x="509943" y="12700"/>
                </a:lnTo>
                <a:moveTo>
                  <a:pt x="516318" y="0"/>
                </a:moveTo>
                <a:lnTo>
                  <a:pt x="516318" y="12700"/>
                </a:lnTo>
                <a:moveTo>
                  <a:pt x="522693" y="0"/>
                </a:moveTo>
                <a:lnTo>
                  <a:pt x="522693" y="12700"/>
                </a:lnTo>
                <a:moveTo>
                  <a:pt x="529069" y="0"/>
                </a:moveTo>
                <a:lnTo>
                  <a:pt x="529069" y="12700"/>
                </a:lnTo>
                <a:moveTo>
                  <a:pt x="535444" y="0"/>
                </a:moveTo>
                <a:lnTo>
                  <a:pt x="535444" y="12700"/>
                </a:lnTo>
                <a:moveTo>
                  <a:pt x="541820" y="0"/>
                </a:moveTo>
                <a:lnTo>
                  <a:pt x="541820" y="12700"/>
                </a:lnTo>
                <a:moveTo>
                  <a:pt x="548195" y="0"/>
                </a:moveTo>
                <a:lnTo>
                  <a:pt x="548195" y="12700"/>
                </a:lnTo>
                <a:moveTo>
                  <a:pt x="554570" y="0"/>
                </a:moveTo>
                <a:lnTo>
                  <a:pt x="554570" y="12700"/>
                </a:lnTo>
                <a:moveTo>
                  <a:pt x="560946" y="0"/>
                </a:moveTo>
                <a:lnTo>
                  <a:pt x="560946" y="12700"/>
                </a:lnTo>
                <a:moveTo>
                  <a:pt x="567308" y="0"/>
                </a:moveTo>
                <a:lnTo>
                  <a:pt x="567308" y="12700"/>
                </a:lnTo>
                <a:moveTo>
                  <a:pt x="573684" y="0"/>
                </a:moveTo>
                <a:lnTo>
                  <a:pt x="573684" y="12700"/>
                </a:lnTo>
                <a:moveTo>
                  <a:pt x="580059" y="0"/>
                </a:moveTo>
                <a:lnTo>
                  <a:pt x="580059" y="12700"/>
                </a:lnTo>
                <a:moveTo>
                  <a:pt x="586435" y="0"/>
                </a:moveTo>
                <a:lnTo>
                  <a:pt x="586435" y="12700"/>
                </a:lnTo>
                <a:moveTo>
                  <a:pt x="592810" y="0"/>
                </a:moveTo>
                <a:lnTo>
                  <a:pt x="592810" y="12700"/>
                </a:lnTo>
                <a:moveTo>
                  <a:pt x="599186" y="0"/>
                </a:moveTo>
                <a:lnTo>
                  <a:pt x="599186" y="12700"/>
                </a:lnTo>
                <a:moveTo>
                  <a:pt x="605561" y="0"/>
                </a:moveTo>
                <a:lnTo>
                  <a:pt x="605561" y="12700"/>
                </a:lnTo>
                <a:moveTo>
                  <a:pt x="611936" y="0"/>
                </a:moveTo>
                <a:lnTo>
                  <a:pt x="611936" y="12700"/>
                </a:lnTo>
                <a:moveTo>
                  <a:pt x="618312" y="0"/>
                </a:moveTo>
                <a:lnTo>
                  <a:pt x="618312" y="12700"/>
                </a:lnTo>
                <a:moveTo>
                  <a:pt x="624687" y="0"/>
                </a:moveTo>
                <a:lnTo>
                  <a:pt x="624687" y="12700"/>
                </a:lnTo>
                <a:moveTo>
                  <a:pt x="631062" y="0"/>
                </a:moveTo>
                <a:lnTo>
                  <a:pt x="631062" y="12700"/>
                </a:lnTo>
                <a:moveTo>
                  <a:pt x="637438" y="0"/>
                </a:moveTo>
                <a:lnTo>
                  <a:pt x="637438" y="12700"/>
                </a:lnTo>
                <a:moveTo>
                  <a:pt x="643801" y="0"/>
                </a:moveTo>
                <a:lnTo>
                  <a:pt x="643801" y="12700"/>
                </a:lnTo>
                <a:moveTo>
                  <a:pt x="650176" y="0"/>
                </a:moveTo>
                <a:lnTo>
                  <a:pt x="650176" y="12700"/>
                </a:lnTo>
                <a:moveTo>
                  <a:pt x="656551" y="0"/>
                </a:moveTo>
                <a:lnTo>
                  <a:pt x="656551" y="12700"/>
                </a:lnTo>
                <a:moveTo>
                  <a:pt x="662927" y="0"/>
                </a:moveTo>
                <a:lnTo>
                  <a:pt x="662927" y="12700"/>
                </a:lnTo>
                <a:moveTo>
                  <a:pt x="669302" y="0"/>
                </a:moveTo>
                <a:lnTo>
                  <a:pt x="669302" y="12700"/>
                </a:lnTo>
                <a:moveTo>
                  <a:pt x="675678" y="0"/>
                </a:moveTo>
                <a:lnTo>
                  <a:pt x="675678" y="12700"/>
                </a:lnTo>
                <a:moveTo>
                  <a:pt x="682053" y="0"/>
                </a:moveTo>
                <a:lnTo>
                  <a:pt x="682053" y="12700"/>
                </a:lnTo>
                <a:moveTo>
                  <a:pt x="688428" y="0"/>
                </a:moveTo>
                <a:lnTo>
                  <a:pt x="688428" y="12700"/>
                </a:lnTo>
                <a:moveTo>
                  <a:pt x="694804" y="0"/>
                </a:moveTo>
                <a:lnTo>
                  <a:pt x="694804" y="12700"/>
                </a:lnTo>
                <a:moveTo>
                  <a:pt x="701179" y="0"/>
                </a:moveTo>
                <a:lnTo>
                  <a:pt x="701179" y="12700"/>
                </a:lnTo>
                <a:moveTo>
                  <a:pt x="707555" y="0"/>
                </a:moveTo>
                <a:lnTo>
                  <a:pt x="707555" y="12700"/>
                </a:lnTo>
                <a:moveTo>
                  <a:pt x="713930" y="0"/>
                </a:moveTo>
                <a:lnTo>
                  <a:pt x="713930" y="12700"/>
                </a:lnTo>
                <a:moveTo>
                  <a:pt x="720293" y="0"/>
                </a:moveTo>
                <a:lnTo>
                  <a:pt x="720293" y="12700"/>
                </a:lnTo>
                <a:moveTo>
                  <a:pt x="726668" y="0"/>
                </a:moveTo>
                <a:lnTo>
                  <a:pt x="726668" y="12700"/>
                </a:lnTo>
                <a:moveTo>
                  <a:pt x="733044" y="0"/>
                </a:moveTo>
                <a:lnTo>
                  <a:pt x="733044" y="12700"/>
                </a:lnTo>
                <a:moveTo>
                  <a:pt x="739419" y="0"/>
                </a:moveTo>
                <a:lnTo>
                  <a:pt x="739419" y="12700"/>
                </a:lnTo>
                <a:moveTo>
                  <a:pt x="745794" y="0"/>
                </a:moveTo>
                <a:lnTo>
                  <a:pt x="745794" y="12700"/>
                </a:lnTo>
                <a:moveTo>
                  <a:pt x="752170" y="0"/>
                </a:moveTo>
                <a:lnTo>
                  <a:pt x="752170" y="12700"/>
                </a:lnTo>
                <a:moveTo>
                  <a:pt x="758545" y="0"/>
                </a:moveTo>
                <a:lnTo>
                  <a:pt x="758545" y="12700"/>
                </a:lnTo>
                <a:moveTo>
                  <a:pt x="764920" y="0"/>
                </a:moveTo>
                <a:lnTo>
                  <a:pt x="764920" y="12700"/>
                </a:lnTo>
                <a:moveTo>
                  <a:pt x="771296" y="0"/>
                </a:moveTo>
                <a:lnTo>
                  <a:pt x="771296" y="12700"/>
                </a:lnTo>
                <a:moveTo>
                  <a:pt x="777671" y="0"/>
                </a:moveTo>
                <a:lnTo>
                  <a:pt x="777671" y="12700"/>
                </a:lnTo>
                <a:moveTo>
                  <a:pt x="784047" y="0"/>
                </a:moveTo>
                <a:lnTo>
                  <a:pt x="784047" y="12700"/>
                </a:lnTo>
                <a:moveTo>
                  <a:pt x="790422" y="0"/>
                </a:moveTo>
                <a:lnTo>
                  <a:pt x="790422" y="12700"/>
                </a:lnTo>
                <a:moveTo>
                  <a:pt x="796785" y="0"/>
                </a:moveTo>
                <a:lnTo>
                  <a:pt x="796785" y="12700"/>
                </a:lnTo>
                <a:moveTo>
                  <a:pt x="803160" y="0"/>
                </a:moveTo>
                <a:lnTo>
                  <a:pt x="803160" y="12700"/>
                </a:lnTo>
                <a:moveTo>
                  <a:pt x="809536" y="0"/>
                </a:moveTo>
                <a:lnTo>
                  <a:pt x="809536" y="12700"/>
                </a:lnTo>
                <a:moveTo>
                  <a:pt x="815911" y="0"/>
                </a:moveTo>
                <a:lnTo>
                  <a:pt x="815911" y="12700"/>
                </a:lnTo>
                <a:moveTo>
                  <a:pt x="822286" y="0"/>
                </a:moveTo>
                <a:lnTo>
                  <a:pt x="822286" y="12700"/>
                </a:lnTo>
                <a:moveTo>
                  <a:pt x="828662" y="0"/>
                </a:moveTo>
                <a:lnTo>
                  <a:pt x="828662" y="12700"/>
                </a:lnTo>
                <a:moveTo>
                  <a:pt x="835037" y="0"/>
                </a:moveTo>
                <a:lnTo>
                  <a:pt x="835037" y="12700"/>
                </a:lnTo>
                <a:moveTo>
                  <a:pt x="841413" y="0"/>
                </a:moveTo>
                <a:lnTo>
                  <a:pt x="841413" y="12700"/>
                </a:lnTo>
                <a:moveTo>
                  <a:pt x="847788" y="0"/>
                </a:moveTo>
                <a:lnTo>
                  <a:pt x="847788" y="12700"/>
                </a:lnTo>
                <a:moveTo>
                  <a:pt x="854163" y="0"/>
                </a:moveTo>
                <a:lnTo>
                  <a:pt x="854163" y="12700"/>
                </a:lnTo>
                <a:moveTo>
                  <a:pt x="860539" y="0"/>
                </a:moveTo>
                <a:lnTo>
                  <a:pt x="860539" y="12700"/>
                </a:lnTo>
                <a:moveTo>
                  <a:pt x="866914" y="0"/>
                </a:moveTo>
                <a:lnTo>
                  <a:pt x="866914" y="12700"/>
                </a:lnTo>
                <a:moveTo>
                  <a:pt x="873277" y="0"/>
                </a:moveTo>
                <a:lnTo>
                  <a:pt x="873277" y="12700"/>
                </a:lnTo>
                <a:moveTo>
                  <a:pt x="879652" y="0"/>
                </a:moveTo>
                <a:lnTo>
                  <a:pt x="879652" y="12700"/>
                </a:lnTo>
                <a:moveTo>
                  <a:pt x="886028" y="0"/>
                </a:moveTo>
                <a:lnTo>
                  <a:pt x="886028" y="12700"/>
                </a:lnTo>
                <a:moveTo>
                  <a:pt x="892403" y="0"/>
                </a:moveTo>
                <a:lnTo>
                  <a:pt x="892403" y="12700"/>
                </a:lnTo>
                <a:moveTo>
                  <a:pt x="898778" y="0"/>
                </a:moveTo>
                <a:lnTo>
                  <a:pt x="898778" y="12700"/>
                </a:lnTo>
                <a:moveTo>
                  <a:pt x="905154" y="0"/>
                </a:moveTo>
                <a:lnTo>
                  <a:pt x="905154" y="12700"/>
                </a:lnTo>
                <a:moveTo>
                  <a:pt x="911529" y="0"/>
                </a:moveTo>
                <a:lnTo>
                  <a:pt x="911529" y="12700"/>
                </a:lnTo>
                <a:moveTo>
                  <a:pt x="917905" y="0"/>
                </a:moveTo>
                <a:lnTo>
                  <a:pt x="917905" y="12700"/>
                </a:lnTo>
                <a:moveTo>
                  <a:pt x="924280" y="0"/>
                </a:moveTo>
                <a:lnTo>
                  <a:pt x="924280" y="12700"/>
                </a:lnTo>
                <a:moveTo>
                  <a:pt x="930655" y="0"/>
                </a:moveTo>
                <a:lnTo>
                  <a:pt x="930655" y="12700"/>
                </a:lnTo>
                <a:moveTo>
                  <a:pt x="937031" y="0"/>
                </a:moveTo>
                <a:lnTo>
                  <a:pt x="937031" y="12700"/>
                </a:lnTo>
                <a:moveTo>
                  <a:pt x="943406" y="0"/>
                </a:moveTo>
                <a:lnTo>
                  <a:pt x="943406" y="12700"/>
                </a:lnTo>
                <a:moveTo>
                  <a:pt x="949769" y="0"/>
                </a:moveTo>
                <a:lnTo>
                  <a:pt x="949769" y="12700"/>
                </a:lnTo>
                <a:moveTo>
                  <a:pt x="956144" y="0"/>
                </a:moveTo>
                <a:lnTo>
                  <a:pt x="956144" y="12700"/>
                </a:lnTo>
                <a:moveTo>
                  <a:pt x="962520" y="0"/>
                </a:moveTo>
                <a:lnTo>
                  <a:pt x="962520" y="12700"/>
                </a:lnTo>
                <a:moveTo>
                  <a:pt x="968895" y="0"/>
                </a:moveTo>
                <a:lnTo>
                  <a:pt x="968895" y="12700"/>
                </a:lnTo>
                <a:moveTo>
                  <a:pt x="975271" y="0"/>
                </a:moveTo>
                <a:lnTo>
                  <a:pt x="975271" y="12700"/>
                </a:lnTo>
                <a:moveTo>
                  <a:pt x="981646" y="0"/>
                </a:moveTo>
                <a:lnTo>
                  <a:pt x="981646" y="12700"/>
                </a:lnTo>
                <a:moveTo>
                  <a:pt x="988021" y="0"/>
                </a:moveTo>
                <a:lnTo>
                  <a:pt x="988021" y="12700"/>
                </a:lnTo>
                <a:moveTo>
                  <a:pt x="994397" y="0"/>
                </a:moveTo>
                <a:lnTo>
                  <a:pt x="994397" y="12700"/>
                </a:lnTo>
                <a:moveTo>
                  <a:pt x="1000772" y="0"/>
                </a:moveTo>
                <a:lnTo>
                  <a:pt x="1000772" y="12700"/>
                </a:lnTo>
                <a:moveTo>
                  <a:pt x="1007148" y="0"/>
                </a:moveTo>
                <a:lnTo>
                  <a:pt x="1007148" y="12700"/>
                </a:lnTo>
                <a:moveTo>
                  <a:pt x="1013523" y="0"/>
                </a:moveTo>
                <a:lnTo>
                  <a:pt x="1013523" y="12700"/>
                </a:lnTo>
                <a:moveTo>
                  <a:pt x="1019886" y="0"/>
                </a:moveTo>
                <a:lnTo>
                  <a:pt x="1019886" y="12700"/>
                </a:lnTo>
                <a:moveTo>
                  <a:pt x="1026261" y="0"/>
                </a:moveTo>
                <a:lnTo>
                  <a:pt x="1026261" y="12700"/>
                </a:lnTo>
                <a:moveTo>
                  <a:pt x="1032636" y="0"/>
                </a:moveTo>
                <a:lnTo>
                  <a:pt x="1032636" y="12700"/>
                </a:lnTo>
                <a:moveTo>
                  <a:pt x="1039012" y="0"/>
                </a:moveTo>
                <a:lnTo>
                  <a:pt x="1039012" y="12700"/>
                </a:lnTo>
                <a:moveTo>
                  <a:pt x="1045387" y="0"/>
                </a:moveTo>
                <a:lnTo>
                  <a:pt x="1045387" y="12700"/>
                </a:lnTo>
                <a:moveTo>
                  <a:pt x="1051763" y="0"/>
                </a:moveTo>
                <a:lnTo>
                  <a:pt x="1051763" y="12700"/>
                </a:lnTo>
                <a:moveTo>
                  <a:pt x="1058138" y="0"/>
                </a:moveTo>
                <a:lnTo>
                  <a:pt x="1058138" y="12700"/>
                </a:lnTo>
                <a:moveTo>
                  <a:pt x="1064513" y="0"/>
                </a:moveTo>
                <a:lnTo>
                  <a:pt x="1064513" y="12700"/>
                </a:lnTo>
                <a:moveTo>
                  <a:pt x="1070889" y="0"/>
                </a:moveTo>
                <a:lnTo>
                  <a:pt x="1070889" y="12700"/>
                </a:lnTo>
                <a:moveTo>
                  <a:pt x="1077264" y="0"/>
                </a:moveTo>
                <a:lnTo>
                  <a:pt x="1077264" y="12700"/>
                </a:lnTo>
                <a:moveTo>
                  <a:pt x="1083640" y="0"/>
                </a:moveTo>
                <a:lnTo>
                  <a:pt x="1083640" y="12700"/>
                </a:lnTo>
                <a:moveTo>
                  <a:pt x="1090015" y="0"/>
                </a:moveTo>
                <a:lnTo>
                  <a:pt x="1090015" y="12700"/>
                </a:lnTo>
                <a:moveTo>
                  <a:pt x="1096378" y="0"/>
                </a:moveTo>
                <a:lnTo>
                  <a:pt x="1096378" y="12700"/>
                </a:lnTo>
                <a:moveTo>
                  <a:pt x="1102753" y="0"/>
                </a:moveTo>
                <a:lnTo>
                  <a:pt x="1102753" y="12700"/>
                </a:lnTo>
                <a:moveTo>
                  <a:pt x="1109129" y="0"/>
                </a:moveTo>
                <a:lnTo>
                  <a:pt x="1109129" y="12700"/>
                </a:lnTo>
                <a:moveTo>
                  <a:pt x="1115504" y="0"/>
                </a:moveTo>
                <a:lnTo>
                  <a:pt x="1115504" y="12700"/>
                </a:lnTo>
                <a:moveTo>
                  <a:pt x="1121879" y="0"/>
                </a:moveTo>
                <a:lnTo>
                  <a:pt x="1121879" y="12700"/>
                </a:lnTo>
                <a:moveTo>
                  <a:pt x="1128255" y="0"/>
                </a:moveTo>
                <a:lnTo>
                  <a:pt x="1128255" y="12700"/>
                </a:lnTo>
                <a:moveTo>
                  <a:pt x="1134630" y="0"/>
                </a:moveTo>
                <a:lnTo>
                  <a:pt x="1134630" y="12700"/>
                </a:lnTo>
                <a:moveTo>
                  <a:pt x="1141006" y="0"/>
                </a:moveTo>
                <a:lnTo>
                  <a:pt x="1141006" y="12700"/>
                </a:lnTo>
                <a:moveTo>
                  <a:pt x="1147381" y="0"/>
                </a:moveTo>
                <a:lnTo>
                  <a:pt x="1147381" y="12700"/>
                </a:lnTo>
                <a:moveTo>
                  <a:pt x="1153756" y="0"/>
                </a:moveTo>
                <a:lnTo>
                  <a:pt x="1153756" y="12700"/>
                </a:lnTo>
                <a:moveTo>
                  <a:pt x="1160132" y="0"/>
                </a:moveTo>
                <a:lnTo>
                  <a:pt x="1160132" y="12700"/>
                </a:lnTo>
                <a:moveTo>
                  <a:pt x="1166507" y="0"/>
                </a:moveTo>
                <a:lnTo>
                  <a:pt x="1166507" y="12700"/>
                </a:lnTo>
                <a:moveTo>
                  <a:pt x="1172870" y="0"/>
                </a:moveTo>
                <a:lnTo>
                  <a:pt x="1172870" y="12700"/>
                </a:lnTo>
                <a:moveTo>
                  <a:pt x="1179245" y="0"/>
                </a:moveTo>
                <a:lnTo>
                  <a:pt x="1179245" y="12700"/>
                </a:lnTo>
                <a:moveTo>
                  <a:pt x="1185621" y="0"/>
                </a:moveTo>
                <a:lnTo>
                  <a:pt x="1185621" y="12700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pic>
        <p:nvPicPr>
          <p:cNvPr id="261" name="Picture 808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774940" y="1853747"/>
            <a:ext cx="487751" cy="323091"/>
          </a:xfrm>
          <a:prstGeom prst="rect">
            <a:avLst/>
          </a:prstGeom>
          <a:noFill/>
          <a:extLst/>
        </p:spPr>
      </p:pic>
      <p:sp>
        <p:nvSpPr>
          <p:cNvPr id="262" name="Freeform 797"/>
          <p:cNvSpPr/>
          <p:nvPr/>
        </p:nvSpPr>
        <p:spPr>
          <a:xfrm>
            <a:off x="11440394" y="1584887"/>
            <a:ext cx="860821" cy="860821"/>
          </a:xfrm>
          <a:custGeom>
            <a:avLst/>
            <a:gdLst/>
            <a:ahLst/>
            <a:cxnLst/>
            <a:rect l="0" t="0" r="0" b="0"/>
            <a:pathLst>
              <a:path w="567004" h="567004">
                <a:moveTo>
                  <a:pt x="283502" y="567004"/>
                </a:moveTo>
                <a:cubicBezTo>
                  <a:pt x="440080" y="567004"/>
                  <a:pt x="567004" y="440081"/>
                  <a:pt x="567004" y="283502"/>
                </a:cubicBezTo>
                <a:cubicBezTo>
                  <a:pt x="567004" y="126937"/>
                  <a:pt x="440080" y="0"/>
                  <a:pt x="283502" y="0"/>
                </a:cubicBezTo>
                <a:cubicBezTo>
                  <a:pt x="126924" y="0"/>
                  <a:pt x="0" y="126937"/>
                  <a:pt x="0" y="283502"/>
                </a:cubicBezTo>
                <a:cubicBezTo>
                  <a:pt x="0" y="440081"/>
                  <a:pt x="126924" y="567004"/>
                  <a:pt x="283502" y="567004"/>
                </a:cubicBezTo>
              </a:path>
            </a:pathLst>
          </a:custGeom>
          <a:solidFill>
            <a:srgbClr val="FFD427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pic>
        <p:nvPicPr>
          <p:cNvPr id="263" name="Picture 798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592028" y="1767384"/>
            <a:ext cx="560961" cy="504738"/>
          </a:xfrm>
          <a:prstGeom prst="rect">
            <a:avLst/>
          </a:prstGeom>
          <a:noFill/>
          <a:extLst/>
        </p:spPr>
      </p:pic>
      <p:sp>
        <p:nvSpPr>
          <p:cNvPr id="264" name="Freeform 799"/>
          <p:cNvSpPr/>
          <p:nvPr/>
        </p:nvSpPr>
        <p:spPr>
          <a:xfrm>
            <a:off x="11370755" y="2016847"/>
            <a:ext cx="1000088" cy="498415"/>
          </a:xfrm>
          <a:custGeom>
            <a:avLst/>
            <a:gdLst/>
            <a:ahLst/>
            <a:cxnLst/>
            <a:rect l="0" t="0" r="0" b="0"/>
            <a:pathLst>
              <a:path w="658736" h="328295">
                <a:moveTo>
                  <a:pt x="12700" y="0"/>
                </a:moveTo>
                <a:lnTo>
                  <a:pt x="0" y="317"/>
                </a:lnTo>
                <a:moveTo>
                  <a:pt x="12865" y="6362"/>
                </a:moveTo>
                <a:lnTo>
                  <a:pt x="166" y="6692"/>
                </a:lnTo>
                <a:moveTo>
                  <a:pt x="13017" y="12738"/>
                </a:moveTo>
                <a:lnTo>
                  <a:pt x="331" y="13055"/>
                </a:lnTo>
                <a:moveTo>
                  <a:pt x="13347" y="18770"/>
                </a:moveTo>
                <a:lnTo>
                  <a:pt x="686" y="19735"/>
                </a:lnTo>
                <a:moveTo>
                  <a:pt x="13830" y="25120"/>
                </a:moveTo>
                <a:lnTo>
                  <a:pt x="1169" y="26085"/>
                </a:lnTo>
                <a:moveTo>
                  <a:pt x="14312" y="31470"/>
                </a:moveTo>
                <a:lnTo>
                  <a:pt x="1651" y="32435"/>
                </a:lnTo>
                <a:moveTo>
                  <a:pt x="15087" y="37465"/>
                </a:moveTo>
                <a:lnTo>
                  <a:pt x="2490" y="39065"/>
                </a:lnTo>
                <a:moveTo>
                  <a:pt x="15887" y="43789"/>
                </a:moveTo>
                <a:lnTo>
                  <a:pt x="3290" y="45389"/>
                </a:lnTo>
                <a:moveTo>
                  <a:pt x="16776" y="49758"/>
                </a:moveTo>
                <a:lnTo>
                  <a:pt x="4280" y="51993"/>
                </a:lnTo>
                <a:moveTo>
                  <a:pt x="17894" y="56032"/>
                </a:moveTo>
                <a:lnTo>
                  <a:pt x="5398" y="58267"/>
                </a:lnTo>
                <a:moveTo>
                  <a:pt x="19024" y="62306"/>
                </a:moveTo>
                <a:lnTo>
                  <a:pt x="6516" y="64541"/>
                </a:lnTo>
                <a:moveTo>
                  <a:pt x="20358" y="68198"/>
                </a:moveTo>
                <a:lnTo>
                  <a:pt x="7976" y="71056"/>
                </a:lnTo>
                <a:moveTo>
                  <a:pt x="21780" y="74409"/>
                </a:moveTo>
                <a:lnTo>
                  <a:pt x="9411" y="77266"/>
                </a:lnTo>
                <a:moveTo>
                  <a:pt x="23253" y="80276"/>
                </a:moveTo>
                <a:lnTo>
                  <a:pt x="11037" y="83743"/>
                </a:lnTo>
                <a:moveTo>
                  <a:pt x="24993" y="86398"/>
                </a:moveTo>
                <a:lnTo>
                  <a:pt x="12776" y="89877"/>
                </a:lnTo>
                <a:moveTo>
                  <a:pt x="26733" y="92532"/>
                </a:moveTo>
                <a:lnTo>
                  <a:pt x="14516" y="95999"/>
                </a:lnTo>
                <a:moveTo>
                  <a:pt x="28638" y="98272"/>
                </a:moveTo>
                <a:lnTo>
                  <a:pt x="16611" y="102349"/>
                </a:lnTo>
                <a:moveTo>
                  <a:pt x="30683" y="104305"/>
                </a:moveTo>
                <a:lnTo>
                  <a:pt x="18656" y="108369"/>
                </a:lnTo>
                <a:moveTo>
                  <a:pt x="32727" y="110007"/>
                </a:moveTo>
                <a:lnTo>
                  <a:pt x="20916" y="114655"/>
                </a:lnTo>
                <a:moveTo>
                  <a:pt x="35064" y="115925"/>
                </a:moveTo>
                <a:lnTo>
                  <a:pt x="23253" y="120586"/>
                </a:lnTo>
                <a:moveTo>
                  <a:pt x="37401" y="121843"/>
                </a:moveTo>
                <a:lnTo>
                  <a:pt x="25590" y="126504"/>
                </a:lnTo>
                <a:moveTo>
                  <a:pt x="39878" y="127380"/>
                </a:moveTo>
                <a:lnTo>
                  <a:pt x="28308" y="132613"/>
                </a:lnTo>
                <a:moveTo>
                  <a:pt x="42506" y="133184"/>
                </a:moveTo>
                <a:lnTo>
                  <a:pt x="30937" y="138417"/>
                </a:lnTo>
                <a:moveTo>
                  <a:pt x="45110" y="138645"/>
                </a:moveTo>
                <a:lnTo>
                  <a:pt x="33807" y="144437"/>
                </a:lnTo>
                <a:moveTo>
                  <a:pt x="48018" y="144310"/>
                </a:moveTo>
                <a:lnTo>
                  <a:pt x="36715" y="150101"/>
                </a:lnTo>
                <a:moveTo>
                  <a:pt x="50926" y="149987"/>
                </a:moveTo>
                <a:lnTo>
                  <a:pt x="39623" y="155765"/>
                </a:lnTo>
                <a:moveTo>
                  <a:pt x="53949" y="155232"/>
                </a:moveTo>
                <a:lnTo>
                  <a:pt x="42938" y="161569"/>
                </a:lnTo>
                <a:moveTo>
                  <a:pt x="57124" y="160756"/>
                </a:moveTo>
                <a:lnTo>
                  <a:pt x="46113" y="167081"/>
                </a:lnTo>
                <a:moveTo>
                  <a:pt x="60274" y="165925"/>
                </a:moveTo>
                <a:lnTo>
                  <a:pt x="49580" y="172783"/>
                </a:lnTo>
                <a:moveTo>
                  <a:pt x="63715" y="171284"/>
                </a:moveTo>
                <a:lnTo>
                  <a:pt x="53022" y="178142"/>
                </a:lnTo>
                <a:moveTo>
                  <a:pt x="67005" y="176377"/>
                </a:moveTo>
                <a:lnTo>
                  <a:pt x="56654" y="183743"/>
                </a:lnTo>
                <a:moveTo>
                  <a:pt x="70688" y="181571"/>
                </a:moveTo>
                <a:lnTo>
                  <a:pt x="60337" y="188925"/>
                </a:lnTo>
                <a:moveTo>
                  <a:pt x="74383" y="186766"/>
                </a:moveTo>
                <a:lnTo>
                  <a:pt x="64033" y="194119"/>
                </a:lnTo>
                <a:moveTo>
                  <a:pt x="78054" y="191592"/>
                </a:moveTo>
                <a:lnTo>
                  <a:pt x="68059" y="199440"/>
                </a:lnTo>
                <a:moveTo>
                  <a:pt x="81991" y="196595"/>
                </a:moveTo>
                <a:lnTo>
                  <a:pt x="71996" y="204444"/>
                </a:lnTo>
                <a:moveTo>
                  <a:pt x="85775" y="201333"/>
                </a:moveTo>
                <a:lnTo>
                  <a:pt x="76174" y="209638"/>
                </a:lnTo>
                <a:moveTo>
                  <a:pt x="89941" y="206146"/>
                </a:moveTo>
                <a:lnTo>
                  <a:pt x="80352" y="214452"/>
                </a:lnTo>
                <a:moveTo>
                  <a:pt x="94119" y="210959"/>
                </a:moveTo>
                <a:lnTo>
                  <a:pt x="84518" y="219265"/>
                </a:lnTo>
                <a:moveTo>
                  <a:pt x="98259" y="215379"/>
                </a:moveTo>
                <a:lnTo>
                  <a:pt x="89065" y="224154"/>
                </a:lnTo>
                <a:moveTo>
                  <a:pt x="102654" y="220002"/>
                </a:moveTo>
                <a:lnTo>
                  <a:pt x="93459" y="228752"/>
                </a:lnTo>
                <a:moveTo>
                  <a:pt x="106908" y="224320"/>
                </a:moveTo>
                <a:lnTo>
                  <a:pt x="98145" y="233502"/>
                </a:lnTo>
                <a:moveTo>
                  <a:pt x="111518" y="228714"/>
                </a:moveTo>
                <a:lnTo>
                  <a:pt x="102755" y="237896"/>
                </a:lnTo>
                <a:moveTo>
                  <a:pt x="116128" y="233108"/>
                </a:moveTo>
                <a:lnTo>
                  <a:pt x="107365" y="242303"/>
                </a:lnTo>
                <a:moveTo>
                  <a:pt x="120688" y="237096"/>
                </a:moveTo>
                <a:lnTo>
                  <a:pt x="112382" y="246697"/>
                </a:lnTo>
                <a:moveTo>
                  <a:pt x="125501" y="241261"/>
                </a:moveTo>
                <a:lnTo>
                  <a:pt x="117195" y="250863"/>
                </a:lnTo>
                <a:moveTo>
                  <a:pt x="130175" y="245122"/>
                </a:moveTo>
                <a:lnTo>
                  <a:pt x="122326" y="255117"/>
                </a:lnTo>
                <a:moveTo>
                  <a:pt x="135191" y="249059"/>
                </a:moveTo>
                <a:lnTo>
                  <a:pt x="127342" y="259041"/>
                </a:lnTo>
                <a:moveTo>
                  <a:pt x="139954" y="252806"/>
                </a:moveTo>
                <a:lnTo>
                  <a:pt x="132600" y="263156"/>
                </a:lnTo>
                <a:moveTo>
                  <a:pt x="145148" y="256501"/>
                </a:moveTo>
                <a:lnTo>
                  <a:pt x="137782" y="266839"/>
                </a:lnTo>
                <a:moveTo>
                  <a:pt x="150329" y="260184"/>
                </a:moveTo>
                <a:lnTo>
                  <a:pt x="142976" y="270535"/>
                </a:lnTo>
                <a:moveTo>
                  <a:pt x="155371" y="263550"/>
                </a:moveTo>
                <a:lnTo>
                  <a:pt x="148526" y="274243"/>
                </a:lnTo>
                <a:moveTo>
                  <a:pt x="160731" y="266992"/>
                </a:moveTo>
                <a:lnTo>
                  <a:pt x="153885" y="277685"/>
                </a:lnTo>
                <a:moveTo>
                  <a:pt x="165862" y="270230"/>
                </a:moveTo>
                <a:lnTo>
                  <a:pt x="159524" y="281241"/>
                </a:lnTo>
                <a:moveTo>
                  <a:pt x="171386" y="273405"/>
                </a:moveTo>
                <a:lnTo>
                  <a:pt x="165049" y="284416"/>
                </a:lnTo>
                <a:moveTo>
                  <a:pt x="176898" y="276580"/>
                </a:moveTo>
                <a:lnTo>
                  <a:pt x="170573" y="287591"/>
                </a:lnTo>
                <a:moveTo>
                  <a:pt x="182257" y="279412"/>
                </a:moveTo>
                <a:lnTo>
                  <a:pt x="176466" y="290715"/>
                </a:lnTo>
                <a:moveTo>
                  <a:pt x="187921" y="282320"/>
                </a:moveTo>
                <a:lnTo>
                  <a:pt x="182130" y="293624"/>
                </a:lnTo>
                <a:moveTo>
                  <a:pt x="193344" y="285013"/>
                </a:moveTo>
                <a:lnTo>
                  <a:pt x="188112" y="296595"/>
                </a:lnTo>
                <a:moveTo>
                  <a:pt x="199148" y="287642"/>
                </a:moveTo>
                <a:lnTo>
                  <a:pt x="193916" y="299211"/>
                </a:lnTo>
                <a:moveTo>
                  <a:pt x="204952" y="290271"/>
                </a:moveTo>
                <a:lnTo>
                  <a:pt x="199720" y="301840"/>
                </a:lnTo>
                <a:moveTo>
                  <a:pt x="210565" y="292544"/>
                </a:moveTo>
                <a:lnTo>
                  <a:pt x="205905" y="304355"/>
                </a:lnTo>
                <a:moveTo>
                  <a:pt x="216484" y="294881"/>
                </a:moveTo>
                <a:lnTo>
                  <a:pt x="211823" y="306692"/>
                </a:lnTo>
                <a:moveTo>
                  <a:pt x="222148" y="297014"/>
                </a:moveTo>
                <a:lnTo>
                  <a:pt x="218084" y="309054"/>
                </a:lnTo>
                <a:moveTo>
                  <a:pt x="228180" y="299059"/>
                </a:moveTo>
                <a:lnTo>
                  <a:pt x="224104" y="311086"/>
                </a:lnTo>
                <a:moveTo>
                  <a:pt x="234213" y="301104"/>
                </a:moveTo>
                <a:lnTo>
                  <a:pt x="230136" y="313131"/>
                </a:lnTo>
                <a:moveTo>
                  <a:pt x="240017" y="302806"/>
                </a:moveTo>
                <a:lnTo>
                  <a:pt x="236550" y="315023"/>
                </a:lnTo>
                <a:moveTo>
                  <a:pt x="246151" y="304545"/>
                </a:moveTo>
                <a:lnTo>
                  <a:pt x="242671" y="316763"/>
                </a:lnTo>
                <a:moveTo>
                  <a:pt x="251993" y="306108"/>
                </a:moveTo>
                <a:lnTo>
                  <a:pt x="249135" y="318490"/>
                </a:lnTo>
                <a:moveTo>
                  <a:pt x="258190" y="307543"/>
                </a:moveTo>
                <a:lnTo>
                  <a:pt x="255346" y="319913"/>
                </a:lnTo>
                <a:moveTo>
                  <a:pt x="264401" y="308978"/>
                </a:moveTo>
                <a:lnTo>
                  <a:pt x="261543" y="321348"/>
                </a:lnTo>
                <a:moveTo>
                  <a:pt x="270344" y="310095"/>
                </a:moveTo>
                <a:lnTo>
                  <a:pt x="268109" y="322592"/>
                </a:lnTo>
                <a:moveTo>
                  <a:pt x="276618" y="311213"/>
                </a:moveTo>
                <a:lnTo>
                  <a:pt x="274383" y="323722"/>
                </a:lnTo>
                <a:moveTo>
                  <a:pt x="282575" y="312204"/>
                </a:moveTo>
                <a:lnTo>
                  <a:pt x="280974" y="324802"/>
                </a:lnTo>
                <a:moveTo>
                  <a:pt x="288899" y="313004"/>
                </a:moveTo>
                <a:lnTo>
                  <a:pt x="287299" y="325602"/>
                </a:lnTo>
                <a:moveTo>
                  <a:pt x="295211" y="313804"/>
                </a:moveTo>
                <a:lnTo>
                  <a:pt x="293611" y="326415"/>
                </a:lnTo>
                <a:moveTo>
                  <a:pt x="301231" y="314363"/>
                </a:moveTo>
                <a:lnTo>
                  <a:pt x="300278" y="327025"/>
                </a:lnTo>
                <a:moveTo>
                  <a:pt x="307581" y="314845"/>
                </a:moveTo>
                <a:lnTo>
                  <a:pt x="306628" y="327507"/>
                </a:lnTo>
                <a:moveTo>
                  <a:pt x="313613" y="315277"/>
                </a:moveTo>
                <a:lnTo>
                  <a:pt x="313296" y="327964"/>
                </a:lnTo>
                <a:moveTo>
                  <a:pt x="319989" y="315429"/>
                </a:moveTo>
                <a:lnTo>
                  <a:pt x="319659" y="328129"/>
                </a:lnTo>
                <a:moveTo>
                  <a:pt x="326351" y="315595"/>
                </a:moveTo>
                <a:lnTo>
                  <a:pt x="326034" y="328295"/>
                </a:lnTo>
                <a:moveTo>
                  <a:pt x="332397" y="315595"/>
                </a:moveTo>
                <a:lnTo>
                  <a:pt x="332714" y="328295"/>
                </a:lnTo>
                <a:moveTo>
                  <a:pt x="338759" y="315429"/>
                </a:moveTo>
                <a:lnTo>
                  <a:pt x="339077" y="328129"/>
                </a:lnTo>
                <a:moveTo>
                  <a:pt x="345122" y="315277"/>
                </a:moveTo>
                <a:lnTo>
                  <a:pt x="345452" y="327964"/>
                </a:lnTo>
                <a:moveTo>
                  <a:pt x="351154" y="314845"/>
                </a:moveTo>
                <a:lnTo>
                  <a:pt x="352120" y="327507"/>
                </a:lnTo>
                <a:moveTo>
                  <a:pt x="357504" y="314363"/>
                </a:moveTo>
                <a:lnTo>
                  <a:pt x="358470" y="327025"/>
                </a:lnTo>
                <a:moveTo>
                  <a:pt x="363524" y="313804"/>
                </a:moveTo>
                <a:lnTo>
                  <a:pt x="365125" y="326415"/>
                </a:lnTo>
                <a:moveTo>
                  <a:pt x="369849" y="313004"/>
                </a:moveTo>
                <a:lnTo>
                  <a:pt x="371449" y="325602"/>
                </a:lnTo>
                <a:moveTo>
                  <a:pt x="376161" y="312204"/>
                </a:moveTo>
                <a:lnTo>
                  <a:pt x="377761" y="324802"/>
                </a:lnTo>
                <a:moveTo>
                  <a:pt x="382130" y="311213"/>
                </a:moveTo>
                <a:lnTo>
                  <a:pt x="384365" y="323722"/>
                </a:lnTo>
                <a:moveTo>
                  <a:pt x="388404" y="310095"/>
                </a:moveTo>
                <a:lnTo>
                  <a:pt x="390626" y="322592"/>
                </a:lnTo>
                <a:moveTo>
                  <a:pt x="394347" y="308978"/>
                </a:moveTo>
                <a:lnTo>
                  <a:pt x="397192" y="321348"/>
                </a:lnTo>
                <a:moveTo>
                  <a:pt x="400545" y="307543"/>
                </a:moveTo>
                <a:lnTo>
                  <a:pt x="403402" y="319913"/>
                </a:lnTo>
                <a:moveTo>
                  <a:pt x="406755" y="306108"/>
                </a:moveTo>
                <a:lnTo>
                  <a:pt x="409613" y="318490"/>
                </a:lnTo>
                <a:moveTo>
                  <a:pt x="412597" y="304545"/>
                </a:moveTo>
                <a:lnTo>
                  <a:pt x="416064" y="316763"/>
                </a:lnTo>
                <a:moveTo>
                  <a:pt x="418718" y="302806"/>
                </a:moveTo>
                <a:lnTo>
                  <a:pt x="422186" y="315023"/>
                </a:lnTo>
                <a:moveTo>
                  <a:pt x="424535" y="301104"/>
                </a:moveTo>
                <a:lnTo>
                  <a:pt x="428599" y="313131"/>
                </a:lnTo>
                <a:moveTo>
                  <a:pt x="430568" y="299059"/>
                </a:moveTo>
                <a:lnTo>
                  <a:pt x="434632" y="311086"/>
                </a:lnTo>
                <a:moveTo>
                  <a:pt x="436600" y="297014"/>
                </a:moveTo>
                <a:lnTo>
                  <a:pt x="440664" y="309054"/>
                </a:lnTo>
                <a:moveTo>
                  <a:pt x="442264" y="294881"/>
                </a:moveTo>
                <a:lnTo>
                  <a:pt x="446912" y="306692"/>
                </a:lnTo>
                <a:moveTo>
                  <a:pt x="448183" y="292544"/>
                </a:moveTo>
                <a:lnTo>
                  <a:pt x="452843" y="304355"/>
                </a:lnTo>
                <a:moveTo>
                  <a:pt x="453796" y="290271"/>
                </a:moveTo>
                <a:lnTo>
                  <a:pt x="459028" y="301840"/>
                </a:lnTo>
                <a:moveTo>
                  <a:pt x="459600" y="287642"/>
                </a:moveTo>
                <a:lnTo>
                  <a:pt x="464832" y="299211"/>
                </a:lnTo>
                <a:moveTo>
                  <a:pt x="465404" y="285013"/>
                </a:moveTo>
                <a:lnTo>
                  <a:pt x="470636" y="296595"/>
                </a:lnTo>
                <a:moveTo>
                  <a:pt x="470827" y="282320"/>
                </a:moveTo>
                <a:lnTo>
                  <a:pt x="476605" y="293624"/>
                </a:lnTo>
                <a:moveTo>
                  <a:pt x="476491" y="279412"/>
                </a:moveTo>
                <a:lnTo>
                  <a:pt x="482282" y="290715"/>
                </a:lnTo>
                <a:moveTo>
                  <a:pt x="481837" y="276580"/>
                </a:moveTo>
                <a:lnTo>
                  <a:pt x="488175" y="287591"/>
                </a:lnTo>
                <a:moveTo>
                  <a:pt x="487362" y="273405"/>
                </a:moveTo>
                <a:lnTo>
                  <a:pt x="493699" y="284416"/>
                </a:lnTo>
                <a:moveTo>
                  <a:pt x="492887" y="270230"/>
                </a:moveTo>
                <a:lnTo>
                  <a:pt x="499211" y="281241"/>
                </a:lnTo>
                <a:moveTo>
                  <a:pt x="498005" y="266992"/>
                </a:moveTo>
                <a:lnTo>
                  <a:pt x="504863" y="277685"/>
                </a:lnTo>
                <a:moveTo>
                  <a:pt x="503364" y="263550"/>
                </a:moveTo>
                <a:lnTo>
                  <a:pt x="510222" y="274243"/>
                </a:lnTo>
                <a:moveTo>
                  <a:pt x="508406" y="260184"/>
                </a:moveTo>
                <a:lnTo>
                  <a:pt x="515772" y="270535"/>
                </a:lnTo>
                <a:moveTo>
                  <a:pt x="513600" y="256501"/>
                </a:moveTo>
                <a:lnTo>
                  <a:pt x="520954" y="266839"/>
                </a:lnTo>
                <a:moveTo>
                  <a:pt x="518782" y="252806"/>
                </a:moveTo>
                <a:lnTo>
                  <a:pt x="526148" y="263156"/>
                </a:lnTo>
                <a:moveTo>
                  <a:pt x="523557" y="249059"/>
                </a:moveTo>
                <a:lnTo>
                  <a:pt x="531406" y="259041"/>
                </a:lnTo>
                <a:moveTo>
                  <a:pt x="528561" y="245122"/>
                </a:moveTo>
                <a:lnTo>
                  <a:pt x="536409" y="255117"/>
                </a:lnTo>
                <a:moveTo>
                  <a:pt x="533234" y="241261"/>
                </a:moveTo>
                <a:lnTo>
                  <a:pt x="541553" y="250863"/>
                </a:lnTo>
                <a:moveTo>
                  <a:pt x="538048" y="237096"/>
                </a:moveTo>
                <a:lnTo>
                  <a:pt x="546366" y="246697"/>
                </a:lnTo>
                <a:moveTo>
                  <a:pt x="542620" y="233108"/>
                </a:moveTo>
                <a:lnTo>
                  <a:pt x="551383" y="242303"/>
                </a:lnTo>
                <a:moveTo>
                  <a:pt x="547230" y="228714"/>
                </a:moveTo>
                <a:lnTo>
                  <a:pt x="555993" y="237896"/>
                </a:lnTo>
                <a:moveTo>
                  <a:pt x="551840" y="224320"/>
                </a:moveTo>
                <a:lnTo>
                  <a:pt x="560603" y="233502"/>
                </a:lnTo>
                <a:moveTo>
                  <a:pt x="556094" y="220002"/>
                </a:moveTo>
                <a:lnTo>
                  <a:pt x="565289" y="228752"/>
                </a:lnTo>
                <a:moveTo>
                  <a:pt x="560489" y="215379"/>
                </a:moveTo>
                <a:lnTo>
                  <a:pt x="569683" y="224154"/>
                </a:lnTo>
                <a:moveTo>
                  <a:pt x="564629" y="210959"/>
                </a:moveTo>
                <a:lnTo>
                  <a:pt x="574230" y="219265"/>
                </a:lnTo>
                <a:moveTo>
                  <a:pt x="568794" y="206146"/>
                </a:moveTo>
                <a:lnTo>
                  <a:pt x="578396" y="214452"/>
                </a:lnTo>
                <a:moveTo>
                  <a:pt x="572973" y="201333"/>
                </a:moveTo>
                <a:lnTo>
                  <a:pt x="582561" y="209638"/>
                </a:lnTo>
                <a:moveTo>
                  <a:pt x="576757" y="196595"/>
                </a:moveTo>
                <a:lnTo>
                  <a:pt x="586740" y="204444"/>
                </a:lnTo>
                <a:moveTo>
                  <a:pt x="580694" y="191592"/>
                </a:moveTo>
                <a:lnTo>
                  <a:pt x="590676" y="199440"/>
                </a:lnTo>
                <a:moveTo>
                  <a:pt x="584365" y="186766"/>
                </a:moveTo>
                <a:lnTo>
                  <a:pt x="594715" y="194119"/>
                </a:lnTo>
                <a:moveTo>
                  <a:pt x="588048" y="181571"/>
                </a:moveTo>
                <a:lnTo>
                  <a:pt x="598398" y="188925"/>
                </a:lnTo>
                <a:moveTo>
                  <a:pt x="591743" y="176377"/>
                </a:moveTo>
                <a:lnTo>
                  <a:pt x="602094" y="183743"/>
                </a:lnTo>
                <a:moveTo>
                  <a:pt x="595033" y="171284"/>
                </a:moveTo>
                <a:lnTo>
                  <a:pt x="605726" y="178142"/>
                </a:lnTo>
                <a:moveTo>
                  <a:pt x="598462" y="165925"/>
                </a:moveTo>
                <a:lnTo>
                  <a:pt x="609155" y="172783"/>
                </a:lnTo>
                <a:moveTo>
                  <a:pt x="601624" y="160756"/>
                </a:moveTo>
                <a:lnTo>
                  <a:pt x="612635" y="167081"/>
                </a:lnTo>
                <a:moveTo>
                  <a:pt x="604799" y="155232"/>
                </a:moveTo>
                <a:lnTo>
                  <a:pt x="615810" y="161569"/>
                </a:lnTo>
                <a:moveTo>
                  <a:pt x="607822" y="149987"/>
                </a:moveTo>
                <a:lnTo>
                  <a:pt x="619125" y="155765"/>
                </a:lnTo>
                <a:moveTo>
                  <a:pt x="610730" y="144310"/>
                </a:moveTo>
                <a:lnTo>
                  <a:pt x="622033" y="150101"/>
                </a:lnTo>
                <a:moveTo>
                  <a:pt x="613625" y="138645"/>
                </a:moveTo>
                <a:lnTo>
                  <a:pt x="624928" y="144437"/>
                </a:lnTo>
                <a:moveTo>
                  <a:pt x="616242" y="133184"/>
                </a:moveTo>
                <a:lnTo>
                  <a:pt x="627811" y="138417"/>
                </a:lnTo>
                <a:moveTo>
                  <a:pt x="618858" y="127380"/>
                </a:moveTo>
                <a:lnTo>
                  <a:pt x="630440" y="132613"/>
                </a:lnTo>
                <a:moveTo>
                  <a:pt x="621334" y="121843"/>
                </a:moveTo>
                <a:lnTo>
                  <a:pt x="633158" y="126504"/>
                </a:lnTo>
                <a:moveTo>
                  <a:pt x="623671" y="115925"/>
                </a:moveTo>
                <a:lnTo>
                  <a:pt x="635495" y="120586"/>
                </a:lnTo>
                <a:moveTo>
                  <a:pt x="626008" y="110007"/>
                </a:moveTo>
                <a:lnTo>
                  <a:pt x="637832" y="114655"/>
                </a:lnTo>
                <a:moveTo>
                  <a:pt x="628053" y="104305"/>
                </a:moveTo>
                <a:lnTo>
                  <a:pt x="640092" y="108369"/>
                </a:lnTo>
                <a:moveTo>
                  <a:pt x="630097" y="98272"/>
                </a:moveTo>
                <a:lnTo>
                  <a:pt x="642124" y="102349"/>
                </a:lnTo>
                <a:moveTo>
                  <a:pt x="632015" y="92532"/>
                </a:moveTo>
                <a:lnTo>
                  <a:pt x="644232" y="95999"/>
                </a:lnTo>
                <a:moveTo>
                  <a:pt x="633755" y="86398"/>
                </a:moveTo>
                <a:lnTo>
                  <a:pt x="645960" y="89877"/>
                </a:lnTo>
                <a:moveTo>
                  <a:pt x="635495" y="80276"/>
                </a:moveTo>
                <a:lnTo>
                  <a:pt x="647700" y="83743"/>
                </a:lnTo>
                <a:moveTo>
                  <a:pt x="636955" y="74409"/>
                </a:moveTo>
                <a:lnTo>
                  <a:pt x="649338" y="77266"/>
                </a:lnTo>
                <a:moveTo>
                  <a:pt x="638390" y="68198"/>
                </a:moveTo>
                <a:lnTo>
                  <a:pt x="650760" y="71056"/>
                </a:lnTo>
                <a:moveTo>
                  <a:pt x="639724" y="62306"/>
                </a:moveTo>
                <a:lnTo>
                  <a:pt x="652233" y="64541"/>
                </a:lnTo>
                <a:moveTo>
                  <a:pt x="640841" y="56032"/>
                </a:moveTo>
                <a:lnTo>
                  <a:pt x="653351" y="58267"/>
                </a:lnTo>
                <a:moveTo>
                  <a:pt x="641959" y="49758"/>
                </a:moveTo>
                <a:lnTo>
                  <a:pt x="654469" y="51993"/>
                </a:lnTo>
                <a:moveTo>
                  <a:pt x="642861" y="43789"/>
                </a:moveTo>
                <a:lnTo>
                  <a:pt x="655459" y="45389"/>
                </a:lnTo>
                <a:moveTo>
                  <a:pt x="643661" y="37465"/>
                </a:moveTo>
                <a:lnTo>
                  <a:pt x="656259" y="39065"/>
                </a:lnTo>
                <a:moveTo>
                  <a:pt x="644423" y="31470"/>
                </a:moveTo>
                <a:lnTo>
                  <a:pt x="657085" y="32435"/>
                </a:lnTo>
                <a:moveTo>
                  <a:pt x="644905" y="25120"/>
                </a:moveTo>
                <a:lnTo>
                  <a:pt x="657567" y="26085"/>
                </a:lnTo>
                <a:moveTo>
                  <a:pt x="645388" y="18770"/>
                </a:moveTo>
                <a:lnTo>
                  <a:pt x="658050" y="19735"/>
                </a:lnTo>
                <a:moveTo>
                  <a:pt x="645718" y="12738"/>
                </a:moveTo>
                <a:lnTo>
                  <a:pt x="658418" y="13055"/>
                </a:lnTo>
                <a:moveTo>
                  <a:pt x="645883" y="6362"/>
                </a:moveTo>
                <a:lnTo>
                  <a:pt x="658583" y="6692"/>
                </a:lnTo>
                <a:moveTo>
                  <a:pt x="646048" y="0"/>
                </a:moveTo>
                <a:lnTo>
                  <a:pt x="658736" y="317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65" name="Freeform 800"/>
          <p:cNvSpPr/>
          <p:nvPr/>
        </p:nvSpPr>
        <p:spPr>
          <a:xfrm>
            <a:off x="10970804" y="2580977"/>
            <a:ext cx="1800000" cy="19281"/>
          </a:xfrm>
          <a:custGeom>
            <a:avLst/>
            <a:gdLst/>
            <a:ahLst/>
            <a:cxnLst/>
            <a:rect l="0" t="0" r="0" b="0"/>
            <a:pathLst>
              <a:path w="1185621" h="12700">
                <a:moveTo>
                  <a:pt x="0" y="0"/>
                </a:moveTo>
                <a:lnTo>
                  <a:pt x="0" y="12700"/>
                </a:lnTo>
                <a:moveTo>
                  <a:pt x="6375" y="0"/>
                </a:moveTo>
                <a:lnTo>
                  <a:pt x="6375" y="12700"/>
                </a:lnTo>
                <a:moveTo>
                  <a:pt x="12750" y="0"/>
                </a:moveTo>
                <a:lnTo>
                  <a:pt x="12750" y="12700"/>
                </a:lnTo>
                <a:moveTo>
                  <a:pt x="19126" y="0"/>
                </a:moveTo>
                <a:lnTo>
                  <a:pt x="19126" y="12700"/>
                </a:lnTo>
                <a:moveTo>
                  <a:pt x="25501" y="0"/>
                </a:moveTo>
                <a:lnTo>
                  <a:pt x="25501" y="12700"/>
                </a:lnTo>
                <a:moveTo>
                  <a:pt x="31876" y="0"/>
                </a:moveTo>
                <a:lnTo>
                  <a:pt x="31876" y="12700"/>
                </a:lnTo>
                <a:moveTo>
                  <a:pt x="38239" y="0"/>
                </a:moveTo>
                <a:lnTo>
                  <a:pt x="38239" y="12700"/>
                </a:lnTo>
                <a:moveTo>
                  <a:pt x="44615" y="0"/>
                </a:moveTo>
                <a:lnTo>
                  <a:pt x="44615" y="12700"/>
                </a:lnTo>
                <a:moveTo>
                  <a:pt x="50990" y="0"/>
                </a:moveTo>
                <a:lnTo>
                  <a:pt x="50990" y="12700"/>
                </a:lnTo>
                <a:moveTo>
                  <a:pt x="57365" y="0"/>
                </a:moveTo>
                <a:lnTo>
                  <a:pt x="57365" y="12700"/>
                </a:lnTo>
                <a:moveTo>
                  <a:pt x="63741" y="0"/>
                </a:moveTo>
                <a:lnTo>
                  <a:pt x="63741" y="12700"/>
                </a:lnTo>
                <a:moveTo>
                  <a:pt x="70116" y="0"/>
                </a:moveTo>
                <a:lnTo>
                  <a:pt x="70116" y="12700"/>
                </a:lnTo>
                <a:moveTo>
                  <a:pt x="76492" y="0"/>
                </a:moveTo>
                <a:lnTo>
                  <a:pt x="76492" y="12700"/>
                </a:lnTo>
                <a:moveTo>
                  <a:pt x="82867" y="0"/>
                </a:moveTo>
                <a:lnTo>
                  <a:pt x="82867" y="12700"/>
                </a:lnTo>
                <a:moveTo>
                  <a:pt x="89242" y="0"/>
                </a:moveTo>
                <a:lnTo>
                  <a:pt x="89242" y="12700"/>
                </a:lnTo>
                <a:moveTo>
                  <a:pt x="95618" y="0"/>
                </a:moveTo>
                <a:lnTo>
                  <a:pt x="95618" y="12700"/>
                </a:lnTo>
                <a:moveTo>
                  <a:pt x="101993" y="0"/>
                </a:moveTo>
                <a:lnTo>
                  <a:pt x="101993" y="12700"/>
                </a:lnTo>
                <a:moveTo>
                  <a:pt x="108369" y="0"/>
                </a:moveTo>
                <a:lnTo>
                  <a:pt x="108369" y="12700"/>
                </a:lnTo>
                <a:moveTo>
                  <a:pt x="114731" y="0"/>
                </a:moveTo>
                <a:lnTo>
                  <a:pt x="114731" y="12700"/>
                </a:lnTo>
                <a:moveTo>
                  <a:pt x="121107" y="0"/>
                </a:moveTo>
                <a:lnTo>
                  <a:pt x="121107" y="12700"/>
                </a:lnTo>
                <a:moveTo>
                  <a:pt x="127482" y="0"/>
                </a:moveTo>
                <a:lnTo>
                  <a:pt x="127482" y="12700"/>
                </a:lnTo>
                <a:moveTo>
                  <a:pt x="133857" y="0"/>
                </a:moveTo>
                <a:lnTo>
                  <a:pt x="133857" y="12700"/>
                </a:lnTo>
                <a:moveTo>
                  <a:pt x="140233" y="0"/>
                </a:moveTo>
                <a:lnTo>
                  <a:pt x="140233" y="12700"/>
                </a:lnTo>
                <a:moveTo>
                  <a:pt x="146608" y="0"/>
                </a:moveTo>
                <a:lnTo>
                  <a:pt x="146608" y="12700"/>
                </a:lnTo>
                <a:moveTo>
                  <a:pt x="152984" y="0"/>
                </a:moveTo>
                <a:lnTo>
                  <a:pt x="152984" y="12700"/>
                </a:lnTo>
                <a:moveTo>
                  <a:pt x="159359" y="0"/>
                </a:moveTo>
                <a:lnTo>
                  <a:pt x="159359" y="12700"/>
                </a:lnTo>
                <a:moveTo>
                  <a:pt x="165735" y="0"/>
                </a:moveTo>
                <a:lnTo>
                  <a:pt x="165735" y="12700"/>
                </a:lnTo>
                <a:moveTo>
                  <a:pt x="172110" y="0"/>
                </a:moveTo>
                <a:lnTo>
                  <a:pt x="172110" y="12700"/>
                </a:lnTo>
                <a:moveTo>
                  <a:pt x="178485" y="0"/>
                </a:moveTo>
                <a:lnTo>
                  <a:pt x="178485" y="12700"/>
                </a:lnTo>
                <a:moveTo>
                  <a:pt x="184861" y="0"/>
                </a:moveTo>
                <a:lnTo>
                  <a:pt x="184861" y="12700"/>
                </a:lnTo>
                <a:moveTo>
                  <a:pt x="191223" y="0"/>
                </a:moveTo>
                <a:lnTo>
                  <a:pt x="191223" y="12700"/>
                </a:lnTo>
                <a:moveTo>
                  <a:pt x="197599" y="0"/>
                </a:moveTo>
                <a:lnTo>
                  <a:pt x="197599" y="12700"/>
                </a:lnTo>
                <a:moveTo>
                  <a:pt x="203974" y="0"/>
                </a:moveTo>
                <a:lnTo>
                  <a:pt x="203974" y="12700"/>
                </a:lnTo>
                <a:moveTo>
                  <a:pt x="210350" y="0"/>
                </a:moveTo>
                <a:lnTo>
                  <a:pt x="210350" y="12700"/>
                </a:lnTo>
                <a:moveTo>
                  <a:pt x="216725" y="0"/>
                </a:moveTo>
                <a:lnTo>
                  <a:pt x="216725" y="12700"/>
                </a:lnTo>
                <a:moveTo>
                  <a:pt x="223100" y="0"/>
                </a:moveTo>
                <a:lnTo>
                  <a:pt x="223100" y="12700"/>
                </a:lnTo>
                <a:moveTo>
                  <a:pt x="229476" y="0"/>
                </a:moveTo>
                <a:lnTo>
                  <a:pt x="229476" y="12700"/>
                </a:lnTo>
                <a:moveTo>
                  <a:pt x="235851" y="0"/>
                </a:moveTo>
                <a:lnTo>
                  <a:pt x="235851" y="12700"/>
                </a:lnTo>
                <a:moveTo>
                  <a:pt x="242227" y="0"/>
                </a:moveTo>
                <a:lnTo>
                  <a:pt x="242227" y="12700"/>
                </a:lnTo>
                <a:moveTo>
                  <a:pt x="248602" y="0"/>
                </a:moveTo>
                <a:lnTo>
                  <a:pt x="248602" y="12700"/>
                </a:lnTo>
                <a:moveTo>
                  <a:pt x="254977" y="0"/>
                </a:moveTo>
                <a:lnTo>
                  <a:pt x="254977" y="12700"/>
                </a:lnTo>
                <a:moveTo>
                  <a:pt x="261353" y="0"/>
                </a:moveTo>
                <a:lnTo>
                  <a:pt x="261353" y="12700"/>
                </a:lnTo>
                <a:moveTo>
                  <a:pt x="267715" y="0"/>
                </a:moveTo>
                <a:lnTo>
                  <a:pt x="267715" y="12700"/>
                </a:lnTo>
                <a:moveTo>
                  <a:pt x="274091" y="0"/>
                </a:moveTo>
                <a:lnTo>
                  <a:pt x="274091" y="12700"/>
                </a:lnTo>
                <a:moveTo>
                  <a:pt x="280466" y="0"/>
                </a:moveTo>
                <a:lnTo>
                  <a:pt x="280466" y="12700"/>
                </a:lnTo>
                <a:moveTo>
                  <a:pt x="286842" y="0"/>
                </a:moveTo>
                <a:lnTo>
                  <a:pt x="286842" y="12700"/>
                </a:lnTo>
                <a:moveTo>
                  <a:pt x="293217" y="0"/>
                </a:moveTo>
                <a:lnTo>
                  <a:pt x="293217" y="12700"/>
                </a:lnTo>
                <a:moveTo>
                  <a:pt x="299593" y="0"/>
                </a:moveTo>
                <a:lnTo>
                  <a:pt x="299593" y="12700"/>
                </a:lnTo>
                <a:moveTo>
                  <a:pt x="305968" y="0"/>
                </a:moveTo>
                <a:lnTo>
                  <a:pt x="305968" y="12700"/>
                </a:lnTo>
                <a:moveTo>
                  <a:pt x="312343" y="0"/>
                </a:moveTo>
                <a:lnTo>
                  <a:pt x="312343" y="12700"/>
                </a:lnTo>
                <a:moveTo>
                  <a:pt x="318719" y="0"/>
                </a:moveTo>
                <a:lnTo>
                  <a:pt x="318719" y="12700"/>
                </a:lnTo>
                <a:moveTo>
                  <a:pt x="325094" y="0"/>
                </a:moveTo>
                <a:lnTo>
                  <a:pt x="325094" y="12700"/>
                </a:lnTo>
                <a:moveTo>
                  <a:pt x="331470" y="0"/>
                </a:moveTo>
                <a:lnTo>
                  <a:pt x="331470" y="12700"/>
                </a:lnTo>
                <a:moveTo>
                  <a:pt x="337845" y="0"/>
                </a:moveTo>
                <a:lnTo>
                  <a:pt x="337845" y="12700"/>
                </a:lnTo>
                <a:moveTo>
                  <a:pt x="344208" y="0"/>
                </a:moveTo>
                <a:lnTo>
                  <a:pt x="344208" y="12700"/>
                </a:lnTo>
                <a:moveTo>
                  <a:pt x="350583" y="0"/>
                </a:moveTo>
                <a:lnTo>
                  <a:pt x="350583" y="12700"/>
                </a:lnTo>
                <a:moveTo>
                  <a:pt x="356958" y="0"/>
                </a:moveTo>
                <a:lnTo>
                  <a:pt x="356958" y="12700"/>
                </a:lnTo>
                <a:moveTo>
                  <a:pt x="363334" y="0"/>
                </a:moveTo>
                <a:lnTo>
                  <a:pt x="363334" y="12700"/>
                </a:lnTo>
                <a:moveTo>
                  <a:pt x="369709" y="0"/>
                </a:moveTo>
                <a:lnTo>
                  <a:pt x="369709" y="12700"/>
                </a:lnTo>
                <a:moveTo>
                  <a:pt x="376085" y="0"/>
                </a:moveTo>
                <a:lnTo>
                  <a:pt x="376085" y="12700"/>
                </a:lnTo>
                <a:moveTo>
                  <a:pt x="382460" y="0"/>
                </a:moveTo>
                <a:lnTo>
                  <a:pt x="382460" y="12700"/>
                </a:lnTo>
                <a:moveTo>
                  <a:pt x="388835" y="0"/>
                </a:moveTo>
                <a:lnTo>
                  <a:pt x="388835" y="12700"/>
                </a:lnTo>
                <a:moveTo>
                  <a:pt x="395211" y="0"/>
                </a:moveTo>
                <a:lnTo>
                  <a:pt x="395211" y="12700"/>
                </a:lnTo>
                <a:moveTo>
                  <a:pt x="401586" y="0"/>
                </a:moveTo>
                <a:lnTo>
                  <a:pt x="401586" y="12700"/>
                </a:lnTo>
                <a:moveTo>
                  <a:pt x="407962" y="0"/>
                </a:moveTo>
                <a:lnTo>
                  <a:pt x="407962" y="12700"/>
                </a:lnTo>
                <a:moveTo>
                  <a:pt x="414337" y="0"/>
                </a:moveTo>
                <a:lnTo>
                  <a:pt x="414337" y="12700"/>
                </a:lnTo>
                <a:moveTo>
                  <a:pt x="420700" y="0"/>
                </a:moveTo>
                <a:lnTo>
                  <a:pt x="420700" y="12700"/>
                </a:lnTo>
                <a:moveTo>
                  <a:pt x="427075" y="0"/>
                </a:moveTo>
                <a:lnTo>
                  <a:pt x="427075" y="12700"/>
                </a:lnTo>
                <a:moveTo>
                  <a:pt x="433451" y="0"/>
                </a:moveTo>
                <a:lnTo>
                  <a:pt x="433451" y="12700"/>
                </a:lnTo>
                <a:moveTo>
                  <a:pt x="439826" y="0"/>
                </a:moveTo>
                <a:lnTo>
                  <a:pt x="439826" y="12700"/>
                </a:lnTo>
                <a:moveTo>
                  <a:pt x="446201" y="0"/>
                </a:moveTo>
                <a:lnTo>
                  <a:pt x="446201" y="12700"/>
                </a:lnTo>
                <a:moveTo>
                  <a:pt x="452577" y="0"/>
                </a:moveTo>
                <a:lnTo>
                  <a:pt x="452577" y="12700"/>
                </a:lnTo>
                <a:moveTo>
                  <a:pt x="458952" y="0"/>
                </a:moveTo>
                <a:lnTo>
                  <a:pt x="458952" y="12700"/>
                </a:lnTo>
                <a:moveTo>
                  <a:pt x="465327" y="0"/>
                </a:moveTo>
                <a:lnTo>
                  <a:pt x="465327" y="12700"/>
                </a:lnTo>
                <a:moveTo>
                  <a:pt x="471703" y="0"/>
                </a:moveTo>
                <a:lnTo>
                  <a:pt x="471703" y="12700"/>
                </a:lnTo>
                <a:moveTo>
                  <a:pt x="478078" y="0"/>
                </a:moveTo>
                <a:lnTo>
                  <a:pt x="478078" y="12700"/>
                </a:lnTo>
                <a:moveTo>
                  <a:pt x="484454" y="0"/>
                </a:moveTo>
                <a:lnTo>
                  <a:pt x="484454" y="12700"/>
                </a:lnTo>
                <a:moveTo>
                  <a:pt x="490816" y="0"/>
                </a:moveTo>
                <a:lnTo>
                  <a:pt x="490816" y="12700"/>
                </a:lnTo>
                <a:moveTo>
                  <a:pt x="497192" y="0"/>
                </a:moveTo>
                <a:lnTo>
                  <a:pt x="497192" y="12700"/>
                </a:lnTo>
                <a:moveTo>
                  <a:pt x="503567" y="0"/>
                </a:moveTo>
                <a:lnTo>
                  <a:pt x="503567" y="12700"/>
                </a:lnTo>
                <a:moveTo>
                  <a:pt x="509943" y="0"/>
                </a:moveTo>
                <a:lnTo>
                  <a:pt x="509943" y="12700"/>
                </a:lnTo>
                <a:moveTo>
                  <a:pt x="516318" y="0"/>
                </a:moveTo>
                <a:lnTo>
                  <a:pt x="516318" y="12700"/>
                </a:lnTo>
                <a:moveTo>
                  <a:pt x="522693" y="0"/>
                </a:moveTo>
                <a:lnTo>
                  <a:pt x="522693" y="12700"/>
                </a:lnTo>
                <a:moveTo>
                  <a:pt x="529069" y="0"/>
                </a:moveTo>
                <a:lnTo>
                  <a:pt x="529069" y="12700"/>
                </a:lnTo>
                <a:moveTo>
                  <a:pt x="535444" y="0"/>
                </a:moveTo>
                <a:lnTo>
                  <a:pt x="535444" y="12700"/>
                </a:lnTo>
                <a:moveTo>
                  <a:pt x="541820" y="0"/>
                </a:moveTo>
                <a:lnTo>
                  <a:pt x="541820" y="12700"/>
                </a:lnTo>
                <a:moveTo>
                  <a:pt x="548195" y="0"/>
                </a:moveTo>
                <a:lnTo>
                  <a:pt x="548195" y="12700"/>
                </a:lnTo>
                <a:moveTo>
                  <a:pt x="554570" y="0"/>
                </a:moveTo>
                <a:lnTo>
                  <a:pt x="554570" y="12700"/>
                </a:lnTo>
                <a:moveTo>
                  <a:pt x="560946" y="0"/>
                </a:moveTo>
                <a:lnTo>
                  <a:pt x="560946" y="12700"/>
                </a:lnTo>
                <a:moveTo>
                  <a:pt x="567308" y="0"/>
                </a:moveTo>
                <a:lnTo>
                  <a:pt x="567308" y="12700"/>
                </a:lnTo>
                <a:moveTo>
                  <a:pt x="573684" y="0"/>
                </a:moveTo>
                <a:lnTo>
                  <a:pt x="573684" y="12700"/>
                </a:lnTo>
                <a:moveTo>
                  <a:pt x="580059" y="0"/>
                </a:moveTo>
                <a:lnTo>
                  <a:pt x="580059" y="12700"/>
                </a:lnTo>
                <a:moveTo>
                  <a:pt x="586435" y="0"/>
                </a:moveTo>
                <a:lnTo>
                  <a:pt x="586435" y="12700"/>
                </a:lnTo>
                <a:moveTo>
                  <a:pt x="592810" y="0"/>
                </a:moveTo>
                <a:lnTo>
                  <a:pt x="592810" y="12700"/>
                </a:lnTo>
                <a:moveTo>
                  <a:pt x="599186" y="0"/>
                </a:moveTo>
                <a:lnTo>
                  <a:pt x="599186" y="12700"/>
                </a:lnTo>
                <a:moveTo>
                  <a:pt x="605561" y="0"/>
                </a:moveTo>
                <a:lnTo>
                  <a:pt x="605561" y="12700"/>
                </a:lnTo>
                <a:moveTo>
                  <a:pt x="611936" y="0"/>
                </a:moveTo>
                <a:lnTo>
                  <a:pt x="611936" y="12700"/>
                </a:lnTo>
                <a:moveTo>
                  <a:pt x="618312" y="0"/>
                </a:moveTo>
                <a:lnTo>
                  <a:pt x="618312" y="12700"/>
                </a:lnTo>
                <a:moveTo>
                  <a:pt x="624687" y="0"/>
                </a:moveTo>
                <a:lnTo>
                  <a:pt x="624687" y="12700"/>
                </a:lnTo>
                <a:moveTo>
                  <a:pt x="631062" y="0"/>
                </a:moveTo>
                <a:lnTo>
                  <a:pt x="631062" y="12700"/>
                </a:lnTo>
                <a:moveTo>
                  <a:pt x="637438" y="0"/>
                </a:moveTo>
                <a:lnTo>
                  <a:pt x="637438" y="12700"/>
                </a:lnTo>
                <a:moveTo>
                  <a:pt x="643801" y="0"/>
                </a:moveTo>
                <a:lnTo>
                  <a:pt x="643801" y="12700"/>
                </a:lnTo>
                <a:moveTo>
                  <a:pt x="650176" y="0"/>
                </a:moveTo>
                <a:lnTo>
                  <a:pt x="650176" y="12700"/>
                </a:lnTo>
                <a:moveTo>
                  <a:pt x="656551" y="0"/>
                </a:moveTo>
                <a:lnTo>
                  <a:pt x="656551" y="12700"/>
                </a:lnTo>
                <a:moveTo>
                  <a:pt x="662927" y="0"/>
                </a:moveTo>
                <a:lnTo>
                  <a:pt x="662927" y="12700"/>
                </a:lnTo>
                <a:moveTo>
                  <a:pt x="669302" y="0"/>
                </a:moveTo>
                <a:lnTo>
                  <a:pt x="669302" y="12700"/>
                </a:lnTo>
                <a:moveTo>
                  <a:pt x="675678" y="0"/>
                </a:moveTo>
                <a:lnTo>
                  <a:pt x="675678" y="12700"/>
                </a:lnTo>
                <a:moveTo>
                  <a:pt x="682053" y="0"/>
                </a:moveTo>
                <a:lnTo>
                  <a:pt x="682053" y="12700"/>
                </a:lnTo>
                <a:moveTo>
                  <a:pt x="688428" y="0"/>
                </a:moveTo>
                <a:lnTo>
                  <a:pt x="688428" y="12700"/>
                </a:lnTo>
                <a:moveTo>
                  <a:pt x="694804" y="0"/>
                </a:moveTo>
                <a:lnTo>
                  <a:pt x="694804" y="12700"/>
                </a:lnTo>
                <a:moveTo>
                  <a:pt x="701179" y="0"/>
                </a:moveTo>
                <a:lnTo>
                  <a:pt x="701179" y="12700"/>
                </a:lnTo>
                <a:moveTo>
                  <a:pt x="707555" y="0"/>
                </a:moveTo>
                <a:lnTo>
                  <a:pt x="707555" y="12700"/>
                </a:lnTo>
                <a:moveTo>
                  <a:pt x="713930" y="0"/>
                </a:moveTo>
                <a:lnTo>
                  <a:pt x="713930" y="12700"/>
                </a:lnTo>
                <a:moveTo>
                  <a:pt x="720293" y="0"/>
                </a:moveTo>
                <a:lnTo>
                  <a:pt x="720293" y="12700"/>
                </a:lnTo>
                <a:moveTo>
                  <a:pt x="726668" y="0"/>
                </a:moveTo>
                <a:lnTo>
                  <a:pt x="726668" y="12700"/>
                </a:lnTo>
                <a:moveTo>
                  <a:pt x="733044" y="0"/>
                </a:moveTo>
                <a:lnTo>
                  <a:pt x="733044" y="12700"/>
                </a:lnTo>
                <a:moveTo>
                  <a:pt x="739419" y="0"/>
                </a:moveTo>
                <a:lnTo>
                  <a:pt x="739419" y="12700"/>
                </a:lnTo>
                <a:moveTo>
                  <a:pt x="745794" y="0"/>
                </a:moveTo>
                <a:lnTo>
                  <a:pt x="745794" y="12700"/>
                </a:lnTo>
                <a:moveTo>
                  <a:pt x="752170" y="0"/>
                </a:moveTo>
                <a:lnTo>
                  <a:pt x="752170" y="12700"/>
                </a:lnTo>
                <a:moveTo>
                  <a:pt x="758545" y="0"/>
                </a:moveTo>
                <a:lnTo>
                  <a:pt x="758545" y="12700"/>
                </a:lnTo>
                <a:moveTo>
                  <a:pt x="764920" y="0"/>
                </a:moveTo>
                <a:lnTo>
                  <a:pt x="764920" y="12700"/>
                </a:lnTo>
                <a:moveTo>
                  <a:pt x="771296" y="0"/>
                </a:moveTo>
                <a:lnTo>
                  <a:pt x="771296" y="12700"/>
                </a:lnTo>
                <a:moveTo>
                  <a:pt x="777671" y="0"/>
                </a:moveTo>
                <a:lnTo>
                  <a:pt x="777671" y="12700"/>
                </a:lnTo>
                <a:moveTo>
                  <a:pt x="784047" y="0"/>
                </a:moveTo>
                <a:lnTo>
                  <a:pt x="784047" y="12700"/>
                </a:lnTo>
                <a:moveTo>
                  <a:pt x="790422" y="0"/>
                </a:moveTo>
                <a:lnTo>
                  <a:pt x="790422" y="12700"/>
                </a:lnTo>
                <a:moveTo>
                  <a:pt x="796785" y="0"/>
                </a:moveTo>
                <a:lnTo>
                  <a:pt x="796785" y="12700"/>
                </a:lnTo>
                <a:moveTo>
                  <a:pt x="803160" y="0"/>
                </a:moveTo>
                <a:lnTo>
                  <a:pt x="803160" y="12700"/>
                </a:lnTo>
                <a:moveTo>
                  <a:pt x="809536" y="0"/>
                </a:moveTo>
                <a:lnTo>
                  <a:pt x="809536" y="12700"/>
                </a:lnTo>
                <a:moveTo>
                  <a:pt x="815911" y="0"/>
                </a:moveTo>
                <a:lnTo>
                  <a:pt x="815911" y="12700"/>
                </a:lnTo>
                <a:moveTo>
                  <a:pt x="822286" y="0"/>
                </a:moveTo>
                <a:lnTo>
                  <a:pt x="822286" y="12700"/>
                </a:lnTo>
                <a:moveTo>
                  <a:pt x="828662" y="0"/>
                </a:moveTo>
                <a:lnTo>
                  <a:pt x="828662" y="12700"/>
                </a:lnTo>
                <a:moveTo>
                  <a:pt x="835037" y="0"/>
                </a:moveTo>
                <a:lnTo>
                  <a:pt x="835037" y="12700"/>
                </a:lnTo>
                <a:moveTo>
                  <a:pt x="841413" y="0"/>
                </a:moveTo>
                <a:lnTo>
                  <a:pt x="841413" y="12700"/>
                </a:lnTo>
                <a:moveTo>
                  <a:pt x="847788" y="0"/>
                </a:moveTo>
                <a:lnTo>
                  <a:pt x="847788" y="12700"/>
                </a:lnTo>
                <a:moveTo>
                  <a:pt x="854163" y="0"/>
                </a:moveTo>
                <a:lnTo>
                  <a:pt x="854163" y="12700"/>
                </a:lnTo>
                <a:moveTo>
                  <a:pt x="860539" y="0"/>
                </a:moveTo>
                <a:lnTo>
                  <a:pt x="860539" y="12700"/>
                </a:lnTo>
                <a:moveTo>
                  <a:pt x="866914" y="0"/>
                </a:moveTo>
                <a:lnTo>
                  <a:pt x="866914" y="12700"/>
                </a:lnTo>
                <a:moveTo>
                  <a:pt x="873277" y="0"/>
                </a:moveTo>
                <a:lnTo>
                  <a:pt x="873277" y="12700"/>
                </a:lnTo>
                <a:moveTo>
                  <a:pt x="879652" y="0"/>
                </a:moveTo>
                <a:lnTo>
                  <a:pt x="879652" y="12700"/>
                </a:lnTo>
                <a:moveTo>
                  <a:pt x="886028" y="0"/>
                </a:moveTo>
                <a:lnTo>
                  <a:pt x="886028" y="12700"/>
                </a:lnTo>
                <a:moveTo>
                  <a:pt x="892403" y="0"/>
                </a:moveTo>
                <a:lnTo>
                  <a:pt x="892403" y="12700"/>
                </a:lnTo>
                <a:moveTo>
                  <a:pt x="898778" y="0"/>
                </a:moveTo>
                <a:lnTo>
                  <a:pt x="898778" y="12700"/>
                </a:lnTo>
                <a:moveTo>
                  <a:pt x="905154" y="0"/>
                </a:moveTo>
                <a:lnTo>
                  <a:pt x="905154" y="12700"/>
                </a:lnTo>
                <a:moveTo>
                  <a:pt x="911529" y="0"/>
                </a:moveTo>
                <a:lnTo>
                  <a:pt x="911529" y="12700"/>
                </a:lnTo>
                <a:moveTo>
                  <a:pt x="917905" y="0"/>
                </a:moveTo>
                <a:lnTo>
                  <a:pt x="917905" y="12700"/>
                </a:lnTo>
                <a:moveTo>
                  <a:pt x="924280" y="0"/>
                </a:moveTo>
                <a:lnTo>
                  <a:pt x="924280" y="12700"/>
                </a:lnTo>
                <a:moveTo>
                  <a:pt x="930655" y="0"/>
                </a:moveTo>
                <a:lnTo>
                  <a:pt x="930655" y="12700"/>
                </a:lnTo>
                <a:moveTo>
                  <a:pt x="937031" y="0"/>
                </a:moveTo>
                <a:lnTo>
                  <a:pt x="937031" y="12700"/>
                </a:lnTo>
                <a:moveTo>
                  <a:pt x="943406" y="0"/>
                </a:moveTo>
                <a:lnTo>
                  <a:pt x="943406" y="12700"/>
                </a:lnTo>
                <a:moveTo>
                  <a:pt x="949769" y="0"/>
                </a:moveTo>
                <a:lnTo>
                  <a:pt x="949769" y="12700"/>
                </a:lnTo>
                <a:moveTo>
                  <a:pt x="956144" y="0"/>
                </a:moveTo>
                <a:lnTo>
                  <a:pt x="956144" y="12700"/>
                </a:lnTo>
                <a:moveTo>
                  <a:pt x="962520" y="0"/>
                </a:moveTo>
                <a:lnTo>
                  <a:pt x="962520" y="12700"/>
                </a:lnTo>
                <a:moveTo>
                  <a:pt x="968895" y="0"/>
                </a:moveTo>
                <a:lnTo>
                  <a:pt x="968895" y="12700"/>
                </a:lnTo>
                <a:moveTo>
                  <a:pt x="975271" y="0"/>
                </a:moveTo>
                <a:lnTo>
                  <a:pt x="975271" y="12700"/>
                </a:lnTo>
                <a:moveTo>
                  <a:pt x="981646" y="0"/>
                </a:moveTo>
                <a:lnTo>
                  <a:pt x="981646" y="12700"/>
                </a:lnTo>
                <a:moveTo>
                  <a:pt x="988021" y="0"/>
                </a:moveTo>
                <a:lnTo>
                  <a:pt x="988021" y="12700"/>
                </a:lnTo>
                <a:moveTo>
                  <a:pt x="994397" y="0"/>
                </a:moveTo>
                <a:lnTo>
                  <a:pt x="994397" y="12700"/>
                </a:lnTo>
                <a:moveTo>
                  <a:pt x="1000772" y="0"/>
                </a:moveTo>
                <a:lnTo>
                  <a:pt x="1000772" y="12700"/>
                </a:lnTo>
                <a:moveTo>
                  <a:pt x="1007148" y="0"/>
                </a:moveTo>
                <a:lnTo>
                  <a:pt x="1007148" y="12700"/>
                </a:lnTo>
                <a:moveTo>
                  <a:pt x="1013523" y="0"/>
                </a:moveTo>
                <a:lnTo>
                  <a:pt x="1013523" y="12700"/>
                </a:lnTo>
                <a:moveTo>
                  <a:pt x="1019886" y="0"/>
                </a:moveTo>
                <a:lnTo>
                  <a:pt x="1019886" y="12700"/>
                </a:lnTo>
                <a:moveTo>
                  <a:pt x="1026261" y="0"/>
                </a:moveTo>
                <a:lnTo>
                  <a:pt x="1026261" y="12700"/>
                </a:lnTo>
                <a:moveTo>
                  <a:pt x="1032636" y="0"/>
                </a:moveTo>
                <a:lnTo>
                  <a:pt x="1032636" y="12700"/>
                </a:lnTo>
                <a:moveTo>
                  <a:pt x="1039012" y="0"/>
                </a:moveTo>
                <a:lnTo>
                  <a:pt x="1039012" y="12700"/>
                </a:lnTo>
                <a:moveTo>
                  <a:pt x="1045387" y="0"/>
                </a:moveTo>
                <a:lnTo>
                  <a:pt x="1045387" y="12700"/>
                </a:lnTo>
                <a:moveTo>
                  <a:pt x="1051763" y="0"/>
                </a:moveTo>
                <a:lnTo>
                  <a:pt x="1051763" y="12700"/>
                </a:lnTo>
                <a:moveTo>
                  <a:pt x="1058138" y="0"/>
                </a:moveTo>
                <a:lnTo>
                  <a:pt x="1058138" y="12700"/>
                </a:lnTo>
                <a:moveTo>
                  <a:pt x="1064513" y="0"/>
                </a:moveTo>
                <a:lnTo>
                  <a:pt x="1064513" y="12700"/>
                </a:lnTo>
                <a:moveTo>
                  <a:pt x="1070889" y="0"/>
                </a:moveTo>
                <a:lnTo>
                  <a:pt x="1070889" y="12700"/>
                </a:lnTo>
                <a:moveTo>
                  <a:pt x="1077264" y="0"/>
                </a:moveTo>
                <a:lnTo>
                  <a:pt x="1077264" y="12700"/>
                </a:lnTo>
                <a:moveTo>
                  <a:pt x="1083640" y="0"/>
                </a:moveTo>
                <a:lnTo>
                  <a:pt x="1083640" y="12700"/>
                </a:lnTo>
                <a:moveTo>
                  <a:pt x="1090015" y="0"/>
                </a:moveTo>
                <a:lnTo>
                  <a:pt x="1090015" y="12700"/>
                </a:lnTo>
                <a:moveTo>
                  <a:pt x="1096378" y="0"/>
                </a:moveTo>
                <a:lnTo>
                  <a:pt x="1096378" y="12700"/>
                </a:lnTo>
                <a:moveTo>
                  <a:pt x="1102753" y="0"/>
                </a:moveTo>
                <a:lnTo>
                  <a:pt x="1102753" y="12700"/>
                </a:lnTo>
                <a:moveTo>
                  <a:pt x="1109129" y="0"/>
                </a:moveTo>
                <a:lnTo>
                  <a:pt x="1109129" y="12700"/>
                </a:lnTo>
                <a:moveTo>
                  <a:pt x="1115504" y="0"/>
                </a:moveTo>
                <a:lnTo>
                  <a:pt x="1115504" y="12700"/>
                </a:lnTo>
                <a:moveTo>
                  <a:pt x="1121879" y="0"/>
                </a:moveTo>
                <a:lnTo>
                  <a:pt x="1121879" y="12700"/>
                </a:lnTo>
                <a:moveTo>
                  <a:pt x="1128255" y="0"/>
                </a:moveTo>
                <a:lnTo>
                  <a:pt x="1128255" y="12700"/>
                </a:lnTo>
                <a:moveTo>
                  <a:pt x="1134630" y="0"/>
                </a:moveTo>
                <a:lnTo>
                  <a:pt x="1134630" y="12700"/>
                </a:lnTo>
                <a:moveTo>
                  <a:pt x="1141006" y="0"/>
                </a:moveTo>
                <a:lnTo>
                  <a:pt x="1141006" y="12700"/>
                </a:lnTo>
                <a:moveTo>
                  <a:pt x="1147381" y="0"/>
                </a:moveTo>
                <a:lnTo>
                  <a:pt x="1147381" y="12700"/>
                </a:lnTo>
                <a:moveTo>
                  <a:pt x="1153756" y="0"/>
                </a:moveTo>
                <a:lnTo>
                  <a:pt x="1153756" y="12700"/>
                </a:lnTo>
                <a:moveTo>
                  <a:pt x="1160132" y="0"/>
                </a:moveTo>
                <a:lnTo>
                  <a:pt x="1160132" y="12700"/>
                </a:lnTo>
                <a:moveTo>
                  <a:pt x="1166507" y="0"/>
                </a:moveTo>
                <a:lnTo>
                  <a:pt x="1166507" y="12700"/>
                </a:lnTo>
                <a:moveTo>
                  <a:pt x="1172870" y="0"/>
                </a:moveTo>
                <a:lnTo>
                  <a:pt x="1172870" y="12700"/>
                </a:lnTo>
                <a:moveTo>
                  <a:pt x="1179245" y="0"/>
                </a:moveTo>
                <a:lnTo>
                  <a:pt x="1179245" y="12700"/>
                </a:lnTo>
                <a:moveTo>
                  <a:pt x="1185621" y="0"/>
                </a:moveTo>
                <a:lnTo>
                  <a:pt x="1185621" y="12700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10970256" y="2790442"/>
            <a:ext cx="1800548" cy="307622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spcAft>
                <a:spcPts val="300"/>
              </a:spcAft>
              <a:buClr>
                <a:srgbClr val="FFE600"/>
              </a:buClr>
              <a:buSzPct val="125000"/>
            </a:pPr>
            <a:r>
              <a:rPr lang="tr-TR" sz="1400" b="1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B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H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b="1" spc="-2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le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b="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algn="l">
              <a:spcAft>
                <a:spcPts val="300"/>
              </a:spcAft>
              <a:buClr>
                <a:srgbClr val="FFE600"/>
              </a:buClr>
              <a:buSzPct val="125000"/>
            </a:pPr>
            <a:endParaRPr lang="tr-TR" sz="1400" b="1" dirty="0" smtClean="0">
              <a:solidFill>
                <a:srgbClr val="1A1A1A"/>
              </a:solidFill>
              <a:latin typeface="EYInterstate Light" panose="02000506000000020004" pitchFamily="2" charset="0"/>
            </a:endParaRP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4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u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la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F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ü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 </a:t>
            </a:r>
            <a:r>
              <a:rPr lang="tr-TR" sz="1400" spc="-3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d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22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c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3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g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ı 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3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k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b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2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32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 </a:t>
            </a: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,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b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, 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D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4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i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7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3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z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7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-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s</a:t>
            </a:r>
            <a:r>
              <a:rPr lang="tr-TR" sz="1400" spc="-3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ş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0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(</a:t>
            </a:r>
            <a:r>
              <a:rPr lang="tr-TR" sz="1400" spc="-24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b</a:t>
            </a:r>
            <a:r>
              <a:rPr lang="tr-TR" sz="1400" spc="-17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36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c</a:t>
            </a:r>
            <a:r>
              <a:rPr lang="tr-TR" sz="1400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h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8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40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8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33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c</a:t>
            </a:r>
            <a:r>
              <a:rPr lang="tr-TR" sz="1400" spc="-26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es</a:t>
            </a:r>
            <a:r>
              <a:rPr lang="tr-TR" sz="1400" spc="-17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sin</a:t>
            </a:r>
            <a:r>
              <a:rPr lang="tr-TR" sz="1400" spc="-18" dirty="0" err="1" smtClean="0">
                <a:solidFill>
                  <a:srgbClr val="1A1A1A"/>
                </a:solidFill>
                <a:latin typeface="EYInterstate Light" panose="02000506000000020004" pitchFamily="2" charset="0"/>
              </a:rPr>
              <a:t>g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)</a:t>
            </a:r>
            <a:endParaRPr lang="tr-TR" sz="1400" dirty="0">
              <a:solidFill>
                <a:srgbClr val="1A1A1A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7267887" y="2806387"/>
            <a:ext cx="1800548" cy="257609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algn="l">
              <a:spcAft>
                <a:spcPts val="300"/>
              </a:spcAft>
            </a:pP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İ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H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z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b="1" spc="-2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l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b="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0" algn="l">
              <a:spcAft>
                <a:spcPts val="300"/>
              </a:spcAft>
            </a:pPr>
            <a:endParaRPr lang="tr-TR" sz="1400" b="1" dirty="0" smtClean="0">
              <a:solidFill>
                <a:srgbClr val="1A1A1A"/>
              </a:solidFill>
              <a:latin typeface="EYInterstate Light" panose="02000506000000020004" pitchFamily="2" charset="0"/>
            </a:endParaRP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B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42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d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iş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0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h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i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ç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32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g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lnSpc>
                <a:spcPts val="1453"/>
              </a:lnSpc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3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an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d</a:t>
            </a:r>
            <a:r>
              <a:rPr lang="tr-TR" sz="1400" spc="-3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43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ı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ı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lnSpc>
                <a:spcPts val="1453"/>
              </a:lnSpc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İ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ı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ü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c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lnSpc>
                <a:spcPts val="1453"/>
              </a:lnSpc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ğ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i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e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</a:p>
          <a:p>
            <a:pPr marL="171450" indent="-171450" algn="l">
              <a:lnSpc>
                <a:spcPts val="1453"/>
              </a:lnSpc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3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2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3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i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ki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 </a:t>
            </a:r>
            <a:r>
              <a:rPr lang="tr-TR" sz="1400" spc="-4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endParaRPr lang="tr-TR" sz="1400" b="1" dirty="0">
              <a:solidFill>
                <a:srgbClr val="1A1A1A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9116637" y="2792936"/>
            <a:ext cx="1800548" cy="188359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algn="l">
              <a:spcAft>
                <a:spcPts val="300"/>
              </a:spcAft>
            </a:pPr>
            <a:r>
              <a:rPr lang="tr-TR" sz="1400" b="1" spc="-12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d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r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Z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n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cir</a:t>
            </a:r>
            <a:r>
              <a:rPr lang="tr-TR" sz="1400" b="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0" algn="l">
              <a:spcAft>
                <a:spcPts val="300"/>
              </a:spcAft>
            </a:pPr>
            <a:endParaRPr lang="tr-TR" sz="1400" b="1" dirty="0" smtClean="0">
              <a:solidFill>
                <a:srgbClr val="1A1A1A"/>
              </a:solidFill>
              <a:latin typeface="EYInterstate Light" panose="02000506000000020004" pitchFamily="2" charset="0"/>
            </a:endParaRP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İ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ş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13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l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 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p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s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ı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Fi</a:t>
            </a:r>
            <a:r>
              <a:rPr lang="tr-TR" sz="1400" spc="-4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, </a:t>
            </a:r>
            <a:r>
              <a:rPr lang="tr-TR" sz="1400" spc="-4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f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2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u</a:t>
            </a:r>
            <a:r>
              <a:rPr lang="tr-TR" sz="1400" spc="-49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 </a:t>
            </a:r>
            <a:r>
              <a:rPr lang="tr-TR" sz="1400" spc="-34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 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3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z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eş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ö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</a:t>
            </a:r>
            <a:r>
              <a:rPr lang="tr-TR" sz="1400" spc="-25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İ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a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d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 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ü</a:t>
            </a:r>
            <a:r>
              <a:rPr lang="tr-TR" sz="1400" spc="-4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r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c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2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L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o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j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</a:t>
            </a:r>
            <a:r>
              <a:rPr lang="tr-TR" sz="1400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</a:t>
            </a:r>
            <a:r>
              <a:rPr lang="tr-TR" sz="1400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</a:t>
            </a:r>
            <a:endParaRPr lang="tr-TR" sz="1400" b="1" dirty="0">
              <a:solidFill>
                <a:srgbClr val="1A1A1A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9" name="Freeform 809"/>
          <p:cNvSpPr/>
          <p:nvPr/>
        </p:nvSpPr>
        <p:spPr>
          <a:xfrm>
            <a:off x="5884406" y="1584887"/>
            <a:ext cx="860821" cy="860821"/>
          </a:xfrm>
          <a:custGeom>
            <a:avLst/>
            <a:gdLst/>
            <a:ahLst/>
            <a:cxnLst/>
            <a:rect l="0" t="0" r="0" b="0"/>
            <a:pathLst>
              <a:path w="567004" h="567004">
                <a:moveTo>
                  <a:pt x="283502" y="567004"/>
                </a:moveTo>
                <a:cubicBezTo>
                  <a:pt x="440080" y="567004"/>
                  <a:pt x="567004" y="440081"/>
                  <a:pt x="567004" y="283502"/>
                </a:cubicBezTo>
                <a:cubicBezTo>
                  <a:pt x="567004" y="126937"/>
                  <a:pt x="440080" y="0"/>
                  <a:pt x="283502" y="0"/>
                </a:cubicBezTo>
                <a:cubicBezTo>
                  <a:pt x="126924" y="0"/>
                  <a:pt x="0" y="126937"/>
                  <a:pt x="0" y="283502"/>
                </a:cubicBezTo>
                <a:cubicBezTo>
                  <a:pt x="0" y="440081"/>
                  <a:pt x="126924" y="567004"/>
                  <a:pt x="283502" y="567004"/>
                </a:cubicBezTo>
              </a:path>
            </a:pathLst>
          </a:custGeom>
          <a:solidFill>
            <a:srgbClr val="FFD427">
              <a:alpha val="100000"/>
            </a:srgbClr>
          </a:solidFill>
          <a:ln w="237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70" name="Freeform 810"/>
          <p:cNvSpPr/>
          <p:nvPr/>
        </p:nvSpPr>
        <p:spPr>
          <a:xfrm>
            <a:off x="5814767" y="2016847"/>
            <a:ext cx="1000088" cy="498415"/>
          </a:xfrm>
          <a:custGeom>
            <a:avLst/>
            <a:gdLst/>
            <a:ahLst/>
            <a:cxnLst/>
            <a:rect l="0" t="0" r="0" b="0"/>
            <a:pathLst>
              <a:path w="658736" h="328295">
                <a:moveTo>
                  <a:pt x="12700" y="0"/>
                </a:moveTo>
                <a:lnTo>
                  <a:pt x="0" y="317"/>
                </a:lnTo>
                <a:moveTo>
                  <a:pt x="12865" y="6362"/>
                </a:moveTo>
                <a:lnTo>
                  <a:pt x="166" y="6692"/>
                </a:lnTo>
                <a:moveTo>
                  <a:pt x="13017" y="12738"/>
                </a:moveTo>
                <a:lnTo>
                  <a:pt x="331" y="13055"/>
                </a:lnTo>
                <a:moveTo>
                  <a:pt x="13347" y="18770"/>
                </a:moveTo>
                <a:lnTo>
                  <a:pt x="686" y="19735"/>
                </a:lnTo>
                <a:moveTo>
                  <a:pt x="13830" y="25120"/>
                </a:moveTo>
                <a:lnTo>
                  <a:pt x="1169" y="26085"/>
                </a:lnTo>
                <a:moveTo>
                  <a:pt x="14312" y="31470"/>
                </a:moveTo>
                <a:lnTo>
                  <a:pt x="1651" y="32435"/>
                </a:lnTo>
                <a:moveTo>
                  <a:pt x="15087" y="37465"/>
                </a:moveTo>
                <a:lnTo>
                  <a:pt x="2490" y="39065"/>
                </a:lnTo>
                <a:moveTo>
                  <a:pt x="15887" y="43789"/>
                </a:moveTo>
                <a:lnTo>
                  <a:pt x="3290" y="45389"/>
                </a:lnTo>
                <a:moveTo>
                  <a:pt x="16776" y="49758"/>
                </a:moveTo>
                <a:lnTo>
                  <a:pt x="4280" y="51993"/>
                </a:lnTo>
                <a:moveTo>
                  <a:pt x="17894" y="56032"/>
                </a:moveTo>
                <a:lnTo>
                  <a:pt x="5398" y="58267"/>
                </a:lnTo>
                <a:moveTo>
                  <a:pt x="19024" y="62306"/>
                </a:moveTo>
                <a:lnTo>
                  <a:pt x="6516" y="64541"/>
                </a:lnTo>
                <a:moveTo>
                  <a:pt x="20358" y="68198"/>
                </a:moveTo>
                <a:lnTo>
                  <a:pt x="7976" y="71056"/>
                </a:lnTo>
                <a:moveTo>
                  <a:pt x="21780" y="74409"/>
                </a:moveTo>
                <a:lnTo>
                  <a:pt x="9411" y="77266"/>
                </a:lnTo>
                <a:moveTo>
                  <a:pt x="23253" y="80276"/>
                </a:moveTo>
                <a:lnTo>
                  <a:pt x="11037" y="83743"/>
                </a:lnTo>
                <a:moveTo>
                  <a:pt x="24993" y="86398"/>
                </a:moveTo>
                <a:lnTo>
                  <a:pt x="12776" y="89877"/>
                </a:lnTo>
                <a:moveTo>
                  <a:pt x="26733" y="92532"/>
                </a:moveTo>
                <a:lnTo>
                  <a:pt x="14516" y="95999"/>
                </a:lnTo>
                <a:moveTo>
                  <a:pt x="28638" y="98272"/>
                </a:moveTo>
                <a:lnTo>
                  <a:pt x="16611" y="102349"/>
                </a:lnTo>
                <a:moveTo>
                  <a:pt x="30683" y="104305"/>
                </a:moveTo>
                <a:lnTo>
                  <a:pt x="18656" y="108369"/>
                </a:lnTo>
                <a:moveTo>
                  <a:pt x="32727" y="110007"/>
                </a:moveTo>
                <a:lnTo>
                  <a:pt x="20916" y="114655"/>
                </a:lnTo>
                <a:moveTo>
                  <a:pt x="35064" y="115925"/>
                </a:moveTo>
                <a:lnTo>
                  <a:pt x="23253" y="120586"/>
                </a:lnTo>
                <a:moveTo>
                  <a:pt x="37401" y="121843"/>
                </a:moveTo>
                <a:lnTo>
                  <a:pt x="25590" y="126504"/>
                </a:lnTo>
                <a:moveTo>
                  <a:pt x="39878" y="127380"/>
                </a:moveTo>
                <a:lnTo>
                  <a:pt x="28308" y="132613"/>
                </a:lnTo>
                <a:moveTo>
                  <a:pt x="42506" y="133184"/>
                </a:moveTo>
                <a:lnTo>
                  <a:pt x="30937" y="138417"/>
                </a:lnTo>
                <a:moveTo>
                  <a:pt x="45110" y="138645"/>
                </a:moveTo>
                <a:lnTo>
                  <a:pt x="33807" y="144437"/>
                </a:lnTo>
                <a:moveTo>
                  <a:pt x="48018" y="144310"/>
                </a:moveTo>
                <a:lnTo>
                  <a:pt x="36715" y="150101"/>
                </a:lnTo>
                <a:moveTo>
                  <a:pt x="50926" y="149987"/>
                </a:moveTo>
                <a:lnTo>
                  <a:pt x="39623" y="155765"/>
                </a:lnTo>
                <a:moveTo>
                  <a:pt x="53949" y="155232"/>
                </a:moveTo>
                <a:lnTo>
                  <a:pt x="42938" y="161569"/>
                </a:lnTo>
                <a:moveTo>
                  <a:pt x="57124" y="160756"/>
                </a:moveTo>
                <a:lnTo>
                  <a:pt x="46113" y="167081"/>
                </a:lnTo>
                <a:moveTo>
                  <a:pt x="60274" y="165925"/>
                </a:moveTo>
                <a:lnTo>
                  <a:pt x="49580" y="172783"/>
                </a:lnTo>
                <a:moveTo>
                  <a:pt x="63715" y="171284"/>
                </a:moveTo>
                <a:lnTo>
                  <a:pt x="53022" y="178142"/>
                </a:lnTo>
                <a:moveTo>
                  <a:pt x="67005" y="176377"/>
                </a:moveTo>
                <a:lnTo>
                  <a:pt x="56654" y="183743"/>
                </a:lnTo>
                <a:moveTo>
                  <a:pt x="70688" y="181571"/>
                </a:moveTo>
                <a:lnTo>
                  <a:pt x="60337" y="188925"/>
                </a:lnTo>
                <a:moveTo>
                  <a:pt x="74383" y="186766"/>
                </a:moveTo>
                <a:lnTo>
                  <a:pt x="64033" y="194119"/>
                </a:lnTo>
                <a:moveTo>
                  <a:pt x="78054" y="191592"/>
                </a:moveTo>
                <a:lnTo>
                  <a:pt x="68059" y="199440"/>
                </a:lnTo>
                <a:moveTo>
                  <a:pt x="81991" y="196595"/>
                </a:moveTo>
                <a:lnTo>
                  <a:pt x="71996" y="204444"/>
                </a:lnTo>
                <a:moveTo>
                  <a:pt x="85775" y="201333"/>
                </a:moveTo>
                <a:lnTo>
                  <a:pt x="76174" y="209638"/>
                </a:lnTo>
                <a:moveTo>
                  <a:pt x="89941" y="206146"/>
                </a:moveTo>
                <a:lnTo>
                  <a:pt x="80352" y="214452"/>
                </a:lnTo>
                <a:moveTo>
                  <a:pt x="94119" y="210959"/>
                </a:moveTo>
                <a:lnTo>
                  <a:pt x="84518" y="219265"/>
                </a:lnTo>
                <a:moveTo>
                  <a:pt x="98259" y="215379"/>
                </a:moveTo>
                <a:lnTo>
                  <a:pt x="89065" y="224154"/>
                </a:lnTo>
                <a:moveTo>
                  <a:pt x="102654" y="220002"/>
                </a:moveTo>
                <a:lnTo>
                  <a:pt x="93459" y="228752"/>
                </a:lnTo>
                <a:moveTo>
                  <a:pt x="106908" y="224320"/>
                </a:moveTo>
                <a:lnTo>
                  <a:pt x="98145" y="233502"/>
                </a:lnTo>
                <a:moveTo>
                  <a:pt x="111518" y="228714"/>
                </a:moveTo>
                <a:lnTo>
                  <a:pt x="102755" y="237896"/>
                </a:lnTo>
                <a:moveTo>
                  <a:pt x="116128" y="233108"/>
                </a:moveTo>
                <a:lnTo>
                  <a:pt x="107365" y="242303"/>
                </a:lnTo>
                <a:moveTo>
                  <a:pt x="120688" y="237096"/>
                </a:moveTo>
                <a:lnTo>
                  <a:pt x="112382" y="246697"/>
                </a:lnTo>
                <a:moveTo>
                  <a:pt x="125501" y="241261"/>
                </a:moveTo>
                <a:lnTo>
                  <a:pt x="117195" y="250863"/>
                </a:lnTo>
                <a:moveTo>
                  <a:pt x="130175" y="245122"/>
                </a:moveTo>
                <a:lnTo>
                  <a:pt x="122326" y="255117"/>
                </a:lnTo>
                <a:moveTo>
                  <a:pt x="135191" y="249059"/>
                </a:moveTo>
                <a:lnTo>
                  <a:pt x="127342" y="259041"/>
                </a:lnTo>
                <a:moveTo>
                  <a:pt x="139954" y="252806"/>
                </a:moveTo>
                <a:lnTo>
                  <a:pt x="132600" y="263156"/>
                </a:lnTo>
                <a:moveTo>
                  <a:pt x="145148" y="256501"/>
                </a:moveTo>
                <a:lnTo>
                  <a:pt x="137782" y="266839"/>
                </a:lnTo>
                <a:moveTo>
                  <a:pt x="150329" y="260184"/>
                </a:moveTo>
                <a:lnTo>
                  <a:pt x="142976" y="270535"/>
                </a:lnTo>
                <a:moveTo>
                  <a:pt x="155371" y="263550"/>
                </a:moveTo>
                <a:lnTo>
                  <a:pt x="148526" y="274243"/>
                </a:lnTo>
                <a:moveTo>
                  <a:pt x="160731" y="266992"/>
                </a:moveTo>
                <a:lnTo>
                  <a:pt x="153885" y="277685"/>
                </a:lnTo>
                <a:moveTo>
                  <a:pt x="165862" y="270230"/>
                </a:moveTo>
                <a:lnTo>
                  <a:pt x="159524" y="281241"/>
                </a:lnTo>
                <a:moveTo>
                  <a:pt x="171386" y="273405"/>
                </a:moveTo>
                <a:lnTo>
                  <a:pt x="165049" y="284416"/>
                </a:lnTo>
                <a:moveTo>
                  <a:pt x="176898" y="276580"/>
                </a:moveTo>
                <a:lnTo>
                  <a:pt x="170573" y="287591"/>
                </a:lnTo>
                <a:moveTo>
                  <a:pt x="182257" y="279412"/>
                </a:moveTo>
                <a:lnTo>
                  <a:pt x="176466" y="290715"/>
                </a:lnTo>
                <a:moveTo>
                  <a:pt x="187921" y="282320"/>
                </a:moveTo>
                <a:lnTo>
                  <a:pt x="182130" y="293624"/>
                </a:lnTo>
                <a:moveTo>
                  <a:pt x="193344" y="285013"/>
                </a:moveTo>
                <a:lnTo>
                  <a:pt x="188112" y="296595"/>
                </a:lnTo>
                <a:moveTo>
                  <a:pt x="199148" y="287642"/>
                </a:moveTo>
                <a:lnTo>
                  <a:pt x="193916" y="299211"/>
                </a:lnTo>
                <a:moveTo>
                  <a:pt x="204952" y="290271"/>
                </a:moveTo>
                <a:lnTo>
                  <a:pt x="199720" y="301840"/>
                </a:lnTo>
                <a:moveTo>
                  <a:pt x="210565" y="292544"/>
                </a:moveTo>
                <a:lnTo>
                  <a:pt x="205905" y="304355"/>
                </a:lnTo>
                <a:moveTo>
                  <a:pt x="216484" y="294881"/>
                </a:moveTo>
                <a:lnTo>
                  <a:pt x="211823" y="306692"/>
                </a:lnTo>
                <a:moveTo>
                  <a:pt x="222148" y="297014"/>
                </a:moveTo>
                <a:lnTo>
                  <a:pt x="218084" y="309054"/>
                </a:lnTo>
                <a:moveTo>
                  <a:pt x="228180" y="299059"/>
                </a:moveTo>
                <a:lnTo>
                  <a:pt x="224104" y="311086"/>
                </a:lnTo>
                <a:moveTo>
                  <a:pt x="234213" y="301104"/>
                </a:moveTo>
                <a:lnTo>
                  <a:pt x="230136" y="313131"/>
                </a:lnTo>
                <a:moveTo>
                  <a:pt x="240017" y="302806"/>
                </a:moveTo>
                <a:lnTo>
                  <a:pt x="236550" y="315023"/>
                </a:lnTo>
                <a:moveTo>
                  <a:pt x="246151" y="304545"/>
                </a:moveTo>
                <a:lnTo>
                  <a:pt x="242671" y="316763"/>
                </a:lnTo>
                <a:moveTo>
                  <a:pt x="251993" y="306108"/>
                </a:moveTo>
                <a:lnTo>
                  <a:pt x="249135" y="318490"/>
                </a:lnTo>
                <a:moveTo>
                  <a:pt x="258190" y="307543"/>
                </a:moveTo>
                <a:lnTo>
                  <a:pt x="255346" y="319913"/>
                </a:lnTo>
                <a:moveTo>
                  <a:pt x="264401" y="308978"/>
                </a:moveTo>
                <a:lnTo>
                  <a:pt x="261543" y="321348"/>
                </a:lnTo>
                <a:moveTo>
                  <a:pt x="270344" y="310095"/>
                </a:moveTo>
                <a:lnTo>
                  <a:pt x="268109" y="322592"/>
                </a:lnTo>
                <a:moveTo>
                  <a:pt x="276618" y="311213"/>
                </a:moveTo>
                <a:lnTo>
                  <a:pt x="274383" y="323722"/>
                </a:lnTo>
                <a:moveTo>
                  <a:pt x="282575" y="312204"/>
                </a:moveTo>
                <a:lnTo>
                  <a:pt x="280974" y="324802"/>
                </a:lnTo>
                <a:moveTo>
                  <a:pt x="288899" y="313004"/>
                </a:moveTo>
                <a:lnTo>
                  <a:pt x="287299" y="325602"/>
                </a:lnTo>
                <a:moveTo>
                  <a:pt x="295211" y="313804"/>
                </a:moveTo>
                <a:lnTo>
                  <a:pt x="293611" y="326415"/>
                </a:lnTo>
                <a:moveTo>
                  <a:pt x="301231" y="314363"/>
                </a:moveTo>
                <a:lnTo>
                  <a:pt x="300278" y="327025"/>
                </a:lnTo>
                <a:moveTo>
                  <a:pt x="307581" y="314845"/>
                </a:moveTo>
                <a:lnTo>
                  <a:pt x="306628" y="327507"/>
                </a:lnTo>
                <a:moveTo>
                  <a:pt x="313613" y="315277"/>
                </a:moveTo>
                <a:lnTo>
                  <a:pt x="313296" y="327964"/>
                </a:lnTo>
                <a:moveTo>
                  <a:pt x="319989" y="315429"/>
                </a:moveTo>
                <a:lnTo>
                  <a:pt x="319659" y="328129"/>
                </a:lnTo>
                <a:moveTo>
                  <a:pt x="326351" y="315595"/>
                </a:moveTo>
                <a:lnTo>
                  <a:pt x="326034" y="328295"/>
                </a:lnTo>
                <a:moveTo>
                  <a:pt x="332397" y="315595"/>
                </a:moveTo>
                <a:lnTo>
                  <a:pt x="332714" y="328295"/>
                </a:lnTo>
                <a:moveTo>
                  <a:pt x="338759" y="315429"/>
                </a:moveTo>
                <a:lnTo>
                  <a:pt x="339077" y="328129"/>
                </a:lnTo>
                <a:moveTo>
                  <a:pt x="345122" y="315277"/>
                </a:moveTo>
                <a:lnTo>
                  <a:pt x="345452" y="327964"/>
                </a:lnTo>
                <a:moveTo>
                  <a:pt x="351154" y="314845"/>
                </a:moveTo>
                <a:lnTo>
                  <a:pt x="352120" y="327507"/>
                </a:lnTo>
                <a:moveTo>
                  <a:pt x="357504" y="314363"/>
                </a:moveTo>
                <a:lnTo>
                  <a:pt x="358470" y="327025"/>
                </a:lnTo>
                <a:moveTo>
                  <a:pt x="363524" y="313804"/>
                </a:moveTo>
                <a:lnTo>
                  <a:pt x="365125" y="326415"/>
                </a:lnTo>
                <a:moveTo>
                  <a:pt x="369849" y="313004"/>
                </a:moveTo>
                <a:lnTo>
                  <a:pt x="371449" y="325602"/>
                </a:lnTo>
                <a:moveTo>
                  <a:pt x="376161" y="312204"/>
                </a:moveTo>
                <a:lnTo>
                  <a:pt x="377761" y="324802"/>
                </a:lnTo>
                <a:moveTo>
                  <a:pt x="382130" y="311213"/>
                </a:moveTo>
                <a:lnTo>
                  <a:pt x="384365" y="323722"/>
                </a:lnTo>
                <a:moveTo>
                  <a:pt x="388404" y="310095"/>
                </a:moveTo>
                <a:lnTo>
                  <a:pt x="390626" y="322592"/>
                </a:lnTo>
                <a:moveTo>
                  <a:pt x="394347" y="308978"/>
                </a:moveTo>
                <a:lnTo>
                  <a:pt x="397192" y="321348"/>
                </a:lnTo>
                <a:moveTo>
                  <a:pt x="400545" y="307543"/>
                </a:moveTo>
                <a:lnTo>
                  <a:pt x="403402" y="319913"/>
                </a:lnTo>
                <a:moveTo>
                  <a:pt x="406755" y="306108"/>
                </a:moveTo>
                <a:lnTo>
                  <a:pt x="409613" y="318490"/>
                </a:lnTo>
                <a:moveTo>
                  <a:pt x="412597" y="304545"/>
                </a:moveTo>
                <a:lnTo>
                  <a:pt x="416064" y="316763"/>
                </a:lnTo>
                <a:moveTo>
                  <a:pt x="418718" y="302806"/>
                </a:moveTo>
                <a:lnTo>
                  <a:pt x="422186" y="315023"/>
                </a:lnTo>
                <a:moveTo>
                  <a:pt x="424535" y="301104"/>
                </a:moveTo>
                <a:lnTo>
                  <a:pt x="428599" y="313131"/>
                </a:lnTo>
                <a:moveTo>
                  <a:pt x="430568" y="299059"/>
                </a:moveTo>
                <a:lnTo>
                  <a:pt x="434632" y="311086"/>
                </a:lnTo>
                <a:moveTo>
                  <a:pt x="436600" y="297014"/>
                </a:moveTo>
                <a:lnTo>
                  <a:pt x="440664" y="309054"/>
                </a:lnTo>
                <a:moveTo>
                  <a:pt x="442264" y="294881"/>
                </a:moveTo>
                <a:lnTo>
                  <a:pt x="446912" y="306692"/>
                </a:lnTo>
                <a:moveTo>
                  <a:pt x="448183" y="292544"/>
                </a:moveTo>
                <a:lnTo>
                  <a:pt x="452843" y="304355"/>
                </a:lnTo>
                <a:moveTo>
                  <a:pt x="453796" y="290271"/>
                </a:moveTo>
                <a:lnTo>
                  <a:pt x="459028" y="301840"/>
                </a:lnTo>
                <a:moveTo>
                  <a:pt x="459600" y="287642"/>
                </a:moveTo>
                <a:lnTo>
                  <a:pt x="464832" y="299211"/>
                </a:lnTo>
                <a:moveTo>
                  <a:pt x="465404" y="285013"/>
                </a:moveTo>
                <a:lnTo>
                  <a:pt x="470636" y="296595"/>
                </a:lnTo>
                <a:moveTo>
                  <a:pt x="470827" y="282320"/>
                </a:moveTo>
                <a:lnTo>
                  <a:pt x="476605" y="293624"/>
                </a:lnTo>
                <a:moveTo>
                  <a:pt x="476491" y="279412"/>
                </a:moveTo>
                <a:lnTo>
                  <a:pt x="482282" y="290715"/>
                </a:lnTo>
                <a:moveTo>
                  <a:pt x="481837" y="276580"/>
                </a:moveTo>
                <a:lnTo>
                  <a:pt x="488175" y="287591"/>
                </a:lnTo>
                <a:moveTo>
                  <a:pt x="487362" y="273405"/>
                </a:moveTo>
                <a:lnTo>
                  <a:pt x="493699" y="284416"/>
                </a:lnTo>
                <a:moveTo>
                  <a:pt x="492887" y="270230"/>
                </a:moveTo>
                <a:lnTo>
                  <a:pt x="499211" y="281241"/>
                </a:lnTo>
                <a:moveTo>
                  <a:pt x="498005" y="266992"/>
                </a:moveTo>
                <a:lnTo>
                  <a:pt x="504863" y="277685"/>
                </a:lnTo>
                <a:moveTo>
                  <a:pt x="503364" y="263550"/>
                </a:moveTo>
                <a:lnTo>
                  <a:pt x="510222" y="274243"/>
                </a:lnTo>
                <a:moveTo>
                  <a:pt x="508406" y="260184"/>
                </a:moveTo>
                <a:lnTo>
                  <a:pt x="515772" y="270535"/>
                </a:lnTo>
                <a:moveTo>
                  <a:pt x="513600" y="256501"/>
                </a:moveTo>
                <a:lnTo>
                  <a:pt x="520954" y="266839"/>
                </a:lnTo>
                <a:moveTo>
                  <a:pt x="518782" y="252806"/>
                </a:moveTo>
                <a:lnTo>
                  <a:pt x="526148" y="263156"/>
                </a:lnTo>
                <a:moveTo>
                  <a:pt x="523557" y="249059"/>
                </a:moveTo>
                <a:lnTo>
                  <a:pt x="531406" y="259041"/>
                </a:lnTo>
                <a:moveTo>
                  <a:pt x="528561" y="245122"/>
                </a:moveTo>
                <a:lnTo>
                  <a:pt x="536409" y="255117"/>
                </a:lnTo>
                <a:moveTo>
                  <a:pt x="533234" y="241261"/>
                </a:moveTo>
                <a:lnTo>
                  <a:pt x="541553" y="250863"/>
                </a:lnTo>
                <a:moveTo>
                  <a:pt x="538048" y="237096"/>
                </a:moveTo>
                <a:lnTo>
                  <a:pt x="546366" y="246697"/>
                </a:lnTo>
                <a:moveTo>
                  <a:pt x="542620" y="233108"/>
                </a:moveTo>
                <a:lnTo>
                  <a:pt x="551383" y="242303"/>
                </a:lnTo>
                <a:moveTo>
                  <a:pt x="547230" y="228714"/>
                </a:moveTo>
                <a:lnTo>
                  <a:pt x="555993" y="237896"/>
                </a:lnTo>
                <a:moveTo>
                  <a:pt x="551840" y="224320"/>
                </a:moveTo>
                <a:lnTo>
                  <a:pt x="560603" y="233502"/>
                </a:lnTo>
                <a:moveTo>
                  <a:pt x="556094" y="220002"/>
                </a:moveTo>
                <a:lnTo>
                  <a:pt x="565289" y="228752"/>
                </a:lnTo>
                <a:moveTo>
                  <a:pt x="560489" y="215379"/>
                </a:moveTo>
                <a:lnTo>
                  <a:pt x="569683" y="224154"/>
                </a:lnTo>
                <a:moveTo>
                  <a:pt x="564629" y="210959"/>
                </a:moveTo>
                <a:lnTo>
                  <a:pt x="574230" y="219265"/>
                </a:lnTo>
                <a:moveTo>
                  <a:pt x="568794" y="206146"/>
                </a:moveTo>
                <a:lnTo>
                  <a:pt x="578396" y="214452"/>
                </a:lnTo>
                <a:moveTo>
                  <a:pt x="572973" y="201333"/>
                </a:moveTo>
                <a:lnTo>
                  <a:pt x="582561" y="209638"/>
                </a:lnTo>
                <a:moveTo>
                  <a:pt x="576757" y="196595"/>
                </a:moveTo>
                <a:lnTo>
                  <a:pt x="586740" y="204444"/>
                </a:lnTo>
                <a:moveTo>
                  <a:pt x="580694" y="191592"/>
                </a:moveTo>
                <a:lnTo>
                  <a:pt x="590676" y="199440"/>
                </a:lnTo>
                <a:moveTo>
                  <a:pt x="584365" y="186766"/>
                </a:moveTo>
                <a:lnTo>
                  <a:pt x="594715" y="194119"/>
                </a:lnTo>
                <a:moveTo>
                  <a:pt x="588048" y="181571"/>
                </a:moveTo>
                <a:lnTo>
                  <a:pt x="598398" y="188925"/>
                </a:lnTo>
                <a:moveTo>
                  <a:pt x="591743" y="176377"/>
                </a:moveTo>
                <a:lnTo>
                  <a:pt x="602094" y="183743"/>
                </a:lnTo>
                <a:moveTo>
                  <a:pt x="595033" y="171284"/>
                </a:moveTo>
                <a:lnTo>
                  <a:pt x="605726" y="178142"/>
                </a:lnTo>
                <a:moveTo>
                  <a:pt x="598462" y="165925"/>
                </a:moveTo>
                <a:lnTo>
                  <a:pt x="609155" y="172783"/>
                </a:lnTo>
                <a:moveTo>
                  <a:pt x="601624" y="160756"/>
                </a:moveTo>
                <a:lnTo>
                  <a:pt x="612635" y="167081"/>
                </a:lnTo>
                <a:moveTo>
                  <a:pt x="604799" y="155232"/>
                </a:moveTo>
                <a:lnTo>
                  <a:pt x="615810" y="161569"/>
                </a:lnTo>
                <a:moveTo>
                  <a:pt x="607822" y="149987"/>
                </a:moveTo>
                <a:lnTo>
                  <a:pt x="619125" y="155765"/>
                </a:lnTo>
                <a:moveTo>
                  <a:pt x="610730" y="144310"/>
                </a:moveTo>
                <a:lnTo>
                  <a:pt x="622033" y="150101"/>
                </a:lnTo>
                <a:moveTo>
                  <a:pt x="613625" y="138645"/>
                </a:moveTo>
                <a:lnTo>
                  <a:pt x="624928" y="144437"/>
                </a:lnTo>
                <a:moveTo>
                  <a:pt x="616242" y="133184"/>
                </a:moveTo>
                <a:lnTo>
                  <a:pt x="627811" y="138417"/>
                </a:lnTo>
                <a:moveTo>
                  <a:pt x="618858" y="127380"/>
                </a:moveTo>
                <a:lnTo>
                  <a:pt x="630440" y="132613"/>
                </a:lnTo>
                <a:moveTo>
                  <a:pt x="621334" y="121843"/>
                </a:moveTo>
                <a:lnTo>
                  <a:pt x="633158" y="126504"/>
                </a:lnTo>
                <a:moveTo>
                  <a:pt x="623671" y="115925"/>
                </a:moveTo>
                <a:lnTo>
                  <a:pt x="635495" y="120586"/>
                </a:lnTo>
                <a:moveTo>
                  <a:pt x="626008" y="110007"/>
                </a:moveTo>
                <a:lnTo>
                  <a:pt x="637832" y="114655"/>
                </a:lnTo>
                <a:moveTo>
                  <a:pt x="628053" y="104305"/>
                </a:moveTo>
                <a:lnTo>
                  <a:pt x="640092" y="108369"/>
                </a:lnTo>
                <a:moveTo>
                  <a:pt x="630097" y="98272"/>
                </a:moveTo>
                <a:lnTo>
                  <a:pt x="642124" y="102349"/>
                </a:lnTo>
                <a:moveTo>
                  <a:pt x="632015" y="92532"/>
                </a:moveTo>
                <a:lnTo>
                  <a:pt x="644232" y="95999"/>
                </a:lnTo>
                <a:moveTo>
                  <a:pt x="633755" y="86398"/>
                </a:moveTo>
                <a:lnTo>
                  <a:pt x="645960" y="89877"/>
                </a:lnTo>
                <a:moveTo>
                  <a:pt x="635495" y="80276"/>
                </a:moveTo>
                <a:lnTo>
                  <a:pt x="647700" y="83743"/>
                </a:lnTo>
                <a:moveTo>
                  <a:pt x="636955" y="74409"/>
                </a:moveTo>
                <a:lnTo>
                  <a:pt x="649338" y="77266"/>
                </a:lnTo>
                <a:moveTo>
                  <a:pt x="638390" y="68198"/>
                </a:moveTo>
                <a:lnTo>
                  <a:pt x="650760" y="71056"/>
                </a:lnTo>
                <a:moveTo>
                  <a:pt x="639724" y="62306"/>
                </a:moveTo>
                <a:lnTo>
                  <a:pt x="652233" y="64541"/>
                </a:lnTo>
                <a:moveTo>
                  <a:pt x="640841" y="56032"/>
                </a:moveTo>
                <a:lnTo>
                  <a:pt x="653351" y="58267"/>
                </a:lnTo>
                <a:moveTo>
                  <a:pt x="641959" y="49758"/>
                </a:moveTo>
                <a:lnTo>
                  <a:pt x="654469" y="51993"/>
                </a:lnTo>
                <a:moveTo>
                  <a:pt x="642861" y="43789"/>
                </a:moveTo>
                <a:lnTo>
                  <a:pt x="655459" y="45389"/>
                </a:lnTo>
                <a:moveTo>
                  <a:pt x="643661" y="37465"/>
                </a:moveTo>
                <a:lnTo>
                  <a:pt x="656259" y="39065"/>
                </a:lnTo>
                <a:moveTo>
                  <a:pt x="644423" y="31470"/>
                </a:moveTo>
                <a:lnTo>
                  <a:pt x="657085" y="32435"/>
                </a:lnTo>
                <a:moveTo>
                  <a:pt x="644905" y="25120"/>
                </a:moveTo>
                <a:lnTo>
                  <a:pt x="657567" y="26085"/>
                </a:lnTo>
                <a:moveTo>
                  <a:pt x="645388" y="18770"/>
                </a:moveTo>
                <a:lnTo>
                  <a:pt x="658050" y="19735"/>
                </a:lnTo>
                <a:moveTo>
                  <a:pt x="645718" y="12738"/>
                </a:moveTo>
                <a:lnTo>
                  <a:pt x="658418" y="13055"/>
                </a:lnTo>
                <a:moveTo>
                  <a:pt x="645883" y="6362"/>
                </a:moveTo>
                <a:lnTo>
                  <a:pt x="658583" y="6692"/>
                </a:lnTo>
                <a:moveTo>
                  <a:pt x="646048" y="0"/>
                </a:moveTo>
                <a:lnTo>
                  <a:pt x="658736" y="317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sp>
        <p:nvSpPr>
          <p:cNvPr id="271" name="Freeform 811"/>
          <p:cNvSpPr/>
          <p:nvPr/>
        </p:nvSpPr>
        <p:spPr>
          <a:xfrm>
            <a:off x="5414816" y="2580977"/>
            <a:ext cx="1800000" cy="19281"/>
          </a:xfrm>
          <a:custGeom>
            <a:avLst/>
            <a:gdLst/>
            <a:ahLst/>
            <a:cxnLst/>
            <a:rect l="0" t="0" r="0" b="0"/>
            <a:pathLst>
              <a:path w="1185621" h="12700">
                <a:moveTo>
                  <a:pt x="0" y="0"/>
                </a:moveTo>
                <a:lnTo>
                  <a:pt x="0" y="12700"/>
                </a:lnTo>
                <a:moveTo>
                  <a:pt x="6375" y="0"/>
                </a:moveTo>
                <a:lnTo>
                  <a:pt x="6375" y="12700"/>
                </a:lnTo>
                <a:moveTo>
                  <a:pt x="12750" y="0"/>
                </a:moveTo>
                <a:lnTo>
                  <a:pt x="12750" y="12700"/>
                </a:lnTo>
                <a:moveTo>
                  <a:pt x="19126" y="0"/>
                </a:moveTo>
                <a:lnTo>
                  <a:pt x="19126" y="12700"/>
                </a:lnTo>
                <a:moveTo>
                  <a:pt x="25501" y="0"/>
                </a:moveTo>
                <a:lnTo>
                  <a:pt x="25501" y="12700"/>
                </a:lnTo>
                <a:moveTo>
                  <a:pt x="31876" y="0"/>
                </a:moveTo>
                <a:lnTo>
                  <a:pt x="31876" y="12700"/>
                </a:lnTo>
                <a:moveTo>
                  <a:pt x="38239" y="0"/>
                </a:moveTo>
                <a:lnTo>
                  <a:pt x="38239" y="12700"/>
                </a:lnTo>
                <a:moveTo>
                  <a:pt x="44615" y="0"/>
                </a:moveTo>
                <a:lnTo>
                  <a:pt x="44615" y="12700"/>
                </a:lnTo>
                <a:moveTo>
                  <a:pt x="50990" y="0"/>
                </a:moveTo>
                <a:lnTo>
                  <a:pt x="50990" y="12700"/>
                </a:lnTo>
                <a:moveTo>
                  <a:pt x="57365" y="0"/>
                </a:moveTo>
                <a:lnTo>
                  <a:pt x="57365" y="12700"/>
                </a:lnTo>
                <a:moveTo>
                  <a:pt x="63741" y="0"/>
                </a:moveTo>
                <a:lnTo>
                  <a:pt x="63741" y="12700"/>
                </a:lnTo>
                <a:moveTo>
                  <a:pt x="70116" y="0"/>
                </a:moveTo>
                <a:lnTo>
                  <a:pt x="70116" y="12700"/>
                </a:lnTo>
                <a:moveTo>
                  <a:pt x="76492" y="0"/>
                </a:moveTo>
                <a:lnTo>
                  <a:pt x="76492" y="12700"/>
                </a:lnTo>
                <a:moveTo>
                  <a:pt x="82867" y="0"/>
                </a:moveTo>
                <a:lnTo>
                  <a:pt x="82867" y="12700"/>
                </a:lnTo>
                <a:moveTo>
                  <a:pt x="89242" y="0"/>
                </a:moveTo>
                <a:lnTo>
                  <a:pt x="89242" y="12700"/>
                </a:lnTo>
                <a:moveTo>
                  <a:pt x="95618" y="0"/>
                </a:moveTo>
                <a:lnTo>
                  <a:pt x="95618" y="12700"/>
                </a:lnTo>
                <a:moveTo>
                  <a:pt x="101993" y="0"/>
                </a:moveTo>
                <a:lnTo>
                  <a:pt x="101993" y="12700"/>
                </a:lnTo>
                <a:moveTo>
                  <a:pt x="108369" y="0"/>
                </a:moveTo>
                <a:lnTo>
                  <a:pt x="108369" y="12700"/>
                </a:lnTo>
                <a:moveTo>
                  <a:pt x="114731" y="0"/>
                </a:moveTo>
                <a:lnTo>
                  <a:pt x="114731" y="12700"/>
                </a:lnTo>
                <a:moveTo>
                  <a:pt x="121107" y="0"/>
                </a:moveTo>
                <a:lnTo>
                  <a:pt x="121107" y="12700"/>
                </a:lnTo>
                <a:moveTo>
                  <a:pt x="127482" y="0"/>
                </a:moveTo>
                <a:lnTo>
                  <a:pt x="127482" y="12700"/>
                </a:lnTo>
                <a:moveTo>
                  <a:pt x="133857" y="0"/>
                </a:moveTo>
                <a:lnTo>
                  <a:pt x="133857" y="12700"/>
                </a:lnTo>
                <a:moveTo>
                  <a:pt x="140233" y="0"/>
                </a:moveTo>
                <a:lnTo>
                  <a:pt x="140233" y="12700"/>
                </a:lnTo>
                <a:moveTo>
                  <a:pt x="146608" y="0"/>
                </a:moveTo>
                <a:lnTo>
                  <a:pt x="146608" y="12700"/>
                </a:lnTo>
                <a:moveTo>
                  <a:pt x="152984" y="0"/>
                </a:moveTo>
                <a:lnTo>
                  <a:pt x="152984" y="12700"/>
                </a:lnTo>
                <a:moveTo>
                  <a:pt x="159359" y="0"/>
                </a:moveTo>
                <a:lnTo>
                  <a:pt x="159359" y="12700"/>
                </a:lnTo>
                <a:moveTo>
                  <a:pt x="165735" y="0"/>
                </a:moveTo>
                <a:lnTo>
                  <a:pt x="165735" y="12700"/>
                </a:lnTo>
                <a:moveTo>
                  <a:pt x="172110" y="0"/>
                </a:moveTo>
                <a:lnTo>
                  <a:pt x="172110" y="12700"/>
                </a:lnTo>
                <a:moveTo>
                  <a:pt x="178485" y="0"/>
                </a:moveTo>
                <a:lnTo>
                  <a:pt x="178485" y="12700"/>
                </a:lnTo>
                <a:moveTo>
                  <a:pt x="184861" y="0"/>
                </a:moveTo>
                <a:lnTo>
                  <a:pt x="184861" y="12700"/>
                </a:lnTo>
                <a:moveTo>
                  <a:pt x="191223" y="0"/>
                </a:moveTo>
                <a:lnTo>
                  <a:pt x="191223" y="12700"/>
                </a:lnTo>
                <a:moveTo>
                  <a:pt x="197599" y="0"/>
                </a:moveTo>
                <a:lnTo>
                  <a:pt x="197599" y="12700"/>
                </a:lnTo>
                <a:moveTo>
                  <a:pt x="203974" y="0"/>
                </a:moveTo>
                <a:lnTo>
                  <a:pt x="203974" y="12700"/>
                </a:lnTo>
                <a:moveTo>
                  <a:pt x="210350" y="0"/>
                </a:moveTo>
                <a:lnTo>
                  <a:pt x="210350" y="12700"/>
                </a:lnTo>
                <a:moveTo>
                  <a:pt x="216725" y="0"/>
                </a:moveTo>
                <a:lnTo>
                  <a:pt x="216725" y="12700"/>
                </a:lnTo>
                <a:moveTo>
                  <a:pt x="223100" y="0"/>
                </a:moveTo>
                <a:lnTo>
                  <a:pt x="223100" y="12700"/>
                </a:lnTo>
                <a:moveTo>
                  <a:pt x="229476" y="0"/>
                </a:moveTo>
                <a:lnTo>
                  <a:pt x="229476" y="12700"/>
                </a:lnTo>
                <a:moveTo>
                  <a:pt x="235851" y="0"/>
                </a:moveTo>
                <a:lnTo>
                  <a:pt x="235851" y="12700"/>
                </a:lnTo>
                <a:moveTo>
                  <a:pt x="242227" y="0"/>
                </a:moveTo>
                <a:lnTo>
                  <a:pt x="242227" y="12700"/>
                </a:lnTo>
                <a:moveTo>
                  <a:pt x="248602" y="0"/>
                </a:moveTo>
                <a:lnTo>
                  <a:pt x="248602" y="12700"/>
                </a:lnTo>
                <a:moveTo>
                  <a:pt x="254977" y="0"/>
                </a:moveTo>
                <a:lnTo>
                  <a:pt x="254977" y="12700"/>
                </a:lnTo>
                <a:moveTo>
                  <a:pt x="261353" y="0"/>
                </a:moveTo>
                <a:lnTo>
                  <a:pt x="261353" y="12700"/>
                </a:lnTo>
                <a:moveTo>
                  <a:pt x="267715" y="0"/>
                </a:moveTo>
                <a:lnTo>
                  <a:pt x="267715" y="12700"/>
                </a:lnTo>
                <a:moveTo>
                  <a:pt x="274091" y="0"/>
                </a:moveTo>
                <a:lnTo>
                  <a:pt x="274091" y="12700"/>
                </a:lnTo>
                <a:moveTo>
                  <a:pt x="280466" y="0"/>
                </a:moveTo>
                <a:lnTo>
                  <a:pt x="280466" y="12700"/>
                </a:lnTo>
                <a:moveTo>
                  <a:pt x="286842" y="0"/>
                </a:moveTo>
                <a:lnTo>
                  <a:pt x="286842" y="12700"/>
                </a:lnTo>
                <a:moveTo>
                  <a:pt x="293217" y="0"/>
                </a:moveTo>
                <a:lnTo>
                  <a:pt x="293217" y="12700"/>
                </a:lnTo>
                <a:moveTo>
                  <a:pt x="299593" y="0"/>
                </a:moveTo>
                <a:lnTo>
                  <a:pt x="299593" y="12700"/>
                </a:lnTo>
                <a:moveTo>
                  <a:pt x="305968" y="0"/>
                </a:moveTo>
                <a:lnTo>
                  <a:pt x="305968" y="12700"/>
                </a:lnTo>
                <a:moveTo>
                  <a:pt x="312343" y="0"/>
                </a:moveTo>
                <a:lnTo>
                  <a:pt x="312343" y="12700"/>
                </a:lnTo>
                <a:moveTo>
                  <a:pt x="318719" y="0"/>
                </a:moveTo>
                <a:lnTo>
                  <a:pt x="318719" y="12700"/>
                </a:lnTo>
                <a:moveTo>
                  <a:pt x="325094" y="0"/>
                </a:moveTo>
                <a:lnTo>
                  <a:pt x="325094" y="12700"/>
                </a:lnTo>
                <a:moveTo>
                  <a:pt x="331470" y="0"/>
                </a:moveTo>
                <a:lnTo>
                  <a:pt x="331470" y="12700"/>
                </a:lnTo>
                <a:moveTo>
                  <a:pt x="337845" y="0"/>
                </a:moveTo>
                <a:lnTo>
                  <a:pt x="337845" y="12700"/>
                </a:lnTo>
                <a:moveTo>
                  <a:pt x="344208" y="0"/>
                </a:moveTo>
                <a:lnTo>
                  <a:pt x="344208" y="12700"/>
                </a:lnTo>
                <a:moveTo>
                  <a:pt x="350583" y="0"/>
                </a:moveTo>
                <a:lnTo>
                  <a:pt x="350583" y="12700"/>
                </a:lnTo>
                <a:moveTo>
                  <a:pt x="356958" y="0"/>
                </a:moveTo>
                <a:lnTo>
                  <a:pt x="356958" y="12700"/>
                </a:lnTo>
                <a:moveTo>
                  <a:pt x="363334" y="0"/>
                </a:moveTo>
                <a:lnTo>
                  <a:pt x="363334" y="12700"/>
                </a:lnTo>
                <a:moveTo>
                  <a:pt x="369709" y="0"/>
                </a:moveTo>
                <a:lnTo>
                  <a:pt x="369709" y="12700"/>
                </a:lnTo>
                <a:moveTo>
                  <a:pt x="376085" y="0"/>
                </a:moveTo>
                <a:lnTo>
                  <a:pt x="376085" y="12700"/>
                </a:lnTo>
                <a:moveTo>
                  <a:pt x="382460" y="0"/>
                </a:moveTo>
                <a:lnTo>
                  <a:pt x="382460" y="12700"/>
                </a:lnTo>
                <a:moveTo>
                  <a:pt x="388835" y="0"/>
                </a:moveTo>
                <a:lnTo>
                  <a:pt x="388835" y="12700"/>
                </a:lnTo>
                <a:moveTo>
                  <a:pt x="395211" y="0"/>
                </a:moveTo>
                <a:lnTo>
                  <a:pt x="395211" y="12700"/>
                </a:lnTo>
                <a:moveTo>
                  <a:pt x="401586" y="0"/>
                </a:moveTo>
                <a:lnTo>
                  <a:pt x="401586" y="12700"/>
                </a:lnTo>
                <a:moveTo>
                  <a:pt x="407962" y="0"/>
                </a:moveTo>
                <a:lnTo>
                  <a:pt x="407962" y="12700"/>
                </a:lnTo>
                <a:moveTo>
                  <a:pt x="414337" y="0"/>
                </a:moveTo>
                <a:lnTo>
                  <a:pt x="414337" y="12700"/>
                </a:lnTo>
                <a:moveTo>
                  <a:pt x="420700" y="0"/>
                </a:moveTo>
                <a:lnTo>
                  <a:pt x="420700" y="12700"/>
                </a:lnTo>
                <a:moveTo>
                  <a:pt x="427075" y="0"/>
                </a:moveTo>
                <a:lnTo>
                  <a:pt x="427075" y="12700"/>
                </a:lnTo>
                <a:moveTo>
                  <a:pt x="433451" y="0"/>
                </a:moveTo>
                <a:lnTo>
                  <a:pt x="433451" y="12700"/>
                </a:lnTo>
                <a:moveTo>
                  <a:pt x="439826" y="0"/>
                </a:moveTo>
                <a:lnTo>
                  <a:pt x="439826" y="12700"/>
                </a:lnTo>
                <a:moveTo>
                  <a:pt x="446201" y="0"/>
                </a:moveTo>
                <a:lnTo>
                  <a:pt x="446201" y="12700"/>
                </a:lnTo>
                <a:moveTo>
                  <a:pt x="452577" y="0"/>
                </a:moveTo>
                <a:lnTo>
                  <a:pt x="452577" y="12700"/>
                </a:lnTo>
                <a:moveTo>
                  <a:pt x="458952" y="0"/>
                </a:moveTo>
                <a:lnTo>
                  <a:pt x="458952" y="12700"/>
                </a:lnTo>
                <a:moveTo>
                  <a:pt x="465327" y="0"/>
                </a:moveTo>
                <a:lnTo>
                  <a:pt x="465327" y="12700"/>
                </a:lnTo>
                <a:moveTo>
                  <a:pt x="471703" y="0"/>
                </a:moveTo>
                <a:lnTo>
                  <a:pt x="471703" y="12700"/>
                </a:lnTo>
                <a:moveTo>
                  <a:pt x="478078" y="0"/>
                </a:moveTo>
                <a:lnTo>
                  <a:pt x="478078" y="12700"/>
                </a:lnTo>
                <a:moveTo>
                  <a:pt x="484454" y="0"/>
                </a:moveTo>
                <a:lnTo>
                  <a:pt x="484454" y="12700"/>
                </a:lnTo>
                <a:moveTo>
                  <a:pt x="490816" y="0"/>
                </a:moveTo>
                <a:lnTo>
                  <a:pt x="490816" y="12700"/>
                </a:lnTo>
                <a:moveTo>
                  <a:pt x="497192" y="0"/>
                </a:moveTo>
                <a:lnTo>
                  <a:pt x="497192" y="12700"/>
                </a:lnTo>
                <a:moveTo>
                  <a:pt x="503567" y="0"/>
                </a:moveTo>
                <a:lnTo>
                  <a:pt x="503567" y="12700"/>
                </a:lnTo>
                <a:moveTo>
                  <a:pt x="509943" y="0"/>
                </a:moveTo>
                <a:lnTo>
                  <a:pt x="509943" y="12700"/>
                </a:lnTo>
                <a:moveTo>
                  <a:pt x="516318" y="0"/>
                </a:moveTo>
                <a:lnTo>
                  <a:pt x="516318" y="12700"/>
                </a:lnTo>
                <a:moveTo>
                  <a:pt x="522693" y="0"/>
                </a:moveTo>
                <a:lnTo>
                  <a:pt x="522693" y="12700"/>
                </a:lnTo>
                <a:moveTo>
                  <a:pt x="529069" y="0"/>
                </a:moveTo>
                <a:lnTo>
                  <a:pt x="529069" y="12700"/>
                </a:lnTo>
                <a:moveTo>
                  <a:pt x="535444" y="0"/>
                </a:moveTo>
                <a:lnTo>
                  <a:pt x="535444" y="12700"/>
                </a:lnTo>
                <a:moveTo>
                  <a:pt x="541820" y="0"/>
                </a:moveTo>
                <a:lnTo>
                  <a:pt x="541820" y="12700"/>
                </a:lnTo>
                <a:moveTo>
                  <a:pt x="548195" y="0"/>
                </a:moveTo>
                <a:lnTo>
                  <a:pt x="548195" y="12700"/>
                </a:lnTo>
                <a:moveTo>
                  <a:pt x="554570" y="0"/>
                </a:moveTo>
                <a:lnTo>
                  <a:pt x="554570" y="12700"/>
                </a:lnTo>
                <a:moveTo>
                  <a:pt x="560946" y="0"/>
                </a:moveTo>
                <a:lnTo>
                  <a:pt x="560946" y="12700"/>
                </a:lnTo>
                <a:moveTo>
                  <a:pt x="567308" y="0"/>
                </a:moveTo>
                <a:lnTo>
                  <a:pt x="567308" y="12700"/>
                </a:lnTo>
                <a:moveTo>
                  <a:pt x="573684" y="0"/>
                </a:moveTo>
                <a:lnTo>
                  <a:pt x="573684" y="12700"/>
                </a:lnTo>
                <a:moveTo>
                  <a:pt x="580059" y="0"/>
                </a:moveTo>
                <a:lnTo>
                  <a:pt x="580059" y="12700"/>
                </a:lnTo>
                <a:moveTo>
                  <a:pt x="586435" y="0"/>
                </a:moveTo>
                <a:lnTo>
                  <a:pt x="586435" y="12700"/>
                </a:lnTo>
                <a:moveTo>
                  <a:pt x="592810" y="0"/>
                </a:moveTo>
                <a:lnTo>
                  <a:pt x="592810" y="12700"/>
                </a:lnTo>
                <a:moveTo>
                  <a:pt x="599186" y="0"/>
                </a:moveTo>
                <a:lnTo>
                  <a:pt x="599186" y="12700"/>
                </a:lnTo>
                <a:moveTo>
                  <a:pt x="605561" y="0"/>
                </a:moveTo>
                <a:lnTo>
                  <a:pt x="605561" y="12700"/>
                </a:lnTo>
                <a:moveTo>
                  <a:pt x="611936" y="0"/>
                </a:moveTo>
                <a:lnTo>
                  <a:pt x="611936" y="12700"/>
                </a:lnTo>
                <a:moveTo>
                  <a:pt x="618312" y="0"/>
                </a:moveTo>
                <a:lnTo>
                  <a:pt x="618312" y="12700"/>
                </a:lnTo>
                <a:moveTo>
                  <a:pt x="624687" y="0"/>
                </a:moveTo>
                <a:lnTo>
                  <a:pt x="624687" y="12700"/>
                </a:lnTo>
                <a:moveTo>
                  <a:pt x="631062" y="0"/>
                </a:moveTo>
                <a:lnTo>
                  <a:pt x="631062" y="12700"/>
                </a:lnTo>
                <a:moveTo>
                  <a:pt x="637438" y="0"/>
                </a:moveTo>
                <a:lnTo>
                  <a:pt x="637438" y="12700"/>
                </a:lnTo>
                <a:moveTo>
                  <a:pt x="643801" y="0"/>
                </a:moveTo>
                <a:lnTo>
                  <a:pt x="643801" y="12700"/>
                </a:lnTo>
                <a:moveTo>
                  <a:pt x="650176" y="0"/>
                </a:moveTo>
                <a:lnTo>
                  <a:pt x="650176" y="12700"/>
                </a:lnTo>
                <a:moveTo>
                  <a:pt x="656551" y="0"/>
                </a:moveTo>
                <a:lnTo>
                  <a:pt x="656551" y="12700"/>
                </a:lnTo>
                <a:moveTo>
                  <a:pt x="662927" y="0"/>
                </a:moveTo>
                <a:lnTo>
                  <a:pt x="662927" y="12700"/>
                </a:lnTo>
                <a:moveTo>
                  <a:pt x="669302" y="0"/>
                </a:moveTo>
                <a:lnTo>
                  <a:pt x="669302" y="12700"/>
                </a:lnTo>
                <a:moveTo>
                  <a:pt x="675678" y="0"/>
                </a:moveTo>
                <a:lnTo>
                  <a:pt x="675678" y="12700"/>
                </a:lnTo>
                <a:moveTo>
                  <a:pt x="682053" y="0"/>
                </a:moveTo>
                <a:lnTo>
                  <a:pt x="682053" y="12700"/>
                </a:lnTo>
                <a:moveTo>
                  <a:pt x="688428" y="0"/>
                </a:moveTo>
                <a:lnTo>
                  <a:pt x="688428" y="12700"/>
                </a:lnTo>
                <a:moveTo>
                  <a:pt x="694804" y="0"/>
                </a:moveTo>
                <a:lnTo>
                  <a:pt x="694804" y="12700"/>
                </a:lnTo>
                <a:moveTo>
                  <a:pt x="701179" y="0"/>
                </a:moveTo>
                <a:lnTo>
                  <a:pt x="701179" y="12700"/>
                </a:lnTo>
                <a:moveTo>
                  <a:pt x="707555" y="0"/>
                </a:moveTo>
                <a:lnTo>
                  <a:pt x="707555" y="12700"/>
                </a:lnTo>
                <a:moveTo>
                  <a:pt x="713930" y="0"/>
                </a:moveTo>
                <a:lnTo>
                  <a:pt x="713930" y="12700"/>
                </a:lnTo>
                <a:moveTo>
                  <a:pt x="720293" y="0"/>
                </a:moveTo>
                <a:lnTo>
                  <a:pt x="720293" y="12700"/>
                </a:lnTo>
                <a:moveTo>
                  <a:pt x="726668" y="0"/>
                </a:moveTo>
                <a:lnTo>
                  <a:pt x="726668" y="12700"/>
                </a:lnTo>
                <a:moveTo>
                  <a:pt x="733044" y="0"/>
                </a:moveTo>
                <a:lnTo>
                  <a:pt x="733044" y="12700"/>
                </a:lnTo>
                <a:moveTo>
                  <a:pt x="739419" y="0"/>
                </a:moveTo>
                <a:lnTo>
                  <a:pt x="739419" y="12700"/>
                </a:lnTo>
                <a:moveTo>
                  <a:pt x="745794" y="0"/>
                </a:moveTo>
                <a:lnTo>
                  <a:pt x="745794" y="12700"/>
                </a:lnTo>
                <a:moveTo>
                  <a:pt x="752170" y="0"/>
                </a:moveTo>
                <a:lnTo>
                  <a:pt x="752170" y="12700"/>
                </a:lnTo>
                <a:moveTo>
                  <a:pt x="758545" y="0"/>
                </a:moveTo>
                <a:lnTo>
                  <a:pt x="758545" y="12700"/>
                </a:lnTo>
                <a:moveTo>
                  <a:pt x="764920" y="0"/>
                </a:moveTo>
                <a:lnTo>
                  <a:pt x="764920" y="12700"/>
                </a:lnTo>
                <a:moveTo>
                  <a:pt x="771296" y="0"/>
                </a:moveTo>
                <a:lnTo>
                  <a:pt x="771296" y="12700"/>
                </a:lnTo>
                <a:moveTo>
                  <a:pt x="777671" y="0"/>
                </a:moveTo>
                <a:lnTo>
                  <a:pt x="777671" y="12700"/>
                </a:lnTo>
                <a:moveTo>
                  <a:pt x="784047" y="0"/>
                </a:moveTo>
                <a:lnTo>
                  <a:pt x="784047" y="12700"/>
                </a:lnTo>
                <a:moveTo>
                  <a:pt x="790422" y="0"/>
                </a:moveTo>
                <a:lnTo>
                  <a:pt x="790422" y="12700"/>
                </a:lnTo>
                <a:moveTo>
                  <a:pt x="796785" y="0"/>
                </a:moveTo>
                <a:lnTo>
                  <a:pt x="796785" y="12700"/>
                </a:lnTo>
                <a:moveTo>
                  <a:pt x="803160" y="0"/>
                </a:moveTo>
                <a:lnTo>
                  <a:pt x="803160" y="12700"/>
                </a:lnTo>
                <a:moveTo>
                  <a:pt x="809536" y="0"/>
                </a:moveTo>
                <a:lnTo>
                  <a:pt x="809536" y="12700"/>
                </a:lnTo>
                <a:moveTo>
                  <a:pt x="815911" y="0"/>
                </a:moveTo>
                <a:lnTo>
                  <a:pt x="815911" y="12700"/>
                </a:lnTo>
                <a:moveTo>
                  <a:pt x="822286" y="0"/>
                </a:moveTo>
                <a:lnTo>
                  <a:pt x="822286" y="12700"/>
                </a:lnTo>
                <a:moveTo>
                  <a:pt x="828662" y="0"/>
                </a:moveTo>
                <a:lnTo>
                  <a:pt x="828662" y="12700"/>
                </a:lnTo>
                <a:moveTo>
                  <a:pt x="835037" y="0"/>
                </a:moveTo>
                <a:lnTo>
                  <a:pt x="835037" y="12700"/>
                </a:lnTo>
                <a:moveTo>
                  <a:pt x="841413" y="0"/>
                </a:moveTo>
                <a:lnTo>
                  <a:pt x="841413" y="12700"/>
                </a:lnTo>
                <a:moveTo>
                  <a:pt x="847788" y="0"/>
                </a:moveTo>
                <a:lnTo>
                  <a:pt x="847788" y="12700"/>
                </a:lnTo>
                <a:moveTo>
                  <a:pt x="854163" y="0"/>
                </a:moveTo>
                <a:lnTo>
                  <a:pt x="854163" y="12700"/>
                </a:lnTo>
                <a:moveTo>
                  <a:pt x="860539" y="0"/>
                </a:moveTo>
                <a:lnTo>
                  <a:pt x="860539" y="12700"/>
                </a:lnTo>
                <a:moveTo>
                  <a:pt x="866914" y="0"/>
                </a:moveTo>
                <a:lnTo>
                  <a:pt x="866914" y="12700"/>
                </a:lnTo>
                <a:moveTo>
                  <a:pt x="873277" y="0"/>
                </a:moveTo>
                <a:lnTo>
                  <a:pt x="873277" y="12700"/>
                </a:lnTo>
                <a:moveTo>
                  <a:pt x="879652" y="0"/>
                </a:moveTo>
                <a:lnTo>
                  <a:pt x="879652" y="12700"/>
                </a:lnTo>
                <a:moveTo>
                  <a:pt x="886028" y="0"/>
                </a:moveTo>
                <a:lnTo>
                  <a:pt x="886028" y="12700"/>
                </a:lnTo>
                <a:moveTo>
                  <a:pt x="892403" y="0"/>
                </a:moveTo>
                <a:lnTo>
                  <a:pt x="892403" y="12700"/>
                </a:lnTo>
                <a:moveTo>
                  <a:pt x="898778" y="0"/>
                </a:moveTo>
                <a:lnTo>
                  <a:pt x="898778" y="12700"/>
                </a:lnTo>
                <a:moveTo>
                  <a:pt x="905154" y="0"/>
                </a:moveTo>
                <a:lnTo>
                  <a:pt x="905154" y="12700"/>
                </a:lnTo>
                <a:moveTo>
                  <a:pt x="911529" y="0"/>
                </a:moveTo>
                <a:lnTo>
                  <a:pt x="911529" y="12700"/>
                </a:lnTo>
                <a:moveTo>
                  <a:pt x="917905" y="0"/>
                </a:moveTo>
                <a:lnTo>
                  <a:pt x="917905" y="12700"/>
                </a:lnTo>
                <a:moveTo>
                  <a:pt x="924280" y="0"/>
                </a:moveTo>
                <a:lnTo>
                  <a:pt x="924280" y="12700"/>
                </a:lnTo>
                <a:moveTo>
                  <a:pt x="930655" y="0"/>
                </a:moveTo>
                <a:lnTo>
                  <a:pt x="930655" y="12700"/>
                </a:lnTo>
                <a:moveTo>
                  <a:pt x="937031" y="0"/>
                </a:moveTo>
                <a:lnTo>
                  <a:pt x="937031" y="12700"/>
                </a:lnTo>
                <a:moveTo>
                  <a:pt x="943406" y="0"/>
                </a:moveTo>
                <a:lnTo>
                  <a:pt x="943406" y="12700"/>
                </a:lnTo>
                <a:moveTo>
                  <a:pt x="949769" y="0"/>
                </a:moveTo>
                <a:lnTo>
                  <a:pt x="949769" y="12700"/>
                </a:lnTo>
                <a:moveTo>
                  <a:pt x="956144" y="0"/>
                </a:moveTo>
                <a:lnTo>
                  <a:pt x="956144" y="12700"/>
                </a:lnTo>
                <a:moveTo>
                  <a:pt x="962520" y="0"/>
                </a:moveTo>
                <a:lnTo>
                  <a:pt x="962520" y="12700"/>
                </a:lnTo>
                <a:moveTo>
                  <a:pt x="968895" y="0"/>
                </a:moveTo>
                <a:lnTo>
                  <a:pt x="968895" y="12700"/>
                </a:lnTo>
                <a:moveTo>
                  <a:pt x="975271" y="0"/>
                </a:moveTo>
                <a:lnTo>
                  <a:pt x="975271" y="12700"/>
                </a:lnTo>
                <a:moveTo>
                  <a:pt x="981646" y="0"/>
                </a:moveTo>
                <a:lnTo>
                  <a:pt x="981646" y="12700"/>
                </a:lnTo>
                <a:moveTo>
                  <a:pt x="988021" y="0"/>
                </a:moveTo>
                <a:lnTo>
                  <a:pt x="988021" y="12700"/>
                </a:lnTo>
                <a:moveTo>
                  <a:pt x="994397" y="0"/>
                </a:moveTo>
                <a:lnTo>
                  <a:pt x="994397" y="12700"/>
                </a:lnTo>
                <a:moveTo>
                  <a:pt x="1000772" y="0"/>
                </a:moveTo>
                <a:lnTo>
                  <a:pt x="1000772" y="12700"/>
                </a:lnTo>
                <a:moveTo>
                  <a:pt x="1007148" y="0"/>
                </a:moveTo>
                <a:lnTo>
                  <a:pt x="1007148" y="12700"/>
                </a:lnTo>
                <a:moveTo>
                  <a:pt x="1013523" y="0"/>
                </a:moveTo>
                <a:lnTo>
                  <a:pt x="1013523" y="12700"/>
                </a:lnTo>
                <a:moveTo>
                  <a:pt x="1019886" y="0"/>
                </a:moveTo>
                <a:lnTo>
                  <a:pt x="1019886" y="12700"/>
                </a:lnTo>
                <a:moveTo>
                  <a:pt x="1026261" y="0"/>
                </a:moveTo>
                <a:lnTo>
                  <a:pt x="1026261" y="12700"/>
                </a:lnTo>
                <a:moveTo>
                  <a:pt x="1032636" y="0"/>
                </a:moveTo>
                <a:lnTo>
                  <a:pt x="1032636" y="12700"/>
                </a:lnTo>
                <a:moveTo>
                  <a:pt x="1039012" y="0"/>
                </a:moveTo>
                <a:lnTo>
                  <a:pt x="1039012" y="12700"/>
                </a:lnTo>
                <a:moveTo>
                  <a:pt x="1045387" y="0"/>
                </a:moveTo>
                <a:lnTo>
                  <a:pt x="1045387" y="12700"/>
                </a:lnTo>
                <a:moveTo>
                  <a:pt x="1051763" y="0"/>
                </a:moveTo>
                <a:lnTo>
                  <a:pt x="1051763" y="12700"/>
                </a:lnTo>
                <a:moveTo>
                  <a:pt x="1058138" y="0"/>
                </a:moveTo>
                <a:lnTo>
                  <a:pt x="1058138" y="12700"/>
                </a:lnTo>
                <a:moveTo>
                  <a:pt x="1064513" y="0"/>
                </a:moveTo>
                <a:lnTo>
                  <a:pt x="1064513" y="12700"/>
                </a:lnTo>
                <a:moveTo>
                  <a:pt x="1070889" y="0"/>
                </a:moveTo>
                <a:lnTo>
                  <a:pt x="1070889" y="12700"/>
                </a:lnTo>
                <a:moveTo>
                  <a:pt x="1077264" y="0"/>
                </a:moveTo>
                <a:lnTo>
                  <a:pt x="1077264" y="12700"/>
                </a:lnTo>
                <a:moveTo>
                  <a:pt x="1083640" y="0"/>
                </a:moveTo>
                <a:lnTo>
                  <a:pt x="1083640" y="12700"/>
                </a:lnTo>
                <a:moveTo>
                  <a:pt x="1090015" y="0"/>
                </a:moveTo>
                <a:lnTo>
                  <a:pt x="1090015" y="12700"/>
                </a:lnTo>
                <a:moveTo>
                  <a:pt x="1096378" y="0"/>
                </a:moveTo>
                <a:lnTo>
                  <a:pt x="1096378" y="12700"/>
                </a:lnTo>
                <a:moveTo>
                  <a:pt x="1102753" y="0"/>
                </a:moveTo>
                <a:lnTo>
                  <a:pt x="1102753" y="12700"/>
                </a:lnTo>
                <a:moveTo>
                  <a:pt x="1109129" y="0"/>
                </a:moveTo>
                <a:lnTo>
                  <a:pt x="1109129" y="12700"/>
                </a:lnTo>
                <a:moveTo>
                  <a:pt x="1115504" y="0"/>
                </a:moveTo>
                <a:lnTo>
                  <a:pt x="1115504" y="12700"/>
                </a:lnTo>
                <a:moveTo>
                  <a:pt x="1121879" y="0"/>
                </a:moveTo>
                <a:lnTo>
                  <a:pt x="1121879" y="12700"/>
                </a:lnTo>
                <a:moveTo>
                  <a:pt x="1128255" y="0"/>
                </a:moveTo>
                <a:lnTo>
                  <a:pt x="1128255" y="12700"/>
                </a:lnTo>
                <a:moveTo>
                  <a:pt x="1134630" y="0"/>
                </a:moveTo>
                <a:lnTo>
                  <a:pt x="1134630" y="12700"/>
                </a:lnTo>
                <a:moveTo>
                  <a:pt x="1141006" y="0"/>
                </a:moveTo>
                <a:lnTo>
                  <a:pt x="1141006" y="12700"/>
                </a:lnTo>
                <a:moveTo>
                  <a:pt x="1147381" y="0"/>
                </a:moveTo>
                <a:lnTo>
                  <a:pt x="1147381" y="12700"/>
                </a:lnTo>
                <a:moveTo>
                  <a:pt x="1153756" y="0"/>
                </a:moveTo>
                <a:lnTo>
                  <a:pt x="1153756" y="12700"/>
                </a:lnTo>
                <a:moveTo>
                  <a:pt x="1160132" y="0"/>
                </a:moveTo>
                <a:lnTo>
                  <a:pt x="1160132" y="12700"/>
                </a:lnTo>
                <a:moveTo>
                  <a:pt x="1166507" y="0"/>
                </a:moveTo>
                <a:lnTo>
                  <a:pt x="1166507" y="12700"/>
                </a:lnTo>
                <a:moveTo>
                  <a:pt x="1172870" y="0"/>
                </a:moveTo>
                <a:lnTo>
                  <a:pt x="1172870" y="12700"/>
                </a:lnTo>
                <a:moveTo>
                  <a:pt x="1179245" y="0"/>
                </a:moveTo>
                <a:lnTo>
                  <a:pt x="1179245" y="12700"/>
                </a:lnTo>
                <a:moveTo>
                  <a:pt x="1185621" y="0"/>
                </a:moveTo>
                <a:lnTo>
                  <a:pt x="1185621" y="12700"/>
                </a:lnTo>
              </a:path>
            </a:pathLst>
          </a:custGeom>
          <a:noFill/>
          <a:ln w="2374" cap="flat" cmpd="sng">
            <a:solidFill>
              <a:srgbClr val="72716E">
                <a:alpha val="100000"/>
              </a:srgbClr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tr-TR" dirty="0">
              <a:latin typeface="EYInterstate Light" panose="02000506000000020004" pitchFamily="2" charset="0"/>
            </a:endParaRPr>
          </a:p>
        </p:txBody>
      </p:sp>
      <p:pic>
        <p:nvPicPr>
          <p:cNvPr id="272" name="Picture 812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26978" y="1810770"/>
            <a:ext cx="575692" cy="409046"/>
          </a:xfrm>
          <a:prstGeom prst="rect">
            <a:avLst/>
          </a:prstGeom>
          <a:noFill/>
          <a:extLst/>
        </p:spPr>
      </p:pic>
      <p:sp>
        <p:nvSpPr>
          <p:cNvPr id="273" name="TextBox 272"/>
          <p:cNvSpPr txBox="1"/>
          <p:nvPr/>
        </p:nvSpPr>
        <p:spPr>
          <a:xfrm>
            <a:off x="5414268" y="2792936"/>
            <a:ext cx="1800548" cy="253761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algn="l">
              <a:spcAft>
                <a:spcPts val="300"/>
              </a:spcAft>
            </a:pP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F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ina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ns </a:t>
            </a:r>
            <a:r>
              <a:rPr lang="tr-TR" sz="1400" b="1" spc="-33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v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 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Mu</a:t>
            </a:r>
            <a:r>
              <a:rPr lang="tr-TR" sz="1400" b="1" spc="-17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ha</a:t>
            </a:r>
            <a:r>
              <a:rPr lang="tr-TR" sz="1400" b="1" spc="-26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</a:t>
            </a:r>
            <a:r>
              <a:rPr lang="tr-TR" sz="1400" b="1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b</a:t>
            </a:r>
            <a:r>
              <a:rPr lang="tr-TR" sz="1400" b="1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e</a:t>
            </a:r>
          </a:p>
          <a:p>
            <a:pPr marL="0" algn="l">
              <a:spcAft>
                <a:spcPts val="300"/>
              </a:spcAft>
            </a:pPr>
            <a:endParaRPr lang="tr-TR" sz="1400" b="1" dirty="0" smtClean="0">
              <a:solidFill>
                <a:srgbClr val="1A1A1A"/>
              </a:solidFill>
              <a:latin typeface="EYInterstate Light" panose="02000506000000020004" pitchFamily="2" charset="0"/>
            </a:endParaRP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atış Emr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iparişten tahsilata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ahsilat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Satın almadan ödemeye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eşvik primi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Kayıttan raporlamaya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Yeni tedarikçi alımı</a:t>
            </a:r>
          </a:p>
          <a:p>
            <a:pPr marL="171450" indent="-171450" algn="l">
              <a:spcAft>
                <a:spcPts val="300"/>
              </a:spcAft>
              <a:buClr>
                <a:srgbClr val="FFE600"/>
              </a:buClr>
              <a:buSzPct val="125000"/>
              <a:buFont typeface="Arial" panose="020B0604020202020204" pitchFamily="34" charset="0"/>
              <a:buChar char="•"/>
            </a:pPr>
            <a:r>
              <a:rPr lang="tr-TR" sz="1400" spc="-18" dirty="0" smtClean="0">
                <a:solidFill>
                  <a:srgbClr val="1A1A1A"/>
                </a:solidFill>
                <a:latin typeface="EYInterstate Light" panose="02000506000000020004" pitchFamily="2" charset="0"/>
              </a:rPr>
              <a:t>Trend  takibi</a:t>
            </a:r>
            <a:endParaRPr lang="tr-TR" sz="1400" b="1" dirty="0">
              <a:solidFill>
                <a:srgbClr val="1A1A1A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59138" y="1529468"/>
            <a:ext cx="4359464" cy="4734753"/>
            <a:chOff x="459138" y="1529468"/>
            <a:chExt cx="4359464" cy="4734753"/>
          </a:xfrm>
        </p:grpSpPr>
        <p:sp>
          <p:nvSpPr>
            <p:cNvPr id="287" name="Freeform 947"/>
            <p:cNvSpPr/>
            <p:nvPr/>
          </p:nvSpPr>
          <p:spPr>
            <a:xfrm>
              <a:off x="2497302" y="2811265"/>
              <a:ext cx="0" cy="534619"/>
            </a:xfrm>
            <a:custGeom>
              <a:avLst/>
              <a:gdLst/>
              <a:ahLst/>
              <a:cxnLst/>
              <a:rect l="0" t="0" r="0" b="0"/>
              <a:pathLst>
                <a:path h="534619">
                  <a:moveTo>
                    <a:pt x="0" y="0"/>
                  </a:moveTo>
                  <a:lnTo>
                    <a:pt x="0" y="534619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88" name="Freeform 948"/>
            <p:cNvSpPr/>
            <p:nvPr/>
          </p:nvSpPr>
          <p:spPr>
            <a:xfrm>
              <a:off x="2471902" y="2785865"/>
              <a:ext cx="50800" cy="50800"/>
            </a:xfrm>
            <a:custGeom>
              <a:avLst/>
              <a:gdLst/>
              <a:ahLst/>
              <a:cxnLst/>
              <a:rect l="0" t="0" r="0" b="0"/>
              <a:pathLst>
                <a:path w="50800" h="50800">
                  <a:moveTo>
                    <a:pt x="25400" y="50800"/>
                  </a:moveTo>
                  <a:cubicBezTo>
                    <a:pt x="39433" y="50800"/>
                    <a:pt x="50800" y="39421"/>
                    <a:pt x="50800" y="25400"/>
                  </a:cubicBezTo>
                  <a:cubicBezTo>
                    <a:pt x="50800" y="11380"/>
                    <a:pt x="39433" y="0"/>
                    <a:pt x="25400" y="0"/>
                  </a:cubicBezTo>
                  <a:cubicBezTo>
                    <a:pt x="11367" y="0"/>
                    <a:pt x="0" y="11380"/>
                    <a:pt x="0" y="25400"/>
                  </a:cubicBezTo>
                  <a:cubicBezTo>
                    <a:pt x="0" y="39421"/>
                    <a:pt x="11367" y="50800"/>
                    <a:pt x="25400" y="50800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89" name="Freeform 949"/>
            <p:cNvSpPr/>
            <p:nvPr/>
          </p:nvSpPr>
          <p:spPr>
            <a:xfrm>
              <a:off x="2678462" y="4368203"/>
              <a:ext cx="292620" cy="657237"/>
            </a:xfrm>
            <a:custGeom>
              <a:avLst/>
              <a:gdLst/>
              <a:ahLst/>
              <a:cxnLst/>
              <a:rect l="0" t="0" r="0" b="0"/>
              <a:pathLst>
                <a:path w="292620" h="657237">
                  <a:moveTo>
                    <a:pt x="0" y="0"/>
                  </a:moveTo>
                  <a:lnTo>
                    <a:pt x="292620" y="657237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0" name="Freeform 950"/>
            <p:cNvSpPr/>
            <p:nvPr/>
          </p:nvSpPr>
          <p:spPr>
            <a:xfrm>
              <a:off x="2942175" y="4996540"/>
              <a:ext cx="57822" cy="57810"/>
            </a:xfrm>
            <a:custGeom>
              <a:avLst/>
              <a:gdLst/>
              <a:ahLst/>
              <a:cxnLst/>
              <a:rect l="0" t="0" r="0" b="0"/>
              <a:pathLst>
                <a:path w="57822" h="57810">
                  <a:moveTo>
                    <a:pt x="39242" y="52108"/>
                  </a:moveTo>
                  <a:cubicBezTo>
                    <a:pt x="52056" y="46406"/>
                    <a:pt x="57822" y="31382"/>
                    <a:pt x="52119" y="18568"/>
                  </a:cubicBezTo>
                  <a:cubicBezTo>
                    <a:pt x="46404" y="5766"/>
                    <a:pt x="31394" y="0"/>
                    <a:pt x="18580" y="5703"/>
                  </a:cubicBezTo>
                  <a:cubicBezTo>
                    <a:pt x="5765" y="11405"/>
                    <a:pt x="0" y="26429"/>
                    <a:pt x="5702" y="39231"/>
                  </a:cubicBezTo>
                  <a:cubicBezTo>
                    <a:pt x="11417" y="52045"/>
                    <a:pt x="26428" y="57810"/>
                    <a:pt x="39242" y="52108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1" name="Freeform 951"/>
            <p:cNvSpPr/>
            <p:nvPr/>
          </p:nvSpPr>
          <p:spPr>
            <a:xfrm>
              <a:off x="2073395" y="4354827"/>
              <a:ext cx="292925" cy="657910"/>
            </a:xfrm>
            <a:custGeom>
              <a:avLst/>
              <a:gdLst/>
              <a:ahLst/>
              <a:cxnLst/>
              <a:rect l="0" t="0" r="0" b="0"/>
              <a:pathLst>
                <a:path w="292925" h="657910">
                  <a:moveTo>
                    <a:pt x="292925" y="0"/>
                  </a:moveTo>
                  <a:lnTo>
                    <a:pt x="0" y="657910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2" name="Freeform 952"/>
            <p:cNvSpPr/>
            <p:nvPr/>
          </p:nvSpPr>
          <p:spPr>
            <a:xfrm>
              <a:off x="2044487" y="4983840"/>
              <a:ext cx="57822" cy="57810"/>
            </a:xfrm>
            <a:custGeom>
              <a:avLst/>
              <a:gdLst/>
              <a:ahLst/>
              <a:cxnLst/>
              <a:rect l="0" t="0" r="0" b="0"/>
              <a:pathLst>
                <a:path w="57822" h="57810">
                  <a:moveTo>
                    <a:pt x="18580" y="52108"/>
                  </a:moveTo>
                  <a:cubicBezTo>
                    <a:pt x="5766" y="46406"/>
                    <a:pt x="0" y="31382"/>
                    <a:pt x="5703" y="18568"/>
                  </a:cubicBezTo>
                  <a:cubicBezTo>
                    <a:pt x="11418" y="5766"/>
                    <a:pt x="26428" y="0"/>
                    <a:pt x="39242" y="5703"/>
                  </a:cubicBezTo>
                  <a:cubicBezTo>
                    <a:pt x="52057" y="11405"/>
                    <a:pt x="57822" y="26429"/>
                    <a:pt x="52120" y="39231"/>
                  </a:cubicBezTo>
                  <a:cubicBezTo>
                    <a:pt x="46405" y="52045"/>
                    <a:pt x="31394" y="57810"/>
                    <a:pt x="18580" y="52108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3" name="Freeform 953"/>
            <p:cNvSpPr/>
            <p:nvPr/>
          </p:nvSpPr>
          <p:spPr>
            <a:xfrm>
              <a:off x="2978858" y="3237702"/>
              <a:ext cx="421284" cy="329145"/>
            </a:xfrm>
            <a:custGeom>
              <a:avLst/>
              <a:gdLst/>
              <a:ahLst/>
              <a:cxnLst/>
              <a:rect l="0" t="0" r="0" b="0"/>
              <a:pathLst>
                <a:path w="421284" h="329145">
                  <a:moveTo>
                    <a:pt x="421284" y="0"/>
                  </a:moveTo>
                  <a:lnTo>
                    <a:pt x="0" y="329145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4" name="Freeform 954"/>
            <p:cNvSpPr/>
            <p:nvPr/>
          </p:nvSpPr>
          <p:spPr>
            <a:xfrm>
              <a:off x="3371488" y="3209053"/>
              <a:ext cx="57302" cy="57301"/>
            </a:xfrm>
            <a:custGeom>
              <a:avLst/>
              <a:gdLst/>
              <a:ahLst/>
              <a:cxnLst/>
              <a:rect l="0" t="0" r="0" b="0"/>
              <a:pathLst>
                <a:path w="57302" h="57301">
                  <a:moveTo>
                    <a:pt x="8636" y="44284"/>
                  </a:moveTo>
                  <a:cubicBezTo>
                    <a:pt x="17272" y="55345"/>
                    <a:pt x="33235" y="57301"/>
                    <a:pt x="44297" y="48665"/>
                  </a:cubicBezTo>
                  <a:cubicBezTo>
                    <a:pt x="55346" y="40030"/>
                    <a:pt x="57302" y="24066"/>
                    <a:pt x="48666" y="13004"/>
                  </a:cubicBezTo>
                  <a:cubicBezTo>
                    <a:pt x="40030" y="1955"/>
                    <a:pt x="24066" y="0"/>
                    <a:pt x="13017" y="8636"/>
                  </a:cubicBezTo>
                  <a:cubicBezTo>
                    <a:pt x="1969" y="17272"/>
                    <a:pt x="0" y="33235"/>
                    <a:pt x="8636" y="44284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5" name="Freeform 955"/>
            <p:cNvSpPr/>
            <p:nvPr/>
          </p:nvSpPr>
          <p:spPr>
            <a:xfrm>
              <a:off x="1632080" y="3288502"/>
              <a:ext cx="421284" cy="329145"/>
            </a:xfrm>
            <a:custGeom>
              <a:avLst/>
              <a:gdLst/>
              <a:ahLst/>
              <a:cxnLst/>
              <a:rect l="0" t="0" r="0" b="0"/>
              <a:pathLst>
                <a:path w="421284" h="329145">
                  <a:moveTo>
                    <a:pt x="0" y="0"/>
                  </a:moveTo>
                  <a:lnTo>
                    <a:pt x="421284" y="329145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6" name="Freeform 956"/>
            <p:cNvSpPr/>
            <p:nvPr/>
          </p:nvSpPr>
          <p:spPr>
            <a:xfrm>
              <a:off x="1603431" y="3259853"/>
              <a:ext cx="57302" cy="57301"/>
            </a:xfrm>
            <a:custGeom>
              <a:avLst/>
              <a:gdLst/>
              <a:ahLst/>
              <a:cxnLst/>
              <a:rect l="0" t="0" r="0" b="0"/>
              <a:pathLst>
                <a:path w="57302" h="57301">
                  <a:moveTo>
                    <a:pt x="48666" y="44284"/>
                  </a:moveTo>
                  <a:cubicBezTo>
                    <a:pt x="40030" y="55345"/>
                    <a:pt x="24067" y="57301"/>
                    <a:pt x="13005" y="48665"/>
                  </a:cubicBezTo>
                  <a:cubicBezTo>
                    <a:pt x="1956" y="40030"/>
                    <a:pt x="0" y="24066"/>
                    <a:pt x="8636" y="13004"/>
                  </a:cubicBezTo>
                  <a:cubicBezTo>
                    <a:pt x="17272" y="1955"/>
                    <a:pt x="33236" y="0"/>
                    <a:pt x="44285" y="8636"/>
                  </a:cubicBezTo>
                  <a:cubicBezTo>
                    <a:pt x="55333" y="17272"/>
                    <a:pt x="57302" y="33235"/>
                    <a:pt x="48666" y="44284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7" name="Freeform 957"/>
            <p:cNvSpPr/>
            <p:nvPr/>
          </p:nvSpPr>
          <p:spPr>
            <a:xfrm>
              <a:off x="1475956" y="4085198"/>
              <a:ext cx="513905" cy="147358"/>
            </a:xfrm>
            <a:custGeom>
              <a:avLst/>
              <a:gdLst/>
              <a:ahLst/>
              <a:cxnLst/>
              <a:rect l="0" t="0" r="0" b="0"/>
              <a:pathLst>
                <a:path w="513905" h="147358">
                  <a:moveTo>
                    <a:pt x="0" y="147358"/>
                  </a:moveTo>
                  <a:lnTo>
                    <a:pt x="513905" y="0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8" name="Freeform 958"/>
            <p:cNvSpPr/>
            <p:nvPr/>
          </p:nvSpPr>
          <p:spPr>
            <a:xfrm>
              <a:off x="1447668" y="4204271"/>
              <a:ext cx="56565" cy="56565"/>
            </a:xfrm>
            <a:custGeom>
              <a:avLst/>
              <a:gdLst/>
              <a:ahLst/>
              <a:cxnLst/>
              <a:rect l="0" t="0" r="0" b="0"/>
              <a:pathLst>
                <a:path w="56565" h="56565">
                  <a:moveTo>
                    <a:pt x="52705" y="21285"/>
                  </a:moveTo>
                  <a:cubicBezTo>
                    <a:pt x="56565" y="34772"/>
                    <a:pt x="48768" y="48831"/>
                    <a:pt x="35294" y="52704"/>
                  </a:cubicBezTo>
                  <a:cubicBezTo>
                    <a:pt x="21806" y="56565"/>
                    <a:pt x="7735" y="48767"/>
                    <a:pt x="3874" y="35293"/>
                  </a:cubicBezTo>
                  <a:cubicBezTo>
                    <a:pt x="0" y="21805"/>
                    <a:pt x="7798" y="7735"/>
                    <a:pt x="21286" y="3874"/>
                  </a:cubicBezTo>
                  <a:cubicBezTo>
                    <a:pt x="34773" y="0"/>
                    <a:pt x="48845" y="7798"/>
                    <a:pt x="52705" y="21285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299" name="Freeform 959"/>
            <p:cNvSpPr/>
            <p:nvPr/>
          </p:nvSpPr>
          <p:spPr>
            <a:xfrm>
              <a:off x="3064737" y="4058836"/>
              <a:ext cx="522935" cy="111150"/>
            </a:xfrm>
            <a:custGeom>
              <a:avLst/>
              <a:gdLst/>
              <a:ahLst/>
              <a:cxnLst/>
              <a:rect l="0" t="0" r="0" b="0"/>
              <a:pathLst>
                <a:path w="522935" h="111150">
                  <a:moveTo>
                    <a:pt x="0" y="0"/>
                  </a:moveTo>
                  <a:lnTo>
                    <a:pt x="522935" y="111150"/>
                  </a:lnTo>
                </a:path>
              </a:pathLst>
            </a:custGeom>
            <a:noFill/>
            <a:ln w="12700" cap="flat" cmpd="sng">
              <a:solidFill>
                <a:srgbClr val="C2C0BC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0" name="Freeform 960"/>
            <p:cNvSpPr/>
            <p:nvPr/>
          </p:nvSpPr>
          <p:spPr>
            <a:xfrm>
              <a:off x="3559911" y="4142224"/>
              <a:ext cx="55524" cy="55523"/>
            </a:xfrm>
            <a:custGeom>
              <a:avLst/>
              <a:gdLst/>
              <a:ahLst/>
              <a:cxnLst/>
              <a:rect l="0" t="0" r="0" b="0"/>
              <a:pathLst>
                <a:path w="55524" h="55523">
                  <a:moveTo>
                    <a:pt x="52603" y="33045"/>
                  </a:moveTo>
                  <a:cubicBezTo>
                    <a:pt x="49682" y="46773"/>
                    <a:pt x="36195" y="55523"/>
                    <a:pt x="22479" y="52615"/>
                  </a:cubicBezTo>
                  <a:cubicBezTo>
                    <a:pt x="8763" y="49694"/>
                    <a:pt x="0" y="36207"/>
                    <a:pt x="2908" y="22479"/>
                  </a:cubicBezTo>
                  <a:cubicBezTo>
                    <a:pt x="5829" y="8763"/>
                    <a:pt x="19317" y="0"/>
                    <a:pt x="33033" y="2921"/>
                  </a:cubicBezTo>
                  <a:cubicBezTo>
                    <a:pt x="46761" y="5842"/>
                    <a:pt x="55524" y="19329"/>
                    <a:pt x="52603" y="33045"/>
                  </a:cubicBezTo>
                </a:path>
              </a:pathLst>
            </a:custGeom>
            <a:solidFill>
              <a:srgbClr val="C2C0BC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1" name="Freeform 961"/>
            <p:cNvSpPr/>
            <p:nvPr/>
          </p:nvSpPr>
          <p:spPr>
            <a:xfrm>
              <a:off x="1862402" y="3224169"/>
              <a:ext cx="1332000" cy="1332001"/>
            </a:xfrm>
            <a:custGeom>
              <a:avLst/>
              <a:gdLst/>
              <a:ahLst/>
              <a:cxnLst/>
              <a:rect l="0" t="0" r="0" b="0"/>
              <a:pathLst>
                <a:path w="1332000" h="1332001">
                  <a:moveTo>
                    <a:pt x="666000" y="1332001"/>
                  </a:moveTo>
                  <a:cubicBezTo>
                    <a:pt x="1033817" y="1332001"/>
                    <a:pt x="1332000" y="1033818"/>
                    <a:pt x="1332000" y="666001"/>
                  </a:cubicBezTo>
                  <a:cubicBezTo>
                    <a:pt x="1332000" y="298183"/>
                    <a:pt x="1033817" y="0"/>
                    <a:pt x="666000" y="0"/>
                  </a:cubicBezTo>
                  <a:cubicBezTo>
                    <a:pt x="298183" y="0"/>
                    <a:pt x="0" y="298183"/>
                    <a:pt x="0" y="666001"/>
                  </a:cubicBezTo>
                  <a:cubicBezTo>
                    <a:pt x="0" y="1033818"/>
                    <a:pt x="298183" y="1332001"/>
                    <a:pt x="666000" y="1332001"/>
                  </a:cubicBezTo>
                </a:path>
              </a:pathLst>
            </a:custGeom>
            <a:solidFill>
              <a:srgbClr val="FFD42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2" name="Freeform 962"/>
            <p:cNvSpPr/>
            <p:nvPr/>
          </p:nvSpPr>
          <p:spPr>
            <a:xfrm>
              <a:off x="2641327" y="3403700"/>
              <a:ext cx="7924" cy="75297"/>
            </a:xfrm>
            <a:custGeom>
              <a:avLst/>
              <a:gdLst/>
              <a:ahLst/>
              <a:cxnLst/>
              <a:rect l="0" t="0" r="0" b="0"/>
              <a:pathLst>
                <a:path w="7924" h="75297">
                  <a:moveTo>
                    <a:pt x="5384" y="62496"/>
                  </a:moveTo>
                  <a:cubicBezTo>
                    <a:pt x="7047" y="55016"/>
                    <a:pt x="7924" y="47244"/>
                    <a:pt x="7924" y="39065"/>
                  </a:cubicBezTo>
                  <a:cubicBezTo>
                    <a:pt x="7924" y="30594"/>
                    <a:pt x="6946" y="22428"/>
                    <a:pt x="5219" y="14745"/>
                  </a:cubicBezTo>
                  <a:cubicBezTo>
                    <a:pt x="2387" y="1575"/>
                    <a:pt x="0" y="0"/>
                    <a:pt x="1651" y="10427"/>
                  </a:cubicBezTo>
                  <a:cubicBezTo>
                    <a:pt x="2692" y="16650"/>
                    <a:pt x="3225" y="23038"/>
                    <a:pt x="3225" y="29502"/>
                  </a:cubicBezTo>
                  <a:cubicBezTo>
                    <a:pt x="3225" y="40856"/>
                    <a:pt x="2768" y="51079"/>
                    <a:pt x="1841" y="60337"/>
                  </a:cubicBezTo>
                  <a:cubicBezTo>
                    <a:pt x="508" y="73913"/>
                    <a:pt x="2591" y="75297"/>
                    <a:pt x="5384" y="62496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3" name="Freeform 963"/>
            <p:cNvSpPr/>
            <p:nvPr/>
          </p:nvSpPr>
          <p:spPr>
            <a:xfrm>
              <a:off x="2429738" y="3403701"/>
              <a:ext cx="7899" cy="75297"/>
            </a:xfrm>
            <a:custGeom>
              <a:avLst/>
              <a:gdLst/>
              <a:ahLst/>
              <a:cxnLst/>
              <a:rect l="0" t="0" r="0" b="0"/>
              <a:pathLst>
                <a:path w="7899" h="75297">
                  <a:moveTo>
                    <a:pt x="2616" y="14744"/>
                  </a:moveTo>
                  <a:cubicBezTo>
                    <a:pt x="953" y="22427"/>
                    <a:pt x="0" y="30593"/>
                    <a:pt x="0" y="39064"/>
                  </a:cubicBezTo>
                  <a:cubicBezTo>
                    <a:pt x="0" y="47243"/>
                    <a:pt x="851" y="55015"/>
                    <a:pt x="2540" y="62495"/>
                  </a:cubicBezTo>
                  <a:cubicBezTo>
                    <a:pt x="5308" y="75297"/>
                    <a:pt x="7391" y="73913"/>
                    <a:pt x="6095" y="60324"/>
                  </a:cubicBezTo>
                  <a:cubicBezTo>
                    <a:pt x="5130" y="51078"/>
                    <a:pt x="4724" y="40855"/>
                    <a:pt x="4724" y="29488"/>
                  </a:cubicBezTo>
                  <a:cubicBezTo>
                    <a:pt x="4724" y="23037"/>
                    <a:pt x="5232" y="16649"/>
                    <a:pt x="6273" y="10426"/>
                  </a:cubicBezTo>
                  <a:cubicBezTo>
                    <a:pt x="7899" y="0"/>
                    <a:pt x="5587" y="1575"/>
                    <a:pt x="2616" y="14744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4" name="Freeform 964"/>
            <p:cNvSpPr/>
            <p:nvPr/>
          </p:nvSpPr>
          <p:spPr>
            <a:xfrm>
              <a:off x="2445333" y="3326113"/>
              <a:ext cx="188328" cy="175806"/>
            </a:xfrm>
            <a:custGeom>
              <a:avLst/>
              <a:gdLst/>
              <a:ahLst/>
              <a:cxnLst/>
              <a:rect l="0" t="0" r="0" b="0"/>
              <a:pathLst>
                <a:path w="188328" h="175806">
                  <a:moveTo>
                    <a:pt x="94234" y="0"/>
                  </a:moveTo>
                  <a:cubicBezTo>
                    <a:pt x="66701" y="0"/>
                    <a:pt x="42241" y="13576"/>
                    <a:pt x="25070" y="34950"/>
                  </a:cubicBezTo>
                  <a:cubicBezTo>
                    <a:pt x="9678" y="53962"/>
                    <a:pt x="0" y="79159"/>
                    <a:pt x="0" y="106997"/>
                  </a:cubicBezTo>
                  <a:cubicBezTo>
                    <a:pt x="0" y="126987"/>
                    <a:pt x="1461" y="143141"/>
                    <a:pt x="4255" y="156337"/>
                  </a:cubicBezTo>
                  <a:cubicBezTo>
                    <a:pt x="6973" y="169621"/>
                    <a:pt x="10389" y="175513"/>
                    <a:pt x="9462" y="170395"/>
                  </a:cubicBezTo>
                  <a:cubicBezTo>
                    <a:pt x="9043" y="167246"/>
                    <a:pt x="8725" y="164109"/>
                    <a:pt x="8725" y="160845"/>
                  </a:cubicBezTo>
                  <a:cubicBezTo>
                    <a:pt x="8090" y="144411"/>
                    <a:pt x="7849" y="133286"/>
                    <a:pt x="7455" y="120599"/>
                  </a:cubicBezTo>
                  <a:lnTo>
                    <a:pt x="6871" y="97548"/>
                  </a:lnTo>
                  <a:cubicBezTo>
                    <a:pt x="6871" y="60147"/>
                    <a:pt x="41021" y="32219"/>
                    <a:pt x="71375" y="32219"/>
                  </a:cubicBezTo>
                  <a:lnTo>
                    <a:pt x="116941" y="32219"/>
                  </a:lnTo>
                  <a:cubicBezTo>
                    <a:pt x="147408" y="32219"/>
                    <a:pt x="181444" y="60147"/>
                    <a:pt x="181444" y="98043"/>
                  </a:cubicBezTo>
                  <a:lnTo>
                    <a:pt x="180822" y="120510"/>
                  </a:lnTo>
                  <a:cubicBezTo>
                    <a:pt x="180492" y="133286"/>
                    <a:pt x="180251" y="144411"/>
                    <a:pt x="179717" y="160464"/>
                  </a:cubicBezTo>
                  <a:cubicBezTo>
                    <a:pt x="179616" y="163893"/>
                    <a:pt x="179362" y="167144"/>
                    <a:pt x="178815" y="170395"/>
                  </a:cubicBezTo>
                  <a:cubicBezTo>
                    <a:pt x="177863" y="175806"/>
                    <a:pt x="181305" y="170179"/>
                    <a:pt x="184061" y="156908"/>
                  </a:cubicBezTo>
                  <a:cubicBezTo>
                    <a:pt x="186842" y="143649"/>
                    <a:pt x="188328" y="127279"/>
                    <a:pt x="188328" y="107086"/>
                  </a:cubicBezTo>
                  <a:cubicBezTo>
                    <a:pt x="188328" y="79159"/>
                    <a:pt x="178752" y="53962"/>
                    <a:pt x="163334" y="34950"/>
                  </a:cubicBezTo>
                  <a:cubicBezTo>
                    <a:pt x="146088" y="13576"/>
                    <a:pt x="121615" y="0"/>
                    <a:pt x="94234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pic>
          <p:nvPicPr>
            <p:cNvPr id="305" name="Picture 965"/>
            <p:cNvPicPr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2450474" y="3357909"/>
              <a:ext cx="178041" cy="194119"/>
            </a:xfrm>
            <a:prstGeom prst="rect">
              <a:avLst/>
            </a:prstGeom>
            <a:noFill/>
            <a:extLst/>
          </p:spPr>
        </p:pic>
        <p:sp>
          <p:nvSpPr>
            <p:cNvPr id="306" name="Freeform 966"/>
            <p:cNvSpPr/>
            <p:nvPr/>
          </p:nvSpPr>
          <p:spPr>
            <a:xfrm>
              <a:off x="2338953" y="3548096"/>
              <a:ext cx="108279" cy="100584"/>
            </a:xfrm>
            <a:custGeom>
              <a:avLst/>
              <a:gdLst/>
              <a:ahLst/>
              <a:cxnLst/>
              <a:rect l="0" t="0" r="0" b="0"/>
              <a:pathLst>
                <a:path w="108279" h="100584">
                  <a:moveTo>
                    <a:pt x="62928" y="0"/>
                  </a:moveTo>
                  <a:cubicBezTo>
                    <a:pt x="33503" y="0"/>
                    <a:pt x="7379" y="24879"/>
                    <a:pt x="1460" y="61328"/>
                  </a:cubicBezTo>
                  <a:cubicBezTo>
                    <a:pt x="152" y="69481"/>
                    <a:pt x="0" y="77558"/>
                    <a:pt x="762" y="85445"/>
                  </a:cubicBezTo>
                  <a:cubicBezTo>
                    <a:pt x="2159" y="98717"/>
                    <a:pt x="13373" y="100584"/>
                    <a:pt x="24536" y="95275"/>
                  </a:cubicBezTo>
                  <a:cubicBezTo>
                    <a:pt x="31394" y="91922"/>
                    <a:pt x="38900" y="90055"/>
                    <a:pt x="46533" y="90055"/>
                  </a:cubicBezTo>
                  <a:cubicBezTo>
                    <a:pt x="50724" y="90055"/>
                    <a:pt x="54928" y="90652"/>
                    <a:pt x="59093" y="91757"/>
                  </a:cubicBezTo>
                  <a:cubicBezTo>
                    <a:pt x="63220" y="92824"/>
                    <a:pt x="67195" y="94399"/>
                    <a:pt x="70865" y="96456"/>
                  </a:cubicBezTo>
                  <a:cubicBezTo>
                    <a:pt x="77050" y="99898"/>
                    <a:pt x="85038" y="93726"/>
                    <a:pt x="89636" y="81114"/>
                  </a:cubicBezTo>
                  <a:lnTo>
                    <a:pt x="103402" y="42329"/>
                  </a:lnTo>
                  <a:cubicBezTo>
                    <a:pt x="103402" y="42329"/>
                    <a:pt x="104812" y="38480"/>
                    <a:pt x="106565" y="33756"/>
                  </a:cubicBezTo>
                  <a:cubicBezTo>
                    <a:pt x="108279" y="28917"/>
                    <a:pt x="103961" y="17132"/>
                    <a:pt x="94703" y="10439"/>
                  </a:cubicBezTo>
                  <a:cubicBezTo>
                    <a:pt x="89128" y="6489"/>
                    <a:pt x="83121" y="3441"/>
                    <a:pt x="76517" y="1752"/>
                  </a:cubicBezTo>
                  <a:cubicBezTo>
                    <a:pt x="71894" y="571"/>
                    <a:pt x="67360" y="0"/>
                    <a:pt x="62928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7" name="Freeform 967"/>
            <p:cNvSpPr/>
            <p:nvPr/>
          </p:nvSpPr>
          <p:spPr>
            <a:xfrm>
              <a:off x="2333176" y="3662968"/>
              <a:ext cx="76301" cy="141261"/>
            </a:xfrm>
            <a:custGeom>
              <a:avLst/>
              <a:gdLst/>
              <a:ahLst/>
              <a:cxnLst/>
              <a:rect l="0" t="0" r="0" b="0"/>
              <a:pathLst>
                <a:path w="76301" h="141261">
                  <a:moveTo>
                    <a:pt x="67157" y="121932"/>
                  </a:moveTo>
                  <a:lnTo>
                    <a:pt x="67157" y="50000"/>
                  </a:lnTo>
                  <a:cubicBezTo>
                    <a:pt x="67157" y="46850"/>
                    <a:pt x="67664" y="43701"/>
                    <a:pt x="68706" y="40741"/>
                  </a:cubicBezTo>
                  <a:cubicBezTo>
                    <a:pt x="68706" y="40741"/>
                    <a:pt x="70890" y="34658"/>
                    <a:pt x="73595" y="27279"/>
                  </a:cubicBezTo>
                  <a:cubicBezTo>
                    <a:pt x="76301" y="19786"/>
                    <a:pt x="75157" y="9347"/>
                    <a:pt x="70014" y="5702"/>
                  </a:cubicBezTo>
                  <a:cubicBezTo>
                    <a:pt x="66865" y="3530"/>
                    <a:pt x="63500" y="1867"/>
                    <a:pt x="59906" y="990"/>
                  </a:cubicBezTo>
                  <a:cubicBezTo>
                    <a:pt x="57379" y="292"/>
                    <a:pt x="54864" y="0"/>
                    <a:pt x="52311" y="0"/>
                  </a:cubicBezTo>
                  <a:cubicBezTo>
                    <a:pt x="41796" y="0"/>
                    <a:pt x="31801" y="5905"/>
                    <a:pt x="24028" y="15659"/>
                  </a:cubicBezTo>
                  <a:cubicBezTo>
                    <a:pt x="21666" y="18694"/>
                    <a:pt x="19431" y="22060"/>
                    <a:pt x="17564" y="25882"/>
                  </a:cubicBezTo>
                  <a:cubicBezTo>
                    <a:pt x="15761" y="29515"/>
                    <a:pt x="14224" y="33566"/>
                    <a:pt x="12979" y="37808"/>
                  </a:cubicBezTo>
                  <a:cubicBezTo>
                    <a:pt x="12217" y="40449"/>
                    <a:pt x="11481" y="43205"/>
                    <a:pt x="11049" y="46075"/>
                  </a:cubicBezTo>
                  <a:lnTo>
                    <a:pt x="1067" y="106489"/>
                  </a:lnTo>
                  <a:cubicBezTo>
                    <a:pt x="495" y="109944"/>
                    <a:pt x="203" y="113309"/>
                    <a:pt x="114" y="116726"/>
                  </a:cubicBezTo>
                  <a:cubicBezTo>
                    <a:pt x="0" y="122338"/>
                    <a:pt x="5220" y="124408"/>
                    <a:pt x="11481" y="122757"/>
                  </a:cubicBezTo>
                  <a:cubicBezTo>
                    <a:pt x="15240" y="121780"/>
                    <a:pt x="19063" y="121259"/>
                    <a:pt x="23012" y="121259"/>
                  </a:cubicBezTo>
                  <a:cubicBezTo>
                    <a:pt x="31267" y="121259"/>
                    <a:pt x="39281" y="123328"/>
                    <a:pt x="46825" y="127456"/>
                  </a:cubicBezTo>
                  <a:cubicBezTo>
                    <a:pt x="50952" y="129640"/>
                    <a:pt x="54610" y="132460"/>
                    <a:pt x="58001" y="135825"/>
                  </a:cubicBezTo>
                  <a:cubicBezTo>
                    <a:pt x="63551" y="141261"/>
                    <a:pt x="67157" y="135622"/>
                    <a:pt x="67157" y="121932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8" name="Freeform 968"/>
            <p:cNvSpPr/>
            <p:nvPr/>
          </p:nvSpPr>
          <p:spPr>
            <a:xfrm>
              <a:off x="2295555" y="3809014"/>
              <a:ext cx="99974" cy="151612"/>
            </a:xfrm>
            <a:custGeom>
              <a:avLst/>
              <a:gdLst/>
              <a:ahLst/>
              <a:cxnLst/>
              <a:rect l="0" t="0" r="0" b="0"/>
              <a:pathLst>
                <a:path w="99974" h="151612">
                  <a:moveTo>
                    <a:pt x="96253" y="76784"/>
                  </a:moveTo>
                  <a:cubicBezTo>
                    <a:pt x="99250" y="66866"/>
                    <a:pt x="99974" y="56642"/>
                    <a:pt x="99110" y="46889"/>
                  </a:cubicBezTo>
                  <a:cubicBezTo>
                    <a:pt x="98665" y="42444"/>
                    <a:pt x="97967" y="38215"/>
                    <a:pt x="96824" y="34265"/>
                  </a:cubicBezTo>
                  <a:cubicBezTo>
                    <a:pt x="95682" y="30239"/>
                    <a:pt x="94234" y="26391"/>
                    <a:pt x="92494" y="22975"/>
                  </a:cubicBezTo>
                  <a:cubicBezTo>
                    <a:pt x="88303" y="14618"/>
                    <a:pt x="82372" y="7722"/>
                    <a:pt x="74981" y="3772"/>
                  </a:cubicBezTo>
                  <a:cubicBezTo>
                    <a:pt x="70307" y="1194"/>
                    <a:pt x="65405" y="0"/>
                    <a:pt x="60630" y="0"/>
                  </a:cubicBezTo>
                  <a:cubicBezTo>
                    <a:pt x="55118" y="0"/>
                    <a:pt x="49937" y="2007"/>
                    <a:pt x="44958" y="4839"/>
                  </a:cubicBezTo>
                  <a:cubicBezTo>
                    <a:pt x="41707" y="6719"/>
                    <a:pt x="38773" y="8878"/>
                    <a:pt x="35916" y="11735"/>
                  </a:cubicBezTo>
                  <a:cubicBezTo>
                    <a:pt x="33096" y="14504"/>
                    <a:pt x="30429" y="17539"/>
                    <a:pt x="28143" y="21286"/>
                  </a:cubicBezTo>
                  <a:cubicBezTo>
                    <a:pt x="25502" y="25819"/>
                    <a:pt x="23254" y="30823"/>
                    <a:pt x="21514" y="36373"/>
                  </a:cubicBezTo>
                  <a:lnTo>
                    <a:pt x="4026" y="93852"/>
                  </a:lnTo>
                  <a:cubicBezTo>
                    <a:pt x="800" y="104254"/>
                    <a:pt x="0" y="115214"/>
                    <a:pt x="1334" y="125412"/>
                  </a:cubicBezTo>
                  <a:cubicBezTo>
                    <a:pt x="2972" y="139001"/>
                    <a:pt x="11329" y="147065"/>
                    <a:pt x="14999" y="145706"/>
                  </a:cubicBezTo>
                  <a:cubicBezTo>
                    <a:pt x="17247" y="144830"/>
                    <a:pt x="19495" y="144182"/>
                    <a:pt x="21946" y="143738"/>
                  </a:cubicBezTo>
                  <a:cubicBezTo>
                    <a:pt x="24968" y="143116"/>
                    <a:pt x="28143" y="142849"/>
                    <a:pt x="31191" y="142849"/>
                  </a:cubicBezTo>
                  <a:cubicBezTo>
                    <a:pt x="37732" y="142849"/>
                    <a:pt x="43917" y="144132"/>
                    <a:pt x="49848" y="146380"/>
                  </a:cubicBezTo>
                  <a:cubicBezTo>
                    <a:pt x="59728" y="150202"/>
                    <a:pt x="70523" y="151612"/>
                    <a:pt x="73863" y="145706"/>
                  </a:cubicBezTo>
                  <a:cubicBezTo>
                    <a:pt x="75756" y="142239"/>
                    <a:pt x="77419" y="138429"/>
                    <a:pt x="78728" y="13417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09" name="Freeform 969"/>
            <p:cNvSpPr/>
            <p:nvPr/>
          </p:nvSpPr>
          <p:spPr>
            <a:xfrm>
              <a:off x="2275796" y="3976587"/>
              <a:ext cx="97979" cy="66559"/>
            </a:xfrm>
            <a:custGeom>
              <a:avLst/>
              <a:gdLst/>
              <a:ahLst/>
              <a:cxnLst/>
              <a:rect l="0" t="0" r="0" b="0"/>
              <a:pathLst>
                <a:path w="97979" h="66559">
                  <a:moveTo>
                    <a:pt x="87439" y="19303"/>
                  </a:moveTo>
                  <a:cubicBezTo>
                    <a:pt x="84188" y="16217"/>
                    <a:pt x="80899" y="13436"/>
                    <a:pt x="77406" y="10883"/>
                  </a:cubicBezTo>
                  <a:cubicBezTo>
                    <a:pt x="72695" y="7391"/>
                    <a:pt x="67856" y="4229"/>
                    <a:pt x="62713" y="2349"/>
                  </a:cubicBezTo>
                  <a:cubicBezTo>
                    <a:pt x="58852" y="863"/>
                    <a:pt x="54928" y="0"/>
                    <a:pt x="50952" y="0"/>
                  </a:cubicBezTo>
                  <a:cubicBezTo>
                    <a:pt x="49898" y="0"/>
                    <a:pt x="48755" y="190"/>
                    <a:pt x="47739" y="279"/>
                  </a:cubicBezTo>
                  <a:cubicBezTo>
                    <a:pt x="46939" y="380"/>
                    <a:pt x="46152" y="380"/>
                    <a:pt x="45466" y="558"/>
                  </a:cubicBezTo>
                  <a:cubicBezTo>
                    <a:pt x="41275" y="1358"/>
                    <a:pt x="37262" y="3238"/>
                    <a:pt x="33604" y="5689"/>
                  </a:cubicBezTo>
                  <a:cubicBezTo>
                    <a:pt x="30404" y="7823"/>
                    <a:pt x="27330" y="10642"/>
                    <a:pt x="24486" y="13677"/>
                  </a:cubicBezTo>
                  <a:cubicBezTo>
                    <a:pt x="16281" y="22350"/>
                    <a:pt x="9411" y="33857"/>
                    <a:pt x="3315" y="45261"/>
                  </a:cubicBezTo>
                  <a:cubicBezTo>
                    <a:pt x="0" y="51484"/>
                    <a:pt x="1321" y="60031"/>
                    <a:pt x="6274" y="64286"/>
                  </a:cubicBezTo>
                  <a:cubicBezTo>
                    <a:pt x="7518" y="65264"/>
                    <a:pt x="8801" y="65912"/>
                    <a:pt x="10122" y="66229"/>
                  </a:cubicBezTo>
                  <a:cubicBezTo>
                    <a:pt x="10808" y="66559"/>
                    <a:pt x="11582" y="66559"/>
                    <a:pt x="12281" y="66559"/>
                  </a:cubicBezTo>
                  <a:cubicBezTo>
                    <a:pt x="15799" y="66559"/>
                    <a:pt x="19253" y="64438"/>
                    <a:pt x="21374" y="60514"/>
                  </a:cubicBezTo>
                  <a:cubicBezTo>
                    <a:pt x="32499" y="39534"/>
                    <a:pt x="41211" y="29107"/>
                    <a:pt x="48755" y="27634"/>
                  </a:cubicBezTo>
                  <a:cubicBezTo>
                    <a:pt x="49454" y="27545"/>
                    <a:pt x="50178" y="27456"/>
                    <a:pt x="50863" y="27456"/>
                  </a:cubicBezTo>
                  <a:cubicBezTo>
                    <a:pt x="57734" y="27456"/>
                    <a:pt x="66802" y="33247"/>
                    <a:pt x="79045" y="45553"/>
                  </a:cubicBezTo>
                  <a:cubicBezTo>
                    <a:pt x="81077" y="47522"/>
                    <a:pt x="83414" y="48512"/>
                    <a:pt x="85763" y="48512"/>
                  </a:cubicBezTo>
                  <a:cubicBezTo>
                    <a:pt x="88988" y="48512"/>
                    <a:pt x="92099" y="46722"/>
                    <a:pt x="94309" y="43293"/>
                  </a:cubicBezTo>
                  <a:cubicBezTo>
                    <a:pt x="97979" y="37362"/>
                    <a:pt x="97167" y="28828"/>
                    <a:pt x="92557" y="24103"/>
                  </a:cubicBezTo>
                  <a:cubicBezTo>
                    <a:pt x="90931" y="22427"/>
                    <a:pt x="89077" y="20826"/>
                    <a:pt x="87439" y="19303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0" name="Freeform 970"/>
            <p:cNvSpPr/>
            <p:nvPr/>
          </p:nvSpPr>
          <p:spPr>
            <a:xfrm>
              <a:off x="2636194" y="3548093"/>
              <a:ext cx="107085" cy="100595"/>
            </a:xfrm>
            <a:custGeom>
              <a:avLst/>
              <a:gdLst/>
              <a:ahLst/>
              <a:cxnLst/>
              <a:rect l="0" t="0" r="0" b="0"/>
              <a:pathLst>
                <a:path w="107085" h="100595">
                  <a:moveTo>
                    <a:pt x="3301" y="35051"/>
                  </a:moveTo>
                  <a:lnTo>
                    <a:pt x="18617" y="80707"/>
                  </a:lnTo>
                  <a:cubicBezTo>
                    <a:pt x="22884" y="93509"/>
                    <a:pt x="30631" y="99897"/>
                    <a:pt x="36663" y="96455"/>
                  </a:cubicBezTo>
                  <a:cubicBezTo>
                    <a:pt x="40207" y="94398"/>
                    <a:pt x="43979" y="92836"/>
                    <a:pt x="47954" y="91743"/>
                  </a:cubicBezTo>
                  <a:cubicBezTo>
                    <a:pt x="52056" y="90664"/>
                    <a:pt x="56310" y="90054"/>
                    <a:pt x="60501" y="90054"/>
                  </a:cubicBezTo>
                  <a:cubicBezTo>
                    <a:pt x="68185" y="90054"/>
                    <a:pt x="75652" y="91921"/>
                    <a:pt x="82510" y="95261"/>
                  </a:cubicBezTo>
                  <a:cubicBezTo>
                    <a:pt x="93686" y="100595"/>
                    <a:pt x="104913" y="98716"/>
                    <a:pt x="106285" y="85444"/>
                  </a:cubicBezTo>
                  <a:cubicBezTo>
                    <a:pt x="107085" y="77570"/>
                    <a:pt x="106932" y="69493"/>
                    <a:pt x="105612" y="61339"/>
                  </a:cubicBezTo>
                  <a:cubicBezTo>
                    <a:pt x="99668" y="24879"/>
                    <a:pt x="73557" y="0"/>
                    <a:pt x="44131" y="0"/>
                  </a:cubicBezTo>
                  <a:cubicBezTo>
                    <a:pt x="39673" y="0"/>
                    <a:pt x="35152" y="571"/>
                    <a:pt x="30580" y="1765"/>
                  </a:cubicBezTo>
                  <a:cubicBezTo>
                    <a:pt x="24459" y="3352"/>
                    <a:pt x="18706" y="5981"/>
                    <a:pt x="13499" y="9461"/>
                  </a:cubicBezTo>
                  <a:cubicBezTo>
                    <a:pt x="4685" y="15240"/>
                    <a:pt x="0" y="25196"/>
                    <a:pt x="1206" y="2874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1" name="Freeform 971"/>
            <p:cNvSpPr/>
            <p:nvPr/>
          </p:nvSpPr>
          <p:spPr>
            <a:xfrm>
              <a:off x="2672926" y="3662870"/>
              <a:ext cx="76186" cy="141350"/>
            </a:xfrm>
            <a:custGeom>
              <a:avLst/>
              <a:gdLst/>
              <a:ahLst/>
              <a:cxnLst/>
              <a:rect l="0" t="0" r="0" b="0"/>
              <a:pathLst>
                <a:path w="76186" h="141350">
                  <a:moveTo>
                    <a:pt x="65049" y="46177"/>
                  </a:moveTo>
                  <a:cubicBezTo>
                    <a:pt x="64516" y="43295"/>
                    <a:pt x="63805" y="40551"/>
                    <a:pt x="63144" y="37910"/>
                  </a:cubicBezTo>
                  <a:cubicBezTo>
                    <a:pt x="61887" y="33681"/>
                    <a:pt x="60350" y="29617"/>
                    <a:pt x="58522" y="25984"/>
                  </a:cubicBezTo>
                  <a:cubicBezTo>
                    <a:pt x="56693" y="22149"/>
                    <a:pt x="54432" y="18809"/>
                    <a:pt x="52083" y="15761"/>
                  </a:cubicBezTo>
                  <a:cubicBezTo>
                    <a:pt x="44323" y="6007"/>
                    <a:pt x="34303" y="0"/>
                    <a:pt x="23762" y="0"/>
                  </a:cubicBezTo>
                  <a:cubicBezTo>
                    <a:pt x="21260" y="0"/>
                    <a:pt x="18720" y="381"/>
                    <a:pt x="16205" y="978"/>
                  </a:cubicBezTo>
                  <a:cubicBezTo>
                    <a:pt x="12637" y="1956"/>
                    <a:pt x="9335" y="3518"/>
                    <a:pt x="6185" y="5677"/>
                  </a:cubicBezTo>
                  <a:cubicBezTo>
                    <a:pt x="1029" y="9246"/>
                    <a:pt x="0" y="20079"/>
                    <a:pt x="2705" y="27953"/>
                  </a:cubicBezTo>
                  <a:lnTo>
                    <a:pt x="7569" y="42304"/>
                  </a:lnTo>
                  <a:cubicBezTo>
                    <a:pt x="8484" y="45187"/>
                    <a:pt x="8979" y="48132"/>
                    <a:pt x="8979" y="51168"/>
                  </a:cubicBezTo>
                  <a:lnTo>
                    <a:pt x="8979" y="122034"/>
                  </a:lnTo>
                  <a:cubicBezTo>
                    <a:pt x="8979" y="135724"/>
                    <a:pt x="12535" y="141350"/>
                    <a:pt x="18098" y="135813"/>
                  </a:cubicBezTo>
                  <a:cubicBezTo>
                    <a:pt x="21539" y="132575"/>
                    <a:pt x="25146" y="129730"/>
                    <a:pt x="29274" y="127469"/>
                  </a:cubicBezTo>
                  <a:cubicBezTo>
                    <a:pt x="36843" y="123431"/>
                    <a:pt x="44856" y="121259"/>
                    <a:pt x="53124" y="121259"/>
                  </a:cubicBezTo>
                  <a:cubicBezTo>
                    <a:pt x="57049" y="121259"/>
                    <a:pt x="60858" y="121881"/>
                    <a:pt x="64605" y="122846"/>
                  </a:cubicBezTo>
                  <a:cubicBezTo>
                    <a:pt x="70865" y="124408"/>
                    <a:pt x="76186" y="122440"/>
                    <a:pt x="75996" y="116712"/>
                  </a:cubicBezTo>
                  <a:cubicBezTo>
                    <a:pt x="75907" y="113410"/>
                    <a:pt x="75577" y="109956"/>
                    <a:pt x="75043" y="10659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2" name="Freeform 972"/>
            <p:cNvSpPr/>
            <p:nvPr/>
          </p:nvSpPr>
          <p:spPr>
            <a:xfrm>
              <a:off x="2686588" y="3808951"/>
              <a:ext cx="99948" cy="151688"/>
            </a:xfrm>
            <a:custGeom>
              <a:avLst/>
              <a:gdLst/>
              <a:ahLst/>
              <a:cxnLst/>
              <a:rect l="0" t="0" r="0" b="0"/>
              <a:pathLst>
                <a:path w="99948" h="151688">
                  <a:moveTo>
                    <a:pt x="78460" y="36423"/>
                  </a:moveTo>
                  <a:cubicBezTo>
                    <a:pt x="76784" y="30772"/>
                    <a:pt x="74549" y="25806"/>
                    <a:pt x="71844" y="21349"/>
                  </a:cubicBezTo>
                  <a:cubicBezTo>
                    <a:pt x="69596" y="17602"/>
                    <a:pt x="66865" y="14554"/>
                    <a:pt x="64097" y="11684"/>
                  </a:cubicBezTo>
                  <a:cubicBezTo>
                    <a:pt x="61290" y="8839"/>
                    <a:pt x="58267" y="6782"/>
                    <a:pt x="55131" y="4889"/>
                  </a:cubicBezTo>
                  <a:cubicBezTo>
                    <a:pt x="50076" y="2070"/>
                    <a:pt x="44856" y="0"/>
                    <a:pt x="39459" y="0"/>
                  </a:cubicBezTo>
                  <a:cubicBezTo>
                    <a:pt x="34582" y="0"/>
                    <a:pt x="29705" y="1168"/>
                    <a:pt x="25006" y="3734"/>
                  </a:cubicBezTo>
                  <a:cubicBezTo>
                    <a:pt x="17691" y="7785"/>
                    <a:pt x="11773" y="14554"/>
                    <a:pt x="7595" y="22936"/>
                  </a:cubicBezTo>
                  <a:cubicBezTo>
                    <a:pt x="5842" y="26454"/>
                    <a:pt x="4292" y="30213"/>
                    <a:pt x="3150" y="34252"/>
                  </a:cubicBezTo>
                  <a:cubicBezTo>
                    <a:pt x="2108" y="38277"/>
                    <a:pt x="1410" y="42506"/>
                    <a:pt x="952" y="46824"/>
                  </a:cubicBezTo>
                  <a:cubicBezTo>
                    <a:pt x="0" y="56603"/>
                    <a:pt x="813" y="66928"/>
                    <a:pt x="3848" y="76834"/>
                  </a:cubicBezTo>
                  <a:lnTo>
                    <a:pt x="21374" y="134251"/>
                  </a:lnTo>
                  <a:cubicBezTo>
                    <a:pt x="22631" y="138505"/>
                    <a:pt x="24308" y="142226"/>
                    <a:pt x="26124" y="145681"/>
                  </a:cubicBezTo>
                  <a:cubicBezTo>
                    <a:pt x="29515" y="151688"/>
                    <a:pt x="40234" y="150189"/>
                    <a:pt x="50241" y="146430"/>
                  </a:cubicBezTo>
                  <a:cubicBezTo>
                    <a:pt x="56083" y="144182"/>
                    <a:pt x="62344" y="142823"/>
                    <a:pt x="68872" y="142823"/>
                  </a:cubicBezTo>
                  <a:cubicBezTo>
                    <a:pt x="71945" y="142823"/>
                    <a:pt x="75070" y="143102"/>
                    <a:pt x="78130" y="143801"/>
                  </a:cubicBezTo>
                  <a:cubicBezTo>
                    <a:pt x="80466" y="144182"/>
                    <a:pt x="82803" y="144893"/>
                    <a:pt x="84975" y="145769"/>
                  </a:cubicBezTo>
                  <a:cubicBezTo>
                    <a:pt x="88734" y="147128"/>
                    <a:pt x="97103" y="138975"/>
                    <a:pt x="98754" y="125462"/>
                  </a:cubicBezTo>
                  <a:cubicBezTo>
                    <a:pt x="99948" y="115264"/>
                    <a:pt x="99173" y="104317"/>
                    <a:pt x="95960" y="9378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3" name="Freeform 973"/>
            <p:cNvSpPr/>
            <p:nvPr/>
          </p:nvSpPr>
          <p:spPr>
            <a:xfrm>
              <a:off x="2708349" y="3976602"/>
              <a:ext cx="98056" cy="66534"/>
            </a:xfrm>
            <a:custGeom>
              <a:avLst/>
              <a:gdLst/>
              <a:ahLst/>
              <a:cxnLst/>
              <a:rect l="0" t="0" r="0" b="0"/>
              <a:pathLst>
                <a:path w="98056" h="66534">
                  <a:moveTo>
                    <a:pt x="64465" y="5676"/>
                  </a:moveTo>
                  <a:cubicBezTo>
                    <a:pt x="60706" y="3225"/>
                    <a:pt x="56795" y="1346"/>
                    <a:pt x="52578" y="546"/>
                  </a:cubicBezTo>
                  <a:cubicBezTo>
                    <a:pt x="51816" y="368"/>
                    <a:pt x="51131" y="368"/>
                    <a:pt x="50368" y="368"/>
                  </a:cubicBezTo>
                  <a:cubicBezTo>
                    <a:pt x="49314" y="177"/>
                    <a:pt x="48159" y="0"/>
                    <a:pt x="47117" y="0"/>
                  </a:cubicBezTo>
                  <a:cubicBezTo>
                    <a:pt x="43117" y="0"/>
                    <a:pt x="39205" y="863"/>
                    <a:pt x="35383" y="2349"/>
                  </a:cubicBezTo>
                  <a:cubicBezTo>
                    <a:pt x="30239" y="4203"/>
                    <a:pt x="25324" y="7377"/>
                    <a:pt x="20650" y="10870"/>
                  </a:cubicBezTo>
                  <a:cubicBezTo>
                    <a:pt x="17171" y="13423"/>
                    <a:pt x="13831" y="16204"/>
                    <a:pt x="10643" y="19290"/>
                  </a:cubicBezTo>
                  <a:cubicBezTo>
                    <a:pt x="9005" y="20827"/>
                    <a:pt x="7176" y="22414"/>
                    <a:pt x="5487" y="24078"/>
                  </a:cubicBezTo>
                  <a:cubicBezTo>
                    <a:pt x="864" y="28815"/>
                    <a:pt x="0" y="37349"/>
                    <a:pt x="3759" y="43280"/>
                  </a:cubicBezTo>
                  <a:cubicBezTo>
                    <a:pt x="5957" y="46709"/>
                    <a:pt x="9081" y="48487"/>
                    <a:pt x="12281" y="48487"/>
                  </a:cubicBezTo>
                  <a:cubicBezTo>
                    <a:pt x="14656" y="48487"/>
                    <a:pt x="16993" y="47509"/>
                    <a:pt x="18987" y="45528"/>
                  </a:cubicBezTo>
                  <a:cubicBezTo>
                    <a:pt x="31293" y="33235"/>
                    <a:pt x="40348" y="27443"/>
                    <a:pt x="47193" y="27443"/>
                  </a:cubicBezTo>
                  <a:cubicBezTo>
                    <a:pt x="47917" y="27443"/>
                    <a:pt x="48603" y="27443"/>
                    <a:pt x="49314" y="27608"/>
                  </a:cubicBezTo>
                  <a:cubicBezTo>
                    <a:pt x="56896" y="29094"/>
                    <a:pt x="65595" y="39521"/>
                    <a:pt x="76733" y="60501"/>
                  </a:cubicBezTo>
                  <a:cubicBezTo>
                    <a:pt x="78815" y="64426"/>
                    <a:pt x="82308" y="66534"/>
                    <a:pt x="85788" y="66534"/>
                  </a:cubicBezTo>
                  <a:cubicBezTo>
                    <a:pt x="86486" y="66534"/>
                    <a:pt x="87248" y="66420"/>
                    <a:pt x="87947" y="66204"/>
                  </a:cubicBezTo>
                  <a:cubicBezTo>
                    <a:pt x="89255" y="65899"/>
                    <a:pt x="90563" y="65251"/>
                    <a:pt x="91770" y="64273"/>
                  </a:cubicBezTo>
                  <a:cubicBezTo>
                    <a:pt x="96761" y="60019"/>
                    <a:pt x="98056" y="51459"/>
                    <a:pt x="94741" y="45261"/>
                  </a:cubicBezTo>
                  <a:cubicBezTo>
                    <a:pt x="88734" y="33844"/>
                    <a:pt x="81775" y="22338"/>
                    <a:pt x="73558" y="13664"/>
                  </a:cubicBezTo>
                  <a:cubicBezTo>
                    <a:pt x="70713" y="10628"/>
                    <a:pt x="67678" y="7809"/>
                    <a:pt x="64465" y="5676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4" name="Freeform 974"/>
            <p:cNvSpPr/>
            <p:nvPr/>
          </p:nvSpPr>
          <p:spPr>
            <a:xfrm>
              <a:off x="2422261" y="3559512"/>
              <a:ext cx="237680" cy="291527"/>
            </a:xfrm>
            <a:custGeom>
              <a:avLst/>
              <a:gdLst/>
              <a:ahLst/>
              <a:cxnLst/>
              <a:rect l="0" t="0" r="0" b="0"/>
              <a:pathLst>
                <a:path w="237680" h="291527">
                  <a:moveTo>
                    <a:pt x="196786" y="32486"/>
                  </a:moveTo>
                  <a:cubicBezTo>
                    <a:pt x="196786" y="32486"/>
                    <a:pt x="194793" y="26479"/>
                    <a:pt x="192316" y="19190"/>
                  </a:cubicBezTo>
                  <a:cubicBezTo>
                    <a:pt x="189878" y="11912"/>
                    <a:pt x="178232" y="4127"/>
                    <a:pt x="166218" y="2667"/>
                  </a:cubicBezTo>
                  <a:cubicBezTo>
                    <a:pt x="150101" y="660"/>
                    <a:pt x="134772" y="0"/>
                    <a:pt x="120853" y="0"/>
                  </a:cubicBezTo>
                  <a:cubicBezTo>
                    <a:pt x="102222" y="0"/>
                    <a:pt x="86208" y="1283"/>
                    <a:pt x="74320" y="2667"/>
                  </a:cubicBezTo>
                  <a:cubicBezTo>
                    <a:pt x="62319" y="4127"/>
                    <a:pt x="49987" y="13678"/>
                    <a:pt x="46571" y="23127"/>
                  </a:cubicBezTo>
                  <a:lnTo>
                    <a:pt x="40488" y="40258"/>
                  </a:lnTo>
                  <a:lnTo>
                    <a:pt x="14122" y="113994"/>
                  </a:lnTo>
                  <a:lnTo>
                    <a:pt x="1460" y="149427"/>
                  </a:lnTo>
                  <a:cubicBezTo>
                    <a:pt x="1460" y="149427"/>
                    <a:pt x="1118" y="150303"/>
                    <a:pt x="686" y="151396"/>
                  </a:cubicBezTo>
                  <a:cubicBezTo>
                    <a:pt x="343" y="152564"/>
                    <a:pt x="0" y="158978"/>
                    <a:pt x="0" y="165747"/>
                  </a:cubicBezTo>
                  <a:lnTo>
                    <a:pt x="0" y="266762"/>
                  </a:lnTo>
                  <a:cubicBezTo>
                    <a:pt x="0" y="280428"/>
                    <a:pt x="9817" y="291527"/>
                    <a:pt x="21895" y="291527"/>
                  </a:cubicBezTo>
                  <a:lnTo>
                    <a:pt x="215836" y="291527"/>
                  </a:lnTo>
                  <a:cubicBezTo>
                    <a:pt x="227964" y="291527"/>
                    <a:pt x="237680" y="280428"/>
                    <a:pt x="237680" y="266762"/>
                  </a:cubicBezTo>
                  <a:lnTo>
                    <a:pt x="237680" y="166255"/>
                  </a:lnTo>
                  <a:cubicBezTo>
                    <a:pt x="237680" y="159752"/>
                    <a:pt x="237451" y="153555"/>
                    <a:pt x="236918" y="152183"/>
                  </a:cubicBezTo>
                  <a:lnTo>
                    <a:pt x="236105" y="149897"/>
                  </a:lnTo>
                  <a:lnTo>
                    <a:pt x="227964" y="125424"/>
                  </a:lnTo>
                  <a:lnTo>
                    <a:pt x="223875" y="113283"/>
                  </a:lnTo>
                  <a:lnTo>
                    <a:pt x="198271" y="36816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5" name="Freeform 975"/>
            <p:cNvSpPr/>
            <p:nvPr/>
          </p:nvSpPr>
          <p:spPr>
            <a:xfrm>
              <a:off x="2414419" y="3893284"/>
              <a:ext cx="109626" cy="253288"/>
            </a:xfrm>
            <a:custGeom>
              <a:avLst/>
              <a:gdLst/>
              <a:ahLst/>
              <a:cxnLst/>
              <a:rect l="0" t="0" r="0" b="0"/>
              <a:pathLst>
                <a:path w="109626" h="253288">
                  <a:moveTo>
                    <a:pt x="5232" y="0"/>
                  </a:moveTo>
                  <a:cubicBezTo>
                    <a:pt x="2350" y="0"/>
                    <a:pt x="0" y="11049"/>
                    <a:pt x="0" y="24739"/>
                  </a:cubicBezTo>
                  <a:lnTo>
                    <a:pt x="0" y="228485"/>
                  </a:lnTo>
                  <a:cubicBezTo>
                    <a:pt x="0" y="242252"/>
                    <a:pt x="9829" y="253288"/>
                    <a:pt x="21957" y="253288"/>
                  </a:cubicBezTo>
                  <a:lnTo>
                    <a:pt x="68274" y="253288"/>
                  </a:lnTo>
                  <a:cubicBezTo>
                    <a:pt x="80365" y="253288"/>
                    <a:pt x="91833" y="242366"/>
                    <a:pt x="93954" y="228841"/>
                  </a:cubicBezTo>
                  <a:lnTo>
                    <a:pt x="105866" y="151003"/>
                  </a:lnTo>
                  <a:cubicBezTo>
                    <a:pt x="107962" y="137604"/>
                    <a:pt x="109626" y="115582"/>
                    <a:pt x="109626" y="101892"/>
                  </a:cubicBezTo>
                  <a:lnTo>
                    <a:pt x="109626" y="24739"/>
                  </a:lnTo>
                  <a:cubicBezTo>
                    <a:pt x="109626" y="11049"/>
                    <a:pt x="107352" y="0"/>
                    <a:pt x="104469" y="0"/>
                  </a:cubicBezTo>
                  <a:cubicBezTo>
                    <a:pt x="101612" y="0"/>
                    <a:pt x="100139" y="2946"/>
                    <a:pt x="100647" y="6819"/>
                  </a:cubicBezTo>
                  <a:cubicBezTo>
                    <a:pt x="101015" y="9067"/>
                    <a:pt x="101167" y="11328"/>
                    <a:pt x="101167" y="13677"/>
                  </a:cubicBezTo>
                  <a:cubicBezTo>
                    <a:pt x="101167" y="42557"/>
                    <a:pt x="80365" y="66039"/>
                    <a:pt x="54863" y="66039"/>
                  </a:cubicBezTo>
                  <a:cubicBezTo>
                    <a:pt x="29361" y="66039"/>
                    <a:pt x="8533" y="42646"/>
                    <a:pt x="8533" y="13677"/>
                  </a:cubicBezTo>
                  <a:cubicBezTo>
                    <a:pt x="8533" y="11328"/>
                    <a:pt x="8699" y="9067"/>
                    <a:pt x="9067" y="6819"/>
                  </a:cubicBezTo>
                  <a:cubicBezTo>
                    <a:pt x="9575" y="2946"/>
                    <a:pt x="8025" y="0"/>
                    <a:pt x="5232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6" name="Freeform 976"/>
            <p:cNvSpPr/>
            <p:nvPr/>
          </p:nvSpPr>
          <p:spPr>
            <a:xfrm>
              <a:off x="2414399" y="4394436"/>
              <a:ext cx="103554" cy="42710"/>
            </a:xfrm>
            <a:custGeom>
              <a:avLst/>
              <a:gdLst/>
              <a:ahLst/>
              <a:cxnLst/>
              <a:rect l="0" t="0" r="0" b="0"/>
              <a:pathLst>
                <a:path w="103554" h="42710">
                  <a:moveTo>
                    <a:pt x="10718" y="0"/>
                  </a:moveTo>
                  <a:cubicBezTo>
                    <a:pt x="4813" y="0"/>
                    <a:pt x="0" y="9550"/>
                    <a:pt x="0" y="21361"/>
                  </a:cubicBezTo>
                  <a:cubicBezTo>
                    <a:pt x="0" y="33146"/>
                    <a:pt x="9855" y="42710"/>
                    <a:pt x="21995" y="42710"/>
                  </a:cubicBezTo>
                  <a:lnTo>
                    <a:pt x="81698" y="42710"/>
                  </a:lnTo>
                  <a:cubicBezTo>
                    <a:pt x="93801" y="42710"/>
                    <a:pt x="103554" y="33146"/>
                    <a:pt x="103554" y="21361"/>
                  </a:cubicBezTo>
                  <a:cubicBezTo>
                    <a:pt x="103554" y="9550"/>
                    <a:pt x="100151" y="0"/>
                    <a:pt x="95960" y="0"/>
                  </a:cubicBezTo>
                  <a:cubicBezTo>
                    <a:pt x="91718" y="0"/>
                    <a:pt x="84543" y="10820"/>
                    <a:pt x="74814" y="18008"/>
                  </a:cubicBezTo>
                  <a:cubicBezTo>
                    <a:pt x="69049" y="22339"/>
                    <a:pt x="62267" y="24765"/>
                    <a:pt x="54888" y="24765"/>
                  </a:cubicBezTo>
                  <a:cubicBezTo>
                    <a:pt x="47459" y="24765"/>
                    <a:pt x="40613" y="22339"/>
                    <a:pt x="34936" y="18008"/>
                  </a:cubicBezTo>
                  <a:cubicBezTo>
                    <a:pt x="25094" y="10820"/>
                    <a:pt x="16636" y="0"/>
                    <a:pt x="10718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7" name="Freeform 977"/>
            <p:cNvSpPr/>
            <p:nvPr/>
          </p:nvSpPr>
          <p:spPr>
            <a:xfrm>
              <a:off x="2414408" y="4165874"/>
              <a:ext cx="103543" cy="212013"/>
            </a:xfrm>
            <a:custGeom>
              <a:avLst/>
              <a:gdLst/>
              <a:ahLst/>
              <a:cxnLst/>
              <a:rect l="0" t="0" r="0" b="0"/>
              <a:pathLst>
                <a:path w="103543" h="212013">
                  <a:moveTo>
                    <a:pt x="103543" y="24777"/>
                  </a:moveTo>
                  <a:cubicBezTo>
                    <a:pt x="103543" y="11112"/>
                    <a:pt x="93790" y="0"/>
                    <a:pt x="81674" y="0"/>
                  </a:cubicBezTo>
                  <a:lnTo>
                    <a:pt x="21971" y="0"/>
                  </a:lnTo>
                  <a:cubicBezTo>
                    <a:pt x="9843" y="0"/>
                    <a:pt x="0" y="11112"/>
                    <a:pt x="0" y="24777"/>
                  </a:cubicBezTo>
                  <a:lnTo>
                    <a:pt x="0" y="187311"/>
                  </a:lnTo>
                  <a:cubicBezTo>
                    <a:pt x="0" y="200964"/>
                    <a:pt x="4103" y="212013"/>
                    <a:pt x="9144" y="212013"/>
                  </a:cubicBezTo>
                  <a:cubicBezTo>
                    <a:pt x="14186" y="212013"/>
                    <a:pt x="17780" y="200075"/>
                    <a:pt x="24676" y="188797"/>
                  </a:cubicBezTo>
                  <a:cubicBezTo>
                    <a:pt x="31268" y="177951"/>
                    <a:pt x="42329" y="170763"/>
                    <a:pt x="54890" y="170763"/>
                  </a:cubicBezTo>
                  <a:cubicBezTo>
                    <a:pt x="67323" y="170763"/>
                    <a:pt x="78385" y="177951"/>
                    <a:pt x="84989" y="188797"/>
                  </a:cubicBezTo>
                  <a:cubicBezTo>
                    <a:pt x="91796" y="200075"/>
                    <a:pt x="94069" y="212013"/>
                    <a:pt x="97422" y="212013"/>
                  </a:cubicBezTo>
                  <a:cubicBezTo>
                    <a:pt x="100851" y="212013"/>
                    <a:pt x="103543" y="200964"/>
                    <a:pt x="103543" y="18731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8" name="Freeform 978"/>
            <p:cNvSpPr/>
            <p:nvPr/>
          </p:nvSpPr>
          <p:spPr>
            <a:xfrm>
              <a:off x="2452186" y="4358574"/>
              <a:ext cx="34162" cy="38582"/>
            </a:xfrm>
            <a:custGeom>
              <a:avLst/>
              <a:gdLst/>
              <a:ahLst/>
              <a:cxnLst/>
              <a:rect l="0" t="0" r="0" b="0"/>
              <a:pathLst>
                <a:path w="34162" h="38582">
                  <a:moveTo>
                    <a:pt x="17094" y="38582"/>
                  </a:moveTo>
                  <a:cubicBezTo>
                    <a:pt x="20154" y="38582"/>
                    <a:pt x="22834" y="37490"/>
                    <a:pt x="25247" y="35852"/>
                  </a:cubicBezTo>
                  <a:cubicBezTo>
                    <a:pt x="30505" y="32487"/>
                    <a:pt x="34162" y="26492"/>
                    <a:pt x="34162" y="19329"/>
                  </a:cubicBezTo>
                  <a:cubicBezTo>
                    <a:pt x="34162" y="8699"/>
                    <a:pt x="26492" y="0"/>
                    <a:pt x="17094" y="0"/>
                  </a:cubicBezTo>
                  <a:cubicBezTo>
                    <a:pt x="7646" y="0"/>
                    <a:pt x="0" y="8699"/>
                    <a:pt x="0" y="19329"/>
                  </a:cubicBezTo>
                  <a:cubicBezTo>
                    <a:pt x="0" y="26492"/>
                    <a:pt x="3696" y="32487"/>
                    <a:pt x="8814" y="35852"/>
                  </a:cubicBezTo>
                  <a:cubicBezTo>
                    <a:pt x="11252" y="37414"/>
                    <a:pt x="13970" y="38582"/>
                    <a:pt x="17094" y="38582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19" name="Freeform 979"/>
            <p:cNvSpPr/>
            <p:nvPr/>
          </p:nvSpPr>
          <p:spPr>
            <a:xfrm>
              <a:off x="2442461" y="3876670"/>
              <a:ext cx="53543" cy="60603"/>
            </a:xfrm>
            <a:custGeom>
              <a:avLst/>
              <a:gdLst/>
              <a:ahLst/>
              <a:cxnLst/>
              <a:rect l="0" t="0" r="0" b="0"/>
              <a:pathLst>
                <a:path w="53543" h="60603">
                  <a:moveTo>
                    <a:pt x="53543" y="30276"/>
                  </a:moveTo>
                  <a:cubicBezTo>
                    <a:pt x="53543" y="25374"/>
                    <a:pt x="52451" y="20739"/>
                    <a:pt x="50483" y="16611"/>
                  </a:cubicBezTo>
                  <a:cubicBezTo>
                    <a:pt x="46063" y="6794"/>
                    <a:pt x="37186" y="0"/>
                    <a:pt x="26835" y="0"/>
                  </a:cubicBezTo>
                  <a:cubicBezTo>
                    <a:pt x="16358" y="0"/>
                    <a:pt x="7506" y="6794"/>
                    <a:pt x="3048" y="16611"/>
                  </a:cubicBezTo>
                  <a:cubicBezTo>
                    <a:pt x="1156" y="20739"/>
                    <a:pt x="0" y="25374"/>
                    <a:pt x="0" y="30276"/>
                  </a:cubicBezTo>
                  <a:cubicBezTo>
                    <a:pt x="0" y="47040"/>
                    <a:pt x="12015" y="60603"/>
                    <a:pt x="26835" y="60603"/>
                  </a:cubicBezTo>
                  <a:cubicBezTo>
                    <a:pt x="41504" y="60603"/>
                    <a:pt x="53543" y="47040"/>
                    <a:pt x="53543" y="30276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20" name="Freeform 980"/>
            <p:cNvSpPr/>
            <p:nvPr/>
          </p:nvSpPr>
          <p:spPr>
            <a:xfrm>
              <a:off x="2558191" y="3893284"/>
              <a:ext cx="109612" cy="253288"/>
            </a:xfrm>
            <a:custGeom>
              <a:avLst/>
              <a:gdLst/>
              <a:ahLst/>
              <a:cxnLst/>
              <a:rect l="0" t="0" r="0" b="0"/>
              <a:pathLst>
                <a:path w="109612" h="253288">
                  <a:moveTo>
                    <a:pt x="5092" y="0"/>
                  </a:moveTo>
                  <a:cubicBezTo>
                    <a:pt x="2222" y="0"/>
                    <a:pt x="0" y="11049"/>
                    <a:pt x="0" y="24739"/>
                  </a:cubicBezTo>
                  <a:lnTo>
                    <a:pt x="0" y="101892"/>
                  </a:lnTo>
                  <a:cubicBezTo>
                    <a:pt x="0" y="115582"/>
                    <a:pt x="1638" y="137515"/>
                    <a:pt x="3721" y="151003"/>
                  </a:cubicBezTo>
                  <a:lnTo>
                    <a:pt x="15709" y="228841"/>
                  </a:lnTo>
                  <a:cubicBezTo>
                    <a:pt x="17728" y="242366"/>
                    <a:pt x="29221" y="253288"/>
                    <a:pt x="41337" y="253288"/>
                  </a:cubicBezTo>
                  <a:lnTo>
                    <a:pt x="87654" y="253288"/>
                  </a:lnTo>
                  <a:cubicBezTo>
                    <a:pt x="99770" y="253288"/>
                    <a:pt x="109612" y="242188"/>
                    <a:pt x="109612" y="228485"/>
                  </a:cubicBezTo>
                  <a:lnTo>
                    <a:pt x="109612" y="24739"/>
                  </a:lnTo>
                  <a:cubicBezTo>
                    <a:pt x="109612" y="11049"/>
                    <a:pt x="107250" y="0"/>
                    <a:pt x="104456" y="0"/>
                  </a:cubicBezTo>
                  <a:cubicBezTo>
                    <a:pt x="101611" y="0"/>
                    <a:pt x="100049" y="2946"/>
                    <a:pt x="100570" y="6705"/>
                  </a:cubicBezTo>
                  <a:cubicBezTo>
                    <a:pt x="100888" y="8991"/>
                    <a:pt x="101103" y="11328"/>
                    <a:pt x="101103" y="13677"/>
                  </a:cubicBezTo>
                  <a:cubicBezTo>
                    <a:pt x="101103" y="42557"/>
                    <a:pt x="80339" y="66039"/>
                    <a:pt x="54736" y="66039"/>
                  </a:cubicBezTo>
                  <a:cubicBezTo>
                    <a:pt x="29221" y="66039"/>
                    <a:pt x="8521" y="42557"/>
                    <a:pt x="8521" y="13677"/>
                  </a:cubicBezTo>
                  <a:cubicBezTo>
                    <a:pt x="8521" y="11328"/>
                    <a:pt x="8686" y="9067"/>
                    <a:pt x="8952" y="6705"/>
                  </a:cubicBezTo>
                  <a:cubicBezTo>
                    <a:pt x="9562" y="2946"/>
                    <a:pt x="7987" y="0"/>
                    <a:pt x="5092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21" name="Freeform 981"/>
            <p:cNvSpPr/>
            <p:nvPr/>
          </p:nvSpPr>
          <p:spPr>
            <a:xfrm>
              <a:off x="2564288" y="4394436"/>
              <a:ext cx="103505" cy="42710"/>
            </a:xfrm>
            <a:custGeom>
              <a:avLst/>
              <a:gdLst/>
              <a:ahLst/>
              <a:cxnLst/>
              <a:rect l="0" t="0" r="0" b="0"/>
              <a:pathLst>
                <a:path w="103505" h="42710">
                  <a:moveTo>
                    <a:pt x="7620" y="0"/>
                  </a:moveTo>
                  <a:cubicBezTo>
                    <a:pt x="3379" y="0"/>
                    <a:pt x="0" y="9550"/>
                    <a:pt x="0" y="21361"/>
                  </a:cubicBezTo>
                  <a:cubicBezTo>
                    <a:pt x="0" y="33146"/>
                    <a:pt x="9842" y="42710"/>
                    <a:pt x="21844" y="42710"/>
                  </a:cubicBezTo>
                  <a:lnTo>
                    <a:pt x="81559" y="42710"/>
                  </a:lnTo>
                  <a:cubicBezTo>
                    <a:pt x="93675" y="42710"/>
                    <a:pt x="103505" y="33146"/>
                    <a:pt x="103505" y="21361"/>
                  </a:cubicBezTo>
                  <a:cubicBezTo>
                    <a:pt x="103505" y="9550"/>
                    <a:pt x="98704" y="0"/>
                    <a:pt x="92786" y="0"/>
                  </a:cubicBezTo>
                  <a:cubicBezTo>
                    <a:pt x="86906" y="0"/>
                    <a:pt x="78447" y="10820"/>
                    <a:pt x="68681" y="18008"/>
                  </a:cubicBezTo>
                  <a:cubicBezTo>
                    <a:pt x="62915" y="22339"/>
                    <a:pt x="56057" y="24765"/>
                    <a:pt x="48641" y="24765"/>
                  </a:cubicBezTo>
                  <a:cubicBezTo>
                    <a:pt x="41325" y="24765"/>
                    <a:pt x="34442" y="22339"/>
                    <a:pt x="28714" y="18008"/>
                  </a:cubicBezTo>
                  <a:cubicBezTo>
                    <a:pt x="18961" y="10820"/>
                    <a:pt x="11823" y="0"/>
                    <a:pt x="7620" y="0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22" name="Freeform 982"/>
            <p:cNvSpPr/>
            <p:nvPr/>
          </p:nvSpPr>
          <p:spPr>
            <a:xfrm>
              <a:off x="2564294" y="4165874"/>
              <a:ext cx="103504" cy="212013"/>
            </a:xfrm>
            <a:custGeom>
              <a:avLst/>
              <a:gdLst/>
              <a:ahLst/>
              <a:cxnLst/>
              <a:rect l="0" t="0" r="0" b="0"/>
              <a:pathLst>
                <a:path w="103504" h="212013">
                  <a:moveTo>
                    <a:pt x="103504" y="24777"/>
                  </a:moveTo>
                  <a:cubicBezTo>
                    <a:pt x="103504" y="11112"/>
                    <a:pt x="93675" y="0"/>
                    <a:pt x="81546" y="0"/>
                  </a:cubicBezTo>
                  <a:lnTo>
                    <a:pt x="21831" y="0"/>
                  </a:lnTo>
                  <a:cubicBezTo>
                    <a:pt x="9829" y="0"/>
                    <a:pt x="0" y="11112"/>
                    <a:pt x="0" y="24777"/>
                  </a:cubicBezTo>
                  <a:lnTo>
                    <a:pt x="0" y="187311"/>
                  </a:lnTo>
                  <a:cubicBezTo>
                    <a:pt x="0" y="200964"/>
                    <a:pt x="2654" y="212013"/>
                    <a:pt x="6057" y="212013"/>
                  </a:cubicBezTo>
                  <a:cubicBezTo>
                    <a:pt x="9372" y="212013"/>
                    <a:pt x="11633" y="200075"/>
                    <a:pt x="18516" y="188797"/>
                  </a:cubicBezTo>
                  <a:cubicBezTo>
                    <a:pt x="25133" y="177951"/>
                    <a:pt x="36194" y="170763"/>
                    <a:pt x="48653" y="170763"/>
                  </a:cubicBezTo>
                  <a:cubicBezTo>
                    <a:pt x="61188" y="170763"/>
                    <a:pt x="72250" y="177951"/>
                    <a:pt x="78866" y="188797"/>
                  </a:cubicBezTo>
                  <a:cubicBezTo>
                    <a:pt x="85661" y="200075"/>
                    <a:pt x="89319" y="212013"/>
                    <a:pt x="94360" y="212013"/>
                  </a:cubicBezTo>
                  <a:cubicBezTo>
                    <a:pt x="99402" y="212013"/>
                    <a:pt x="103504" y="200964"/>
                    <a:pt x="103504" y="18731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23" name="Freeform 983"/>
            <p:cNvSpPr/>
            <p:nvPr/>
          </p:nvSpPr>
          <p:spPr>
            <a:xfrm>
              <a:off x="2595953" y="4358574"/>
              <a:ext cx="34073" cy="38582"/>
            </a:xfrm>
            <a:custGeom>
              <a:avLst/>
              <a:gdLst/>
              <a:ahLst/>
              <a:cxnLst/>
              <a:rect l="0" t="0" r="0" b="0"/>
              <a:pathLst>
                <a:path w="34073" h="38582">
                  <a:moveTo>
                    <a:pt x="16979" y="38582"/>
                  </a:moveTo>
                  <a:cubicBezTo>
                    <a:pt x="20052" y="38582"/>
                    <a:pt x="22719" y="37490"/>
                    <a:pt x="25259" y="35852"/>
                  </a:cubicBezTo>
                  <a:cubicBezTo>
                    <a:pt x="30390" y="32487"/>
                    <a:pt x="34073" y="26492"/>
                    <a:pt x="34073" y="19329"/>
                  </a:cubicBezTo>
                  <a:cubicBezTo>
                    <a:pt x="34073" y="8699"/>
                    <a:pt x="26377" y="0"/>
                    <a:pt x="16979" y="0"/>
                  </a:cubicBezTo>
                  <a:cubicBezTo>
                    <a:pt x="7581" y="0"/>
                    <a:pt x="0" y="8699"/>
                    <a:pt x="0" y="19329"/>
                  </a:cubicBezTo>
                  <a:cubicBezTo>
                    <a:pt x="0" y="26492"/>
                    <a:pt x="3581" y="32487"/>
                    <a:pt x="8801" y="35852"/>
                  </a:cubicBezTo>
                  <a:cubicBezTo>
                    <a:pt x="11226" y="37414"/>
                    <a:pt x="13932" y="38582"/>
                    <a:pt x="16979" y="38582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sp>
          <p:nvSpPr>
            <p:cNvPr id="324" name="Freeform 984"/>
            <p:cNvSpPr/>
            <p:nvPr/>
          </p:nvSpPr>
          <p:spPr>
            <a:xfrm>
              <a:off x="2586123" y="3876670"/>
              <a:ext cx="53632" cy="60603"/>
            </a:xfrm>
            <a:custGeom>
              <a:avLst/>
              <a:gdLst/>
              <a:ahLst/>
              <a:cxnLst/>
              <a:rect l="0" t="0" r="0" b="0"/>
              <a:pathLst>
                <a:path w="53632" h="60603">
                  <a:moveTo>
                    <a:pt x="53632" y="30276"/>
                  </a:moveTo>
                  <a:cubicBezTo>
                    <a:pt x="53632" y="25374"/>
                    <a:pt x="52502" y="20739"/>
                    <a:pt x="50585" y="16611"/>
                  </a:cubicBezTo>
                  <a:cubicBezTo>
                    <a:pt x="46140" y="6794"/>
                    <a:pt x="37173" y="0"/>
                    <a:pt x="26823" y="0"/>
                  </a:cubicBezTo>
                  <a:cubicBezTo>
                    <a:pt x="16460" y="0"/>
                    <a:pt x="7493" y="6794"/>
                    <a:pt x="3048" y="16611"/>
                  </a:cubicBezTo>
                  <a:cubicBezTo>
                    <a:pt x="1220" y="20739"/>
                    <a:pt x="0" y="25374"/>
                    <a:pt x="0" y="30276"/>
                  </a:cubicBezTo>
                  <a:cubicBezTo>
                    <a:pt x="0" y="47040"/>
                    <a:pt x="12002" y="60603"/>
                    <a:pt x="26823" y="60603"/>
                  </a:cubicBezTo>
                  <a:cubicBezTo>
                    <a:pt x="41618" y="60603"/>
                    <a:pt x="53632" y="47040"/>
                    <a:pt x="53632" y="30276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tr-TR" dirty="0">
                <a:latin typeface="EYInterstate Light" panose="02000506000000020004" pitchFamily="2" charset="0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3510022" y="3872861"/>
              <a:ext cx="1107001" cy="1237433"/>
              <a:chOff x="3815480" y="3750785"/>
              <a:chExt cx="1107001" cy="1237433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3990978" y="3750785"/>
                <a:ext cx="756004" cy="755992"/>
                <a:chOff x="3628650" y="3867670"/>
                <a:chExt cx="756004" cy="755992"/>
              </a:xfrm>
            </p:grpSpPr>
            <p:sp>
              <p:nvSpPr>
                <p:cNvPr id="281" name="Freeform 941"/>
                <p:cNvSpPr/>
                <p:nvPr/>
              </p:nvSpPr>
              <p:spPr>
                <a:xfrm>
                  <a:off x="3628650" y="3867670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282" name="Picture 942"/>
                <p:cNvPicPr>
                  <a:picLocks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3799931" y="4053654"/>
                  <a:ext cx="413448" cy="384009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1" name="TextBox 90"/>
              <p:cNvSpPr txBox="1"/>
              <p:nvPr/>
            </p:nvSpPr>
            <p:spPr>
              <a:xfrm>
                <a:off x="3815480" y="4553740"/>
                <a:ext cx="1107001" cy="434478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Sağlık</a:t>
                </a:r>
              </a:p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Hizmetleri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2939596" y="5119171"/>
              <a:ext cx="756004" cy="755992"/>
              <a:chOff x="2812915" y="4994473"/>
              <a:chExt cx="756004" cy="755992"/>
            </a:xfrm>
          </p:grpSpPr>
          <p:sp>
            <p:nvSpPr>
              <p:cNvPr id="279" name="Freeform 939"/>
              <p:cNvSpPr/>
              <p:nvPr/>
            </p:nvSpPr>
            <p:spPr>
              <a:xfrm>
                <a:off x="2812915" y="4994473"/>
                <a:ext cx="756004" cy="755992"/>
              </a:xfrm>
              <a:custGeom>
                <a:avLst/>
                <a:gdLst/>
                <a:ahLst/>
                <a:cxnLst/>
                <a:rect l="0" t="0" r="0" b="0"/>
                <a:pathLst>
                  <a:path w="756004" h="755992">
                    <a:moveTo>
                      <a:pt x="378002" y="755992"/>
                    </a:moveTo>
                    <a:cubicBezTo>
                      <a:pt x="586764" y="755992"/>
                      <a:pt x="756004" y="586752"/>
                      <a:pt x="756004" y="377990"/>
                    </a:cubicBezTo>
                    <a:cubicBezTo>
                      <a:pt x="756004" y="169227"/>
                      <a:pt x="586764" y="0"/>
                      <a:pt x="378002" y="0"/>
                    </a:cubicBezTo>
                    <a:cubicBezTo>
                      <a:pt x="169240" y="0"/>
                      <a:pt x="0" y="169227"/>
                      <a:pt x="0" y="377990"/>
                    </a:cubicBezTo>
                    <a:cubicBezTo>
                      <a:pt x="0" y="586752"/>
                      <a:pt x="169240" y="755992"/>
                      <a:pt x="378002" y="755992"/>
                    </a:cubicBezTo>
                  </a:path>
                </a:pathLst>
              </a:custGeom>
              <a:solidFill>
                <a:srgbClr val="E9E9E7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tr-TR" dirty="0">
                  <a:latin typeface="EYInterstate Light" panose="02000506000000020004" pitchFamily="2" charset="0"/>
                </a:endParaRPr>
              </a:p>
            </p:txBody>
          </p:sp>
          <p:pic>
            <p:nvPicPr>
              <p:cNvPr id="280" name="Picture 940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2891373" y="5224310"/>
                <a:ext cx="599084" cy="296303"/>
              </a:xfrm>
              <a:prstGeom prst="rect">
                <a:avLst/>
              </a:prstGeom>
              <a:noFill/>
              <a:extLst/>
            </p:spPr>
          </p:pic>
        </p:grpSp>
        <p:sp>
          <p:nvSpPr>
            <p:cNvPr id="93" name="TextBox 92"/>
            <p:cNvSpPr txBox="1"/>
            <p:nvPr/>
          </p:nvSpPr>
          <p:spPr>
            <a:xfrm>
              <a:off x="2920404" y="5951244"/>
              <a:ext cx="794389" cy="21647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>
                <a:spcAft>
                  <a:spcPts val="300"/>
                </a:spcAft>
              </a:pPr>
              <a:r>
                <a:rPr lang="tr-TR" sz="1400" b="1" spc="-17" dirty="0" smtClean="0">
                  <a:solidFill>
                    <a:srgbClr val="1A1A1A"/>
                  </a:solidFill>
                  <a:latin typeface="EYInterstate Light" panose="02000506000000020004" pitchFamily="2" charset="0"/>
                </a:rPr>
                <a:t>Kamu</a:t>
              </a:r>
              <a:endParaRPr lang="tr-TR" sz="1400" b="1" dirty="0" smtClean="0">
                <a:solidFill>
                  <a:srgbClr val="1A1A1A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459138" y="3852639"/>
              <a:ext cx="756004" cy="1068570"/>
              <a:chOff x="1376018" y="5017571"/>
              <a:chExt cx="756004" cy="1068570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1376018" y="5017571"/>
                <a:ext cx="756004" cy="755992"/>
                <a:chOff x="1487884" y="4994466"/>
                <a:chExt cx="756004" cy="755992"/>
              </a:xfrm>
            </p:grpSpPr>
            <p:sp>
              <p:nvSpPr>
                <p:cNvPr id="277" name="Freeform 937"/>
                <p:cNvSpPr/>
                <p:nvPr/>
              </p:nvSpPr>
              <p:spPr>
                <a:xfrm>
                  <a:off x="1487884" y="4994466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278" name="Picture 938"/>
                <p:cNvPicPr>
                  <a:picLocks noChangeArrowheads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1765933" y="5098760"/>
                  <a:ext cx="199897" cy="547408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4" name="TextBox 93"/>
              <p:cNvSpPr txBox="1"/>
              <p:nvPr/>
            </p:nvSpPr>
            <p:spPr>
              <a:xfrm>
                <a:off x="1474847" y="5869671"/>
                <a:ext cx="569640" cy="21647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İlaç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922775" y="5195143"/>
              <a:ext cx="1800548" cy="1069078"/>
              <a:chOff x="922775" y="5195143"/>
              <a:chExt cx="1800548" cy="1069078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1445047" y="5195143"/>
                <a:ext cx="756004" cy="755992"/>
                <a:chOff x="672149" y="3867670"/>
                <a:chExt cx="756004" cy="755992"/>
              </a:xfrm>
            </p:grpSpPr>
            <p:sp>
              <p:nvSpPr>
                <p:cNvPr id="276" name="Freeform 936"/>
                <p:cNvSpPr/>
                <p:nvPr/>
              </p:nvSpPr>
              <p:spPr>
                <a:xfrm>
                  <a:off x="672149" y="3867670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325" name="Freeform 985"/>
                <p:cNvSpPr/>
                <p:nvPr/>
              </p:nvSpPr>
              <p:spPr>
                <a:xfrm>
                  <a:off x="938331" y="4203678"/>
                  <a:ext cx="219048" cy="25984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19048" h="259841">
                      <a:moveTo>
                        <a:pt x="71119" y="107124"/>
                      </a:moveTo>
                      <a:lnTo>
                        <a:pt x="195223" y="253948"/>
                      </a:lnTo>
                      <a:cubicBezTo>
                        <a:pt x="199262" y="258723"/>
                        <a:pt x="206183" y="259841"/>
                        <a:pt x="211517" y="256590"/>
                      </a:cubicBezTo>
                      <a:cubicBezTo>
                        <a:pt x="216864" y="253339"/>
                        <a:pt x="219048" y="246671"/>
                        <a:pt x="216648" y="240893"/>
                      </a:cubicBezTo>
                      <a:lnTo>
                        <a:pt x="120280" y="7874"/>
                      </a:lnTo>
                      <a:cubicBezTo>
                        <a:pt x="118299" y="3112"/>
                        <a:pt x="113651" y="0"/>
                        <a:pt x="108495" y="25"/>
                      </a:cubicBezTo>
                      <a:cubicBezTo>
                        <a:pt x="103338" y="38"/>
                        <a:pt x="98703" y="3175"/>
                        <a:pt x="96772" y="7950"/>
                      </a:cubicBezTo>
                      <a:lnTo>
                        <a:pt x="2349" y="240969"/>
                      </a:lnTo>
                      <a:cubicBezTo>
                        <a:pt x="0" y="246760"/>
                        <a:pt x="2222" y="253402"/>
                        <a:pt x="7569" y="256628"/>
                      </a:cubicBezTo>
                      <a:cubicBezTo>
                        <a:pt x="12915" y="259841"/>
                        <a:pt x="19824" y="258698"/>
                        <a:pt x="23850" y="253910"/>
                      </a:cubicBezTo>
                      <a:lnTo>
                        <a:pt x="147217" y="107099"/>
                      </a:lnTo>
                    </a:path>
                  </a:pathLst>
                </a:custGeom>
                <a:noFill/>
                <a:ln w="25400" cap="flat" cmpd="sng">
                  <a:solidFill>
                    <a:srgbClr val="4C4C4A">
                      <a:alpha val="100000"/>
                    </a:srgb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326" name="Picture 986"/>
                <p:cNvPicPr>
                  <a:picLocks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880348" y="4003804"/>
                  <a:ext cx="338104" cy="291259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5" name="TextBox 94"/>
              <p:cNvSpPr txBox="1"/>
              <p:nvPr/>
            </p:nvSpPr>
            <p:spPr>
              <a:xfrm>
                <a:off x="922775" y="6047751"/>
                <a:ext cx="1800548" cy="21647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Telekomünikasyon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617853" y="2322914"/>
              <a:ext cx="939738" cy="1064101"/>
              <a:chOff x="617853" y="2322914"/>
              <a:chExt cx="939738" cy="1064101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728949" y="2322914"/>
                <a:ext cx="756004" cy="755992"/>
                <a:chOff x="933149" y="2632869"/>
                <a:chExt cx="756004" cy="755992"/>
              </a:xfrm>
            </p:grpSpPr>
            <p:sp>
              <p:nvSpPr>
                <p:cNvPr id="285" name="Freeform 945"/>
                <p:cNvSpPr/>
                <p:nvPr/>
              </p:nvSpPr>
              <p:spPr>
                <a:xfrm>
                  <a:off x="933149" y="2632869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286" name="Picture 946"/>
                <p:cNvPicPr>
                  <a:picLocks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1009233" y="2822346"/>
                  <a:ext cx="602919" cy="377025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6" name="TextBox 95"/>
              <p:cNvSpPr txBox="1"/>
              <p:nvPr/>
            </p:nvSpPr>
            <p:spPr>
              <a:xfrm>
                <a:off x="617853" y="3170545"/>
                <a:ext cx="939738" cy="21647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Enerji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998970" y="1529468"/>
              <a:ext cx="1087568" cy="1216392"/>
              <a:chOff x="1998970" y="1529468"/>
              <a:chExt cx="1087568" cy="1216392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2157807" y="1529468"/>
                <a:ext cx="756004" cy="755992"/>
                <a:chOff x="2125649" y="2029872"/>
                <a:chExt cx="756004" cy="755992"/>
              </a:xfrm>
            </p:grpSpPr>
            <p:sp>
              <p:nvSpPr>
                <p:cNvPr id="274" name="Freeform 934"/>
                <p:cNvSpPr/>
                <p:nvPr/>
              </p:nvSpPr>
              <p:spPr>
                <a:xfrm>
                  <a:off x="2125649" y="2029872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275" name="Picture 935"/>
                <p:cNvPicPr>
                  <a:picLocks noChangeArrowheads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2306088" y="2212595"/>
                  <a:ext cx="395135" cy="390537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7" name="TextBox 96"/>
              <p:cNvSpPr txBox="1"/>
              <p:nvPr/>
            </p:nvSpPr>
            <p:spPr>
              <a:xfrm>
                <a:off x="1998970" y="2311382"/>
                <a:ext cx="1087568" cy="434478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Finansal</a:t>
                </a:r>
              </a:p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Hizmetler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3018054" y="2221314"/>
              <a:ext cx="1800548" cy="990106"/>
              <a:chOff x="3018054" y="2221314"/>
              <a:chExt cx="1800548" cy="99010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3586665" y="2221314"/>
                <a:ext cx="756004" cy="755992"/>
                <a:chOff x="3318150" y="2632862"/>
                <a:chExt cx="756004" cy="755992"/>
              </a:xfrm>
            </p:grpSpPr>
            <p:sp>
              <p:nvSpPr>
                <p:cNvPr id="283" name="Freeform 943"/>
                <p:cNvSpPr/>
                <p:nvPr/>
              </p:nvSpPr>
              <p:spPr>
                <a:xfrm>
                  <a:off x="3318150" y="2632862"/>
                  <a:ext cx="756004" cy="7559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6004" h="755992">
                      <a:moveTo>
                        <a:pt x="378002" y="755992"/>
                      </a:moveTo>
                      <a:cubicBezTo>
                        <a:pt x="586764" y="755992"/>
                        <a:pt x="756004" y="586752"/>
                        <a:pt x="756004" y="377990"/>
                      </a:cubicBezTo>
                      <a:cubicBezTo>
                        <a:pt x="756004" y="169227"/>
                        <a:pt x="586764" y="0"/>
                        <a:pt x="378002" y="0"/>
                      </a:cubicBezTo>
                      <a:cubicBezTo>
                        <a:pt x="169240" y="0"/>
                        <a:pt x="0" y="169227"/>
                        <a:pt x="0" y="377990"/>
                      </a:cubicBezTo>
                      <a:cubicBezTo>
                        <a:pt x="0" y="586752"/>
                        <a:pt x="169240" y="755992"/>
                        <a:pt x="378002" y="755992"/>
                      </a:cubicBezTo>
                    </a:path>
                  </a:pathLst>
                </a:custGeom>
                <a:solidFill>
                  <a:srgbClr val="E9E9E7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tr-TR" dirty="0">
                    <a:latin typeface="EYInterstate Light" panose="02000506000000020004" pitchFamily="2" charset="0"/>
                  </a:endParaRPr>
                </a:p>
              </p:txBody>
            </p:sp>
            <p:pic>
              <p:nvPicPr>
                <p:cNvPr id="284" name="Picture 944"/>
                <p:cNvPicPr>
                  <a:picLocks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3487352" y="2837115"/>
                  <a:ext cx="417601" cy="347497"/>
                </a:xfrm>
                <a:prstGeom prst="rect">
                  <a:avLst/>
                </a:prstGeom>
                <a:noFill/>
                <a:extLst/>
              </p:spPr>
            </p:pic>
          </p:grpSp>
          <p:sp>
            <p:nvSpPr>
              <p:cNvPr id="98" name="TextBox 97"/>
              <p:cNvSpPr txBox="1"/>
              <p:nvPr/>
            </p:nvSpPr>
            <p:spPr>
              <a:xfrm>
                <a:off x="3018054" y="2994950"/>
                <a:ext cx="1800548" cy="216470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>
                  <a:spcAft>
                    <a:spcPts val="300"/>
                  </a:spcAft>
                </a:pPr>
                <a:r>
                  <a:rPr lang="tr-TR" sz="1400" b="1" spc="-17" dirty="0" smtClean="0">
                    <a:solidFill>
                      <a:srgbClr val="1A1A1A"/>
                    </a:solidFill>
                    <a:latin typeface="EYInterstate Light" panose="02000506000000020004" pitchFamily="2" charset="0"/>
                  </a:rPr>
                  <a:t>Perakende</a:t>
                </a:r>
                <a:endParaRPr lang="tr-TR" sz="1400" b="1" dirty="0" smtClean="0">
                  <a:solidFill>
                    <a:srgbClr val="1A1A1A"/>
                  </a:solidFill>
                  <a:latin typeface="EYInterstate Light" panose="02000506000000020004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20927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533920"/>
              </p:ext>
            </p:extLst>
          </p:nvPr>
        </p:nvGraphicFramePr>
        <p:xfrm>
          <a:off x="4735" y="33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35" y="33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92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tr-TR" sz="2400" dirty="0">
                <a:latin typeface="EYInterstate Light" panose="02000506000000020004" pitchFamily="2" charset="0"/>
              </a:rPr>
              <a:t>Muhasebe ve Finans alanında RSO uygulanabilecek çok sayıda süreç bulunmaktadır</a:t>
            </a:r>
            <a:endParaRPr lang="tr-TR" sz="2400" b="0" dirty="0">
              <a:latin typeface="EYInterstate" panose="02000503020000020004" pitchFamily="2" charset="0"/>
            </a:endParaRPr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414627"/>
              </p:ext>
            </p:extLst>
          </p:nvPr>
        </p:nvGraphicFramePr>
        <p:xfrm>
          <a:off x="672149" y="1091604"/>
          <a:ext cx="2498284" cy="4340244"/>
        </p:xfrm>
        <a:graphic>
          <a:graphicData uri="http://schemas.openxmlformats.org/drawingml/2006/table">
            <a:tbl>
              <a:tblPr firstRow="1">
                <a:effectLst/>
              </a:tblPr>
              <a:tblGrid>
                <a:gridCol w="767954"/>
                <a:gridCol w="767954"/>
                <a:gridCol w="962376"/>
              </a:tblGrid>
              <a:tr h="48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Operasyonel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Muhasebe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Tedarikten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Ödemeye (</a:t>
                      </a:r>
                      <a:r>
                        <a:rPr lang="tr-TR" sz="700" b="1" baseline="0" dirty="0" err="1" smtClean="0">
                          <a:solidFill>
                            <a:srgbClr val="FFE600"/>
                          </a:solidFill>
                          <a:latin typeface="+mn-lt"/>
                        </a:rPr>
                        <a:t>Procure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</a:t>
                      </a:r>
                      <a:r>
                        <a:rPr lang="tr-TR" sz="700" b="1" baseline="0" dirty="0" err="1" smtClean="0">
                          <a:solidFill>
                            <a:srgbClr val="FFE600"/>
                          </a:solidFill>
                          <a:latin typeface="+mn-lt"/>
                        </a:rPr>
                        <a:t>to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Pay)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Genel</a:t>
                      </a:r>
                    </a:p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Muhasebe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216000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</a:tr>
              <a:tr h="398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Kredi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uhasebesi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tratejik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Satınalma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Hesap Planı Bakım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216000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965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Yatırım</a:t>
                      </a:r>
                      <a:r>
                        <a:rPr lang="tr-TR" sz="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uhasebes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edarikçi Yönetimi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ahsisler &amp;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Düzeltmeler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</a:tr>
              <a:tr h="3869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dirty="0" smtClean="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Sigorta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uhasebesi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özleşme Müzakereler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Yevmiye</a:t>
                      </a:r>
                      <a:r>
                        <a:rPr lang="tr-TR" sz="600" b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kaydı işleme</a:t>
                      </a:r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asürans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uhasebes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Borç Hesapları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utabakatlar</a:t>
                      </a:r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on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uhasebes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alepler &amp; Satınalma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Siparişi İşleme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Şirket</a:t>
                      </a:r>
                      <a:r>
                        <a:rPr lang="tr-TR" sz="600" b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içi İşlemler</a:t>
                      </a:r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380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A</a:t>
                      </a:r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lacak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Hesapları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ordrolama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b="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onsolidasyon</a:t>
                      </a:r>
                      <a:endParaRPr lang="en-US" sz="600" b="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68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Faturalandırma</a:t>
                      </a:r>
                      <a:r>
                        <a:rPr lang="en-US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&amp; </a:t>
                      </a:r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Ödemeler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Gider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uhasebesi &amp; Geri Ödemeler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apanışlar</a:t>
                      </a:r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nlaşmazlık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Çözümü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uran Varlık Muhasebes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3574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olitik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 Muhasebes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enkul Kıymet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Fiyatlama &amp; Ürün Kontrolü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216000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  <a:tr h="4002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üzel Kişilik Yön.</a:t>
                      </a:r>
                      <a:r>
                        <a:rPr lang="tr-TR" sz="6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/ Bakımı</a:t>
                      </a:r>
                      <a:endParaRPr lang="en-US" sz="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216000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48" name="Group 47"/>
          <p:cNvGrpSpPr/>
          <p:nvPr/>
        </p:nvGrpSpPr>
        <p:grpSpPr>
          <a:xfrm>
            <a:off x="721611" y="1793414"/>
            <a:ext cx="1864318" cy="3586659"/>
            <a:chOff x="709880" y="2183347"/>
            <a:chExt cx="1864318" cy="3586659"/>
          </a:xfrm>
        </p:grpSpPr>
        <p:sp>
          <p:nvSpPr>
            <p:cNvPr id="49" name="Rectangle 48"/>
            <p:cNvSpPr/>
            <p:nvPr/>
          </p:nvSpPr>
          <p:spPr>
            <a:xfrm rot="18874439">
              <a:off x="1860212" y="2618485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defTabSz="987095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80" kern="0" dirty="0" smtClean="0">
                <a:solidFill>
                  <a:srgbClr val="333333">
                    <a:lumMod val="60000"/>
                    <a:lumOff val="40000"/>
                  </a:srgbClr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20133" y="2183347"/>
              <a:ext cx="250335" cy="135866"/>
              <a:chOff x="607982" y="1802530"/>
              <a:chExt cx="302906" cy="164398"/>
            </a:xfrm>
          </p:grpSpPr>
          <p:pic>
            <p:nvPicPr>
              <p:cNvPr id="114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5" name="Picture 114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51" name="Group 50"/>
            <p:cNvGrpSpPr>
              <a:grpSpLocks noChangeAspect="1"/>
            </p:cNvGrpSpPr>
            <p:nvPr/>
          </p:nvGrpSpPr>
          <p:grpSpPr>
            <a:xfrm>
              <a:off x="1287433" y="2210434"/>
              <a:ext cx="78341" cy="98682"/>
              <a:chOff x="4905799" y="3845590"/>
              <a:chExt cx="3107341" cy="3914121"/>
            </a:xfrm>
          </p:grpSpPr>
          <p:sp>
            <p:nvSpPr>
              <p:cNvPr id="112" name="Freeform 111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13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1287433" y="2610251"/>
              <a:ext cx="78341" cy="98682"/>
              <a:chOff x="4905799" y="3845590"/>
              <a:chExt cx="3107341" cy="3914121"/>
            </a:xfrm>
          </p:grpSpPr>
          <p:sp>
            <p:nvSpPr>
              <p:cNvPr id="110" name="Freeform 109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11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3" name="Group 52"/>
            <p:cNvGrpSpPr>
              <a:grpSpLocks noChangeAspect="1"/>
            </p:cNvGrpSpPr>
            <p:nvPr/>
          </p:nvGrpSpPr>
          <p:grpSpPr>
            <a:xfrm>
              <a:off x="1280998" y="3021541"/>
              <a:ext cx="78341" cy="98682"/>
              <a:chOff x="4905799" y="3845590"/>
              <a:chExt cx="3107341" cy="3914121"/>
            </a:xfrm>
          </p:grpSpPr>
          <p:sp>
            <p:nvSpPr>
              <p:cNvPr id="108" name="Freeform 107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09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4" name="Group 53"/>
            <p:cNvGrpSpPr>
              <a:grpSpLocks noChangeAspect="1"/>
            </p:cNvGrpSpPr>
            <p:nvPr/>
          </p:nvGrpSpPr>
          <p:grpSpPr>
            <a:xfrm>
              <a:off x="1299165" y="4166435"/>
              <a:ext cx="78341" cy="98682"/>
              <a:chOff x="4905799" y="3845590"/>
              <a:chExt cx="3107341" cy="3914121"/>
            </a:xfrm>
          </p:grpSpPr>
          <p:sp>
            <p:nvSpPr>
              <p:cNvPr id="106" name="Freeform 105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07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5" name="Group 54"/>
            <p:cNvGrpSpPr>
              <a:grpSpLocks noChangeAspect="1"/>
            </p:cNvGrpSpPr>
            <p:nvPr/>
          </p:nvGrpSpPr>
          <p:grpSpPr>
            <a:xfrm>
              <a:off x="1278459" y="4529507"/>
              <a:ext cx="78341" cy="98682"/>
              <a:chOff x="4905799" y="3845590"/>
              <a:chExt cx="3107341" cy="3914121"/>
            </a:xfrm>
          </p:grpSpPr>
          <p:sp>
            <p:nvSpPr>
              <p:cNvPr id="104" name="Freeform 103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05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2015745" y="3349225"/>
              <a:ext cx="78341" cy="98682"/>
              <a:chOff x="4905799" y="3845590"/>
              <a:chExt cx="3107341" cy="3914121"/>
            </a:xfrm>
          </p:grpSpPr>
          <p:sp>
            <p:nvSpPr>
              <p:cNvPr id="102" name="Freeform 101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03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2018284" y="3761217"/>
              <a:ext cx="78341" cy="98682"/>
              <a:chOff x="4905799" y="3845590"/>
              <a:chExt cx="3107341" cy="3914121"/>
            </a:xfrm>
          </p:grpSpPr>
          <p:sp>
            <p:nvSpPr>
              <p:cNvPr id="100" name="Freeform 99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01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8" name="Group 57"/>
            <p:cNvGrpSpPr>
              <a:grpSpLocks noChangeAspect="1"/>
            </p:cNvGrpSpPr>
            <p:nvPr/>
          </p:nvGrpSpPr>
          <p:grpSpPr>
            <a:xfrm>
              <a:off x="2070555" y="4537266"/>
              <a:ext cx="78341" cy="98682"/>
              <a:chOff x="4905799" y="3845590"/>
              <a:chExt cx="3107341" cy="3914121"/>
            </a:xfrm>
          </p:grpSpPr>
          <p:sp>
            <p:nvSpPr>
              <p:cNvPr id="97" name="Freeform 96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200" kern="0" dirty="0" smtClean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9" name="Group 58"/>
            <p:cNvGrpSpPr/>
            <p:nvPr/>
          </p:nvGrpSpPr>
          <p:grpSpPr>
            <a:xfrm>
              <a:off x="730656" y="2609240"/>
              <a:ext cx="250335" cy="135866"/>
              <a:chOff x="607982" y="1802530"/>
              <a:chExt cx="302906" cy="164398"/>
            </a:xfrm>
          </p:grpSpPr>
          <p:pic>
            <p:nvPicPr>
              <p:cNvPr id="9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6" name="Picture 9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1" name="Group 60"/>
            <p:cNvGrpSpPr/>
            <p:nvPr/>
          </p:nvGrpSpPr>
          <p:grpSpPr>
            <a:xfrm>
              <a:off x="709880" y="2996812"/>
              <a:ext cx="250335" cy="135866"/>
              <a:chOff x="607982" y="1802530"/>
              <a:chExt cx="302906" cy="164398"/>
            </a:xfrm>
          </p:grpSpPr>
          <p:pic>
            <p:nvPicPr>
              <p:cNvPr id="9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4" name="Picture 9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2" name="Group 61"/>
            <p:cNvGrpSpPr/>
            <p:nvPr/>
          </p:nvGrpSpPr>
          <p:grpSpPr>
            <a:xfrm>
              <a:off x="735559" y="4142576"/>
              <a:ext cx="250335" cy="135866"/>
              <a:chOff x="607982" y="1802530"/>
              <a:chExt cx="302906" cy="164398"/>
            </a:xfrm>
          </p:grpSpPr>
          <p:pic>
            <p:nvPicPr>
              <p:cNvPr id="8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0" name="Picture 8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3" name="Group 62"/>
            <p:cNvGrpSpPr/>
            <p:nvPr/>
          </p:nvGrpSpPr>
          <p:grpSpPr>
            <a:xfrm>
              <a:off x="720133" y="4513761"/>
              <a:ext cx="250335" cy="135866"/>
              <a:chOff x="607982" y="1802530"/>
              <a:chExt cx="302906" cy="164398"/>
            </a:xfrm>
          </p:grpSpPr>
          <p:pic>
            <p:nvPicPr>
              <p:cNvPr id="8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8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4" name="Group 63"/>
            <p:cNvGrpSpPr/>
            <p:nvPr/>
          </p:nvGrpSpPr>
          <p:grpSpPr>
            <a:xfrm>
              <a:off x="1497015" y="2607000"/>
              <a:ext cx="250335" cy="135866"/>
              <a:chOff x="607982" y="1802530"/>
              <a:chExt cx="302906" cy="164398"/>
            </a:xfrm>
          </p:grpSpPr>
          <p:pic>
            <p:nvPicPr>
              <p:cNvPr id="8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6" name="Picture 8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5" name="Group 64"/>
            <p:cNvGrpSpPr/>
            <p:nvPr/>
          </p:nvGrpSpPr>
          <p:grpSpPr>
            <a:xfrm>
              <a:off x="1512014" y="3341848"/>
              <a:ext cx="250335" cy="135866"/>
              <a:chOff x="607982" y="1802530"/>
              <a:chExt cx="302906" cy="164398"/>
            </a:xfrm>
          </p:grpSpPr>
          <p:pic>
            <p:nvPicPr>
              <p:cNvPr id="8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4" name="Picture 8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6" name="Group 65"/>
            <p:cNvGrpSpPr/>
            <p:nvPr/>
          </p:nvGrpSpPr>
          <p:grpSpPr>
            <a:xfrm>
              <a:off x="1516808" y="3742625"/>
              <a:ext cx="250335" cy="135866"/>
              <a:chOff x="607982" y="1802530"/>
              <a:chExt cx="302906" cy="164398"/>
            </a:xfrm>
          </p:grpSpPr>
          <p:pic>
            <p:nvPicPr>
              <p:cNvPr id="8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2" name="Picture 8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7" name="Group 66"/>
            <p:cNvGrpSpPr/>
            <p:nvPr/>
          </p:nvGrpSpPr>
          <p:grpSpPr>
            <a:xfrm>
              <a:off x="1519232" y="4510644"/>
              <a:ext cx="250335" cy="135866"/>
              <a:chOff x="607982" y="1802530"/>
              <a:chExt cx="302906" cy="164398"/>
            </a:xfrm>
          </p:grpSpPr>
          <p:pic>
            <p:nvPicPr>
              <p:cNvPr id="7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8" name="Group 67"/>
            <p:cNvGrpSpPr/>
            <p:nvPr/>
          </p:nvGrpSpPr>
          <p:grpSpPr>
            <a:xfrm>
              <a:off x="2323863" y="4496996"/>
              <a:ext cx="250335" cy="135866"/>
              <a:chOff x="607982" y="1802530"/>
              <a:chExt cx="302906" cy="164398"/>
            </a:xfrm>
          </p:grpSpPr>
          <p:pic>
            <p:nvPicPr>
              <p:cNvPr id="7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8" name="Picture 7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69" name="Group 68"/>
            <p:cNvGrpSpPr/>
            <p:nvPr/>
          </p:nvGrpSpPr>
          <p:grpSpPr>
            <a:xfrm>
              <a:off x="2291480" y="5634140"/>
              <a:ext cx="250335" cy="135866"/>
              <a:chOff x="607982" y="1802530"/>
              <a:chExt cx="302906" cy="164398"/>
            </a:xfrm>
          </p:grpSpPr>
          <p:pic>
            <p:nvPicPr>
              <p:cNvPr id="7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6" name="Picture 7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8080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0880" y="3004489"/>
              <a:ext cx="80294" cy="112286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8080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0880" y="3384043"/>
              <a:ext cx="80294" cy="112286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8080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0880" y="3777166"/>
              <a:ext cx="80294" cy="112286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8080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0880" y="2614308"/>
              <a:ext cx="80294" cy="112286"/>
            </a:xfrm>
            <a:prstGeom prst="rect">
              <a:avLst/>
            </a:prstGeom>
          </p:spPr>
        </p:pic>
      </p:grpSp>
      <p:graphicFrame>
        <p:nvGraphicFramePr>
          <p:cNvPr id="116" name="Table 1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493141"/>
              </p:ext>
            </p:extLst>
          </p:nvPr>
        </p:nvGraphicFramePr>
        <p:xfrm>
          <a:off x="3171337" y="1091604"/>
          <a:ext cx="7007234" cy="4357379"/>
        </p:xfrm>
        <a:graphic>
          <a:graphicData uri="http://schemas.openxmlformats.org/drawingml/2006/table">
            <a:tbl>
              <a:tblPr firstRow="1">
                <a:effectLst/>
              </a:tblPr>
              <a:tblGrid>
                <a:gridCol w="885949"/>
                <a:gridCol w="769795"/>
                <a:gridCol w="769795"/>
                <a:gridCol w="769795"/>
                <a:gridCol w="769795"/>
                <a:gridCol w="769795"/>
                <a:gridCol w="769795"/>
                <a:gridCol w="769795"/>
                <a:gridCol w="732720"/>
              </a:tblGrid>
              <a:tr h="438699">
                <a:tc>
                  <a:txBody>
                    <a:bodyPr/>
                    <a:lstStyle/>
                    <a:p>
                      <a:pPr algn="ctr"/>
                      <a:r>
                        <a:rPr lang="en-US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F</a:t>
                      </a:r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inansal &amp;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Harici Raporlama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288000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Performans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&amp; Yönetim Raporlaması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Bütçeleme,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Planlama &amp; Tahminleme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Politika,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Kontroller, Yönetişim &amp; Uyum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İç Denetim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Hazine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Sermaye Yönetimi &amp;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Yatırımlar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Vergi</a:t>
                      </a:r>
                      <a:r>
                        <a:rPr lang="tr-TR" sz="700" b="1" baseline="0" dirty="0" smtClean="0">
                          <a:solidFill>
                            <a:srgbClr val="FFE600"/>
                          </a:solidFill>
                          <a:latin typeface="+mn-lt"/>
                        </a:rPr>
                        <a:t> Planlama &amp; Muhasebe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tr-TR" sz="700" b="1" dirty="0" smtClean="0">
                          <a:solidFill>
                            <a:srgbClr val="FFE600"/>
                          </a:solidFill>
                          <a:latin typeface="+mn-lt"/>
                        </a:rPr>
                        <a:t>Yatırımcı İlişkileri</a:t>
                      </a:r>
                      <a:endParaRPr lang="en-US" sz="700" b="1" dirty="0">
                        <a:solidFill>
                          <a:srgbClr val="FFE6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5D5D"/>
                    </a:solidFill>
                  </a:tcPr>
                </a:tc>
              </a:tr>
              <a:tr h="398768">
                <a:tc>
                  <a:txBody>
                    <a:bodyPr/>
                    <a:lstStyle/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Finansal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Raporlama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88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orumluluk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Raporlama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tratejik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Planlama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Muhasebe Politikası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&amp; Yön.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Risk &amp; Control Framework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orç/Özkaynak</a:t>
                      </a:r>
                      <a:r>
                        <a:rPr lang="en-US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Yönetimi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ermaye Planlaması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tr-TR" sz="600" b="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Vergi</a:t>
                      </a:r>
                      <a:r>
                        <a:rPr lang="tr-TR" sz="600" b="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Planlama</a:t>
                      </a:r>
                      <a:endParaRPr lang="en-US" sz="600" b="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aydaş Kimliği &amp; Analiz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96515">
                <a:tc>
                  <a:txBody>
                    <a:bodyPr/>
                    <a:lstStyle/>
                    <a:p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Mevzuat Raporlama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88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Organizasyon Kâr Raporlaması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Yıllık Bütçe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Mevzuat Politikası &amp; Yön.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Fonksiyonel Denetim</a:t>
                      </a:r>
                    </a:p>
                    <a:p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X </a:t>
                      </a:r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Yönetim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ermaye Yapısı &amp;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Varlık Seviyes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ergi</a:t>
                      </a:r>
                      <a:r>
                        <a:rPr lang="tr-TR" sz="600" b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uhasebesi</a:t>
                      </a:r>
                      <a:r>
                        <a:rPr lang="en-US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ergi Veri Yönetimi</a:t>
                      </a:r>
                      <a:endParaRPr lang="en-US" sz="600" b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algn="l" defTabSz="914400" rtl="0" eaLnBrk="1" latinLnBrk="0" hangingPunct="1"/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aydaş Katılımı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/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Raporlama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88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Ürün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Kârlılığı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Üç Aylık / Kayan</a:t>
                      </a:r>
                      <a:r>
                        <a:rPr lang="tr-TR" sz="600" baseline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ahminleme</a:t>
                      </a:r>
                      <a:endParaRPr lang="tr-TR" sz="6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Yasal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Politika &amp; Yön.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Konsültasyon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Li</a:t>
                      </a:r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idite</a:t>
                      </a:r>
                      <a:r>
                        <a:rPr lang="tr-TR" sz="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Yönetim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usiness Case Support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tr-TR" sz="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Vergi</a:t>
                      </a:r>
                      <a:r>
                        <a:rPr lang="tr-TR" sz="6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uhasebesi / Analizi</a:t>
                      </a:r>
                      <a:endParaRPr lang="en-US" sz="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aydaş İlişkiler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/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Yasal</a:t>
                      </a:r>
                    </a:p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Raporlama</a:t>
                      </a:r>
                      <a:endParaRPr lang="en-US" sz="60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88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Müşteri Kârlılığı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Kazanç Tahminleme</a:t>
                      </a:r>
                      <a:endParaRPr lang="en-US" sz="600" b="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b="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Yönetim</a:t>
                      </a:r>
                      <a:r>
                        <a:rPr lang="tr-TR" sz="600" b="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uhasebesi Politikası &amp; Yön.</a:t>
                      </a:r>
                      <a:endParaRPr lang="en-US" sz="600" b="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akit</a:t>
                      </a:r>
                      <a:r>
                        <a:rPr lang="tr-TR" sz="6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Yönetim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Satınalmalar &amp;</a:t>
                      </a:r>
                    </a:p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Elden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çıkarmalar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tr-TR" sz="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Vergi Muhasebesi / Hazırlama &amp; Gözden geçirme</a:t>
                      </a:r>
                      <a:endParaRPr lang="en-US" sz="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Kurumsal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İletişim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86990">
                <a:tc>
                  <a:txBody>
                    <a:bodyPr/>
                    <a:lstStyle/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Denetim</a:t>
                      </a:r>
                    </a:p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Desteğ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88000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Fon Kârlılığı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İç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Süreç &amp; Kontroller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ermaye Stratejis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roje Muhasebes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tr-TR" sz="6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Vergi Uyumu</a:t>
                      </a:r>
                      <a:endParaRPr lang="en-US" sz="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Derecelendirme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Kuruluş İlişkileri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</a:tr>
              <a:tr h="380831">
                <a:tc>
                  <a:txBody>
                    <a:bodyPr/>
                    <a:lstStyle/>
                    <a:p>
                      <a:endParaRPr lang="tr-TR" dirty="0"/>
                    </a:p>
                  </a:txBody>
                  <a:tcPr marL="360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Maliyet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Geliştirme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OX</a:t>
                      </a:r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Uyumu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anka İlişkiler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tr-TR" sz="600" b="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Vergi İhtilafı</a:t>
                      </a:r>
                      <a:r>
                        <a:rPr lang="tr-TR" sz="600" b="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/ Vergi Denetimi</a:t>
                      </a:r>
                      <a:endParaRPr lang="en-US" sz="600" b="0" i="1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8920">
                <a:tc>
                  <a:txBody>
                    <a:bodyPr/>
                    <a:lstStyle/>
                    <a:p>
                      <a:endParaRPr lang="tr-TR" dirty="0"/>
                    </a:p>
                  </a:txBody>
                  <a:tcPr marL="360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Maliyet Tahsisi</a:t>
                      </a:r>
                      <a:endParaRPr lang="en-US" sz="600" i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i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Vergi &amp;</a:t>
                      </a:r>
                      <a:r>
                        <a:rPr lang="tr-TR" sz="600" i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Hazine Politikası</a:t>
                      </a:r>
                      <a:endParaRPr lang="en-US" sz="600" i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Hazine Stratejis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4011">
                <a:tc>
                  <a:txBody>
                    <a:bodyPr/>
                    <a:lstStyle/>
                    <a:p>
                      <a:endParaRPr lang="tr-TR" dirty="0"/>
                    </a:p>
                  </a:txBody>
                  <a:tcPr marL="360000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Fon Transfer Fiyatlama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in</a:t>
                      </a:r>
                      <a:r>
                        <a:rPr lang="tr-TR" sz="6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ns Ana Veri Yönetişimi</a:t>
                      </a:r>
                      <a:endParaRPr lang="en-US" sz="6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tr-TR" sz="6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Küresel Ekonomi</a:t>
                      </a:r>
                      <a:endParaRPr lang="en-US" sz="6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7409">
                <a:tc>
                  <a:txBody>
                    <a:bodyPr/>
                    <a:lstStyle/>
                    <a:p>
                      <a:endParaRPr lang="tr-TR" dirty="0"/>
                    </a:p>
                  </a:txBody>
                  <a:tcPr marL="360000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600" i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Özel </a:t>
                      </a:r>
                      <a:r>
                        <a:rPr lang="tr-TR" sz="600" i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Raporlamalar</a:t>
                      </a:r>
                      <a:endParaRPr lang="en-US" sz="600" i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0241">
                <a:tc>
                  <a:txBody>
                    <a:bodyPr/>
                    <a:lstStyle/>
                    <a:p>
                      <a:endParaRPr lang="tr-TR" dirty="0"/>
                    </a:p>
                  </a:txBody>
                  <a:tcPr marL="360000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Anal</a:t>
                      </a:r>
                      <a:r>
                        <a:rPr lang="tr-TR" sz="6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itik</a:t>
                      </a:r>
                      <a:r>
                        <a:rPr lang="tr-TR" sz="6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&amp; Karar Destek</a:t>
                      </a:r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288" marR="18288" marT="18288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8" name="Group 117"/>
          <p:cNvGrpSpPr/>
          <p:nvPr/>
        </p:nvGrpSpPr>
        <p:grpSpPr>
          <a:xfrm>
            <a:off x="3441760" y="1806179"/>
            <a:ext cx="5802851" cy="3585209"/>
            <a:chOff x="3490409" y="2186290"/>
            <a:chExt cx="5802851" cy="3585209"/>
          </a:xfrm>
        </p:grpSpPr>
        <p:sp>
          <p:nvSpPr>
            <p:cNvPr id="119" name="Rectangle 118"/>
            <p:cNvSpPr/>
            <p:nvPr/>
          </p:nvSpPr>
          <p:spPr>
            <a:xfrm rot="18874439">
              <a:off x="7632012" y="2920562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marL="0" marR="0" lvl="0" indent="0" algn="ctr" defTabSz="9870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8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 rot="18874439">
              <a:off x="4540132" y="5660674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algn="ctr" defTabSz="987095" fontAlgn="auto">
                <a:spcBef>
                  <a:spcPts val="0"/>
                </a:spcBef>
                <a:spcAft>
                  <a:spcPts val="0"/>
                </a:spcAft>
              </a:pPr>
              <a:endParaRPr lang="en-GB" sz="1080" kern="0" dirty="0">
                <a:solidFill>
                  <a:srgbClr val="333333">
                    <a:lumMod val="60000"/>
                    <a:lumOff val="40000"/>
                  </a:srgbClr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121" name="Group 120"/>
            <p:cNvGrpSpPr>
              <a:grpSpLocks noChangeAspect="1"/>
            </p:cNvGrpSpPr>
            <p:nvPr/>
          </p:nvGrpSpPr>
          <p:grpSpPr>
            <a:xfrm>
              <a:off x="7624533" y="3288323"/>
              <a:ext cx="81694" cy="102905"/>
              <a:chOff x="4905799" y="3845590"/>
              <a:chExt cx="3107341" cy="3914121"/>
            </a:xfrm>
          </p:grpSpPr>
          <p:sp>
            <p:nvSpPr>
              <p:cNvPr id="203" name="Freeform 202"/>
              <p:cNvSpPr/>
              <p:nvPr/>
            </p:nvSpPr>
            <p:spPr>
              <a:xfrm>
                <a:off x="4974580" y="3879593"/>
                <a:ext cx="2969777" cy="3762797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80808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marR="0" lvl="0" indent="-133279" algn="ctr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pic>
            <p:nvPicPr>
              <p:cNvPr id="204" name="Picture 2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4905799" y="384559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22" name="Group 121"/>
            <p:cNvGrpSpPr/>
            <p:nvPr/>
          </p:nvGrpSpPr>
          <p:grpSpPr>
            <a:xfrm>
              <a:off x="3490409" y="2186290"/>
              <a:ext cx="250335" cy="135866"/>
              <a:chOff x="607982" y="1802530"/>
              <a:chExt cx="302906" cy="164398"/>
            </a:xfrm>
          </p:grpSpPr>
          <p:pic>
            <p:nvPicPr>
              <p:cNvPr id="20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2" name="Picture 20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23" name="Group 122"/>
            <p:cNvGrpSpPr/>
            <p:nvPr/>
          </p:nvGrpSpPr>
          <p:grpSpPr>
            <a:xfrm>
              <a:off x="3494504" y="2555895"/>
              <a:ext cx="250335" cy="135866"/>
              <a:chOff x="607982" y="1802530"/>
              <a:chExt cx="302906" cy="164398"/>
            </a:xfrm>
          </p:grpSpPr>
          <p:pic>
            <p:nvPicPr>
              <p:cNvPr id="19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24" name="Group 123"/>
            <p:cNvGrpSpPr/>
            <p:nvPr/>
          </p:nvGrpSpPr>
          <p:grpSpPr>
            <a:xfrm>
              <a:off x="3498883" y="2873772"/>
              <a:ext cx="250335" cy="135866"/>
              <a:chOff x="607982" y="1802530"/>
              <a:chExt cx="302906" cy="164398"/>
            </a:xfrm>
          </p:grpSpPr>
          <p:pic>
            <p:nvPicPr>
              <p:cNvPr id="19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25" name="Group 124"/>
            <p:cNvGrpSpPr/>
            <p:nvPr/>
          </p:nvGrpSpPr>
          <p:grpSpPr>
            <a:xfrm>
              <a:off x="3508332" y="3341251"/>
              <a:ext cx="250335" cy="135866"/>
              <a:chOff x="607982" y="1802530"/>
              <a:chExt cx="302906" cy="164398"/>
            </a:xfrm>
          </p:grpSpPr>
          <p:pic>
            <p:nvPicPr>
              <p:cNvPr id="19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6" name="Picture 19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26" name="Group 125"/>
            <p:cNvGrpSpPr/>
            <p:nvPr/>
          </p:nvGrpSpPr>
          <p:grpSpPr>
            <a:xfrm>
              <a:off x="4203407" y="2889469"/>
              <a:ext cx="250335" cy="135866"/>
              <a:chOff x="607982" y="1802530"/>
              <a:chExt cx="302906" cy="164398"/>
            </a:xfrm>
          </p:grpSpPr>
          <p:pic>
            <p:nvPicPr>
              <p:cNvPr id="19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4" name="Picture 19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27" name="Group 126"/>
            <p:cNvGrpSpPr/>
            <p:nvPr/>
          </p:nvGrpSpPr>
          <p:grpSpPr>
            <a:xfrm>
              <a:off x="4212481" y="3298638"/>
              <a:ext cx="250335" cy="135866"/>
              <a:chOff x="607982" y="1802530"/>
              <a:chExt cx="302906" cy="164398"/>
            </a:xfrm>
          </p:grpSpPr>
          <p:pic>
            <p:nvPicPr>
              <p:cNvPr id="19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2" name="Picture 19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33" name="Group 132"/>
            <p:cNvGrpSpPr/>
            <p:nvPr/>
          </p:nvGrpSpPr>
          <p:grpSpPr>
            <a:xfrm>
              <a:off x="4203407" y="3660941"/>
              <a:ext cx="250335" cy="135866"/>
              <a:chOff x="607982" y="1802530"/>
              <a:chExt cx="302906" cy="164398"/>
            </a:xfrm>
          </p:grpSpPr>
          <p:pic>
            <p:nvPicPr>
              <p:cNvPr id="18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0" name="Picture 18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34" name="Group 133"/>
            <p:cNvGrpSpPr/>
            <p:nvPr/>
          </p:nvGrpSpPr>
          <p:grpSpPr>
            <a:xfrm>
              <a:off x="4987865" y="2498307"/>
              <a:ext cx="250335" cy="135866"/>
              <a:chOff x="607982" y="1802530"/>
              <a:chExt cx="302906" cy="164398"/>
            </a:xfrm>
          </p:grpSpPr>
          <p:pic>
            <p:nvPicPr>
              <p:cNvPr id="18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8" name="Picture 18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35" name="Group 134"/>
            <p:cNvGrpSpPr/>
            <p:nvPr/>
          </p:nvGrpSpPr>
          <p:grpSpPr>
            <a:xfrm>
              <a:off x="4990470" y="2954057"/>
              <a:ext cx="250335" cy="135866"/>
              <a:chOff x="607982" y="1802530"/>
              <a:chExt cx="302906" cy="164398"/>
            </a:xfrm>
          </p:grpSpPr>
          <p:pic>
            <p:nvPicPr>
              <p:cNvPr id="18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6" name="Picture 18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36" name="Group 135"/>
            <p:cNvGrpSpPr/>
            <p:nvPr/>
          </p:nvGrpSpPr>
          <p:grpSpPr>
            <a:xfrm>
              <a:off x="5736211" y="4051869"/>
              <a:ext cx="250335" cy="135866"/>
              <a:chOff x="607982" y="1802530"/>
              <a:chExt cx="302906" cy="164398"/>
            </a:xfrm>
          </p:grpSpPr>
          <p:pic>
            <p:nvPicPr>
              <p:cNvPr id="18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4" name="Picture 18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42" name="Group 141"/>
            <p:cNvGrpSpPr/>
            <p:nvPr/>
          </p:nvGrpSpPr>
          <p:grpSpPr>
            <a:xfrm>
              <a:off x="4203407" y="5635633"/>
              <a:ext cx="250335" cy="135866"/>
              <a:chOff x="607982" y="1802530"/>
              <a:chExt cx="302906" cy="164398"/>
            </a:xfrm>
          </p:grpSpPr>
          <p:pic>
            <p:nvPicPr>
              <p:cNvPr id="18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2" name="Picture 18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43" name="Group 142"/>
            <p:cNvGrpSpPr/>
            <p:nvPr/>
          </p:nvGrpSpPr>
          <p:grpSpPr>
            <a:xfrm>
              <a:off x="4212481" y="4415103"/>
              <a:ext cx="250335" cy="135866"/>
              <a:chOff x="607982" y="1802530"/>
              <a:chExt cx="302906" cy="164398"/>
            </a:xfrm>
          </p:grpSpPr>
          <p:pic>
            <p:nvPicPr>
              <p:cNvPr id="17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0" name="Picture 17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44" name="Group 143"/>
            <p:cNvGrpSpPr/>
            <p:nvPr/>
          </p:nvGrpSpPr>
          <p:grpSpPr>
            <a:xfrm>
              <a:off x="7283738" y="2892431"/>
              <a:ext cx="250335" cy="135866"/>
              <a:chOff x="607982" y="1802530"/>
              <a:chExt cx="302906" cy="164398"/>
            </a:xfrm>
          </p:grpSpPr>
          <p:pic>
            <p:nvPicPr>
              <p:cNvPr id="17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8" name="Picture 17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sp>
          <p:nvSpPr>
            <p:cNvPr id="145" name="Rectangle 144"/>
            <p:cNvSpPr/>
            <p:nvPr/>
          </p:nvSpPr>
          <p:spPr>
            <a:xfrm rot="18874439">
              <a:off x="7625055" y="2541345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marL="0" marR="0" lvl="0" indent="0" algn="ctr" defTabSz="9870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8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grpSp>
          <p:nvGrpSpPr>
            <p:cNvPr id="146" name="Group 145"/>
            <p:cNvGrpSpPr/>
            <p:nvPr/>
          </p:nvGrpSpPr>
          <p:grpSpPr>
            <a:xfrm>
              <a:off x="7276781" y="2513214"/>
              <a:ext cx="250335" cy="135866"/>
              <a:chOff x="607982" y="1802530"/>
              <a:chExt cx="302906" cy="164398"/>
            </a:xfrm>
          </p:grpSpPr>
          <p:pic>
            <p:nvPicPr>
              <p:cNvPr id="17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6" name="Picture 17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sp>
          <p:nvSpPr>
            <p:cNvPr id="147" name="Rectangle 146"/>
            <p:cNvSpPr/>
            <p:nvPr/>
          </p:nvSpPr>
          <p:spPr>
            <a:xfrm rot="18874439">
              <a:off x="7632013" y="3683255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marL="0" marR="0" lvl="0" indent="0" algn="ctr" defTabSz="9870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8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7283739" y="3655124"/>
              <a:ext cx="250335" cy="135866"/>
              <a:chOff x="607982" y="1802530"/>
              <a:chExt cx="302906" cy="164398"/>
            </a:xfrm>
          </p:grpSpPr>
          <p:pic>
            <p:nvPicPr>
              <p:cNvPr id="17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4" name="Picture 17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sp>
          <p:nvSpPr>
            <p:cNvPr id="149" name="Rectangle 148"/>
            <p:cNvSpPr/>
            <p:nvPr/>
          </p:nvSpPr>
          <p:spPr>
            <a:xfrm rot="18874439">
              <a:off x="7629229" y="4050297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marL="0" marR="0" lvl="0" indent="0" algn="ctr" defTabSz="9870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8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grpSp>
          <p:nvGrpSpPr>
            <p:cNvPr id="150" name="Group 149"/>
            <p:cNvGrpSpPr/>
            <p:nvPr/>
          </p:nvGrpSpPr>
          <p:grpSpPr>
            <a:xfrm>
              <a:off x="7280955" y="4022166"/>
              <a:ext cx="250335" cy="135866"/>
              <a:chOff x="607982" y="1802530"/>
              <a:chExt cx="302906" cy="164398"/>
            </a:xfrm>
          </p:grpSpPr>
          <p:pic>
            <p:nvPicPr>
              <p:cNvPr id="17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2" name="Picture 17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sp>
          <p:nvSpPr>
            <p:cNvPr id="151" name="Rectangle 150"/>
            <p:cNvSpPr/>
            <p:nvPr/>
          </p:nvSpPr>
          <p:spPr>
            <a:xfrm rot="18874439">
              <a:off x="7656457" y="4806331"/>
              <a:ext cx="80650" cy="94844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 w="12700" cap="flat" cmpd="sng" algn="ctr">
              <a:solidFill>
                <a:srgbClr val="C0C0C0"/>
              </a:solidFill>
              <a:prstDash val="solid"/>
              <a:miter lim="800000"/>
            </a:ln>
            <a:effectLst/>
          </p:spPr>
          <p:txBody>
            <a:bodyPr lIns="0" rIns="0" rtlCol="0" anchor="t"/>
            <a:lstStyle/>
            <a:p>
              <a:pPr marL="0" marR="0" lvl="0" indent="0" algn="ctr" defTabSz="9870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8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grpSp>
          <p:nvGrpSpPr>
            <p:cNvPr id="152" name="Group 151"/>
            <p:cNvGrpSpPr/>
            <p:nvPr/>
          </p:nvGrpSpPr>
          <p:grpSpPr>
            <a:xfrm>
              <a:off x="7308183" y="4778200"/>
              <a:ext cx="250335" cy="135866"/>
              <a:chOff x="607982" y="1802530"/>
              <a:chExt cx="302906" cy="164398"/>
            </a:xfrm>
          </p:grpSpPr>
          <p:pic>
            <p:nvPicPr>
              <p:cNvPr id="16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0" name="Picture 16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53" name="Group 152"/>
            <p:cNvGrpSpPr/>
            <p:nvPr/>
          </p:nvGrpSpPr>
          <p:grpSpPr>
            <a:xfrm>
              <a:off x="7283738" y="3280021"/>
              <a:ext cx="250335" cy="135866"/>
              <a:chOff x="607982" y="1802530"/>
              <a:chExt cx="302906" cy="164398"/>
            </a:xfrm>
          </p:grpSpPr>
          <p:pic>
            <p:nvPicPr>
              <p:cNvPr id="167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8" name="Picture 167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54" name="Group 153"/>
            <p:cNvGrpSpPr/>
            <p:nvPr/>
          </p:nvGrpSpPr>
          <p:grpSpPr>
            <a:xfrm>
              <a:off x="8813575" y="2579751"/>
              <a:ext cx="250335" cy="135866"/>
              <a:chOff x="607982" y="1802530"/>
              <a:chExt cx="302906" cy="164398"/>
            </a:xfrm>
          </p:grpSpPr>
          <p:pic>
            <p:nvPicPr>
              <p:cNvPr id="165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6" name="Picture 165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55" name="Group 154"/>
            <p:cNvGrpSpPr/>
            <p:nvPr/>
          </p:nvGrpSpPr>
          <p:grpSpPr>
            <a:xfrm>
              <a:off x="9023418" y="2911233"/>
              <a:ext cx="250335" cy="135866"/>
              <a:chOff x="607982" y="1802530"/>
              <a:chExt cx="302906" cy="164398"/>
            </a:xfrm>
          </p:grpSpPr>
          <p:pic>
            <p:nvPicPr>
              <p:cNvPr id="163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4" name="Picture 16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56" name="Group 155"/>
            <p:cNvGrpSpPr/>
            <p:nvPr/>
          </p:nvGrpSpPr>
          <p:grpSpPr>
            <a:xfrm>
              <a:off x="9042925" y="3338908"/>
              <a:ext cx="250335" cy="135866"/>
              <a:chOff x="607982" y="1802530"/>
              <a:chExt cx="302906" cy="164398"/>
            </a:xfrm>
          </p:grpSpPr>
          <p:pic>
            <p:nvPicPr>
              <p:cNvPr id="161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2" name="Picture 161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grpSp>
          <p:nvGrpSpPr>
            <p:cNvPr id="157" name="Group 156"/>
            <p:cNvGrpSpPr/>
            <p:nvPr/>
          </p:nvGrpSpPr>
          <p:grpSpPr>
            <a:xfrm>
              <a:off x="8825059" y="3656267"/>
              <a:ext cx="250335" cy="135866"/>
              <a:chOff x="607982" y="1802530"/>
              <a:chExt cx="302906" cy="164398"/>
            </a:xfrm>
          </p:grpSpPr>
          <p:pic>
            <p:nvPicPr>
              <p:cNvPr id="159" name="Picture 6" descr="C:\Users\2010687\AppData\Local\Microsoft\Windows\Temporary Internet Files\Content.IE5\12GMI9XB\Desktop_font_awesome.svg[1]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49182" y="1825281"/>
                <a:ext cx="161706" cy="1399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0" name="Picture 159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rgbClr val="80808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7982" y="1802530"/>
                <a:ext cx="117558" cy="164398"/>
              </a:xfrm>
              <a:prstGeom prst="rect">
                <a:avLst/>
              </a:prstGeom>
            </p:spPr>
          </p:pic>
        </p:grpSp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8080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3072" y="4856527"/>
              <a:ext cx="80294" cy="112286"/>
            </a:xfrm>
            <a:prstGeom prst="rect">
              <a:avLst/>
            </a:prstGeom>
          </p:spPr>
        </p:pic>
      </p:grpSp>
      <p:sp>
        <p:nvSpPr>
          <p:cNvPr id="205" name="Rectangle 204"/>
          <p:cNvSpPr/>
          <p:nvPr/>
        </p:nvSpPr>
        <p:spPr>
          <a:xfrm>
            <a:off x="719907" y="6487459"/>
            <a:ext cx="1293780" cy="225569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tr-TR" sz="800" i="1" dirty="0" smtClean="0">
                <a:solidFill>
                  <a:srgbClr val="000000"/>
                </a:solidFill>
              </a:rPr>
              <a:t>Duruma göre değerli</a:t>
            </a:r>
            <a:endParaRPr lang="en-US" sz="800" i="1" dirty="0">
              <a:solidFill>
                <a:srgbClr val="000000"/>
              </a:solidFill>
            </a:endParaRPr>
          </a:p>
        </p:txBody>
      </p:sp>
      <p:grpSp>
        <p:nvGrpSpPr>
          <p:cNvPr id="206" name="Group 205"/>
          <p:cNvGrpSpPr/>
          <p:nvPr/>
        </p:nvGrpSpPr>
        <p:grpSpPr>
          <a:xfrm>
            <a:off x="2341526" y="6449826"/>
            <a:ext cx="1368492" cy="300835"/>
            <a:chOff x="2254987" y="6449826"/>
            <a:chExt cx="1368492" cy="300835"/>
          </a:xfrm>
        </p:grpSpPr>
        <p:sp>
          <p:nvSpPr>
            <p:cNvPr id="207" name="TextBox 206"/>
            <p:cNvSpPr txBox="1"/>
            <p:nvPr/>
          </p:nvSpPr>
          <p:spPr>
            <a:xfrm>
              <a:off x="2489225" y="6511570"/>
              <a:ext cx="1134254" cy="177347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>
              <a:spAutoFit/>
            </a:bodyPr>
            <a:lstStyle>
              <a:defPPr>
                <a:defRPr lang="en-GB"/>
              </a:defPPr>
              <a:lvl1pPr defTabSz="987095">
                <a:lnSpc>
                  <a:spcPct val="85000"/>
                </a:lnSpc>
                <a:spcAft>
                  <a:spcPts val="648"/>
                </a:spcAft>
                <a:buClr>
                  <a:srgbClr val="FFD200"/>
                </a:buClr>
                <a:buSzPct val="70000"/>
                <a:defRPr sz="80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defRPr>
              </a:lvl1pPr>
            </a:lstStyle>
            <a:p>
              <a:r>
                <a:rPr lang="en-US" dirty="0"/>
                <a:t>Di</a:t>
              </a:r>
              <a:r>
                <a:rPr lang="tr-TR" dirty="0"/>
                <a:t>jital</a:t>
              </a:r>
              <a:r>
                <a:rPr lang="en-US" dirty="0"/>
                <a:t> / </a:t>
              </a:r>
              <a:r>
                <a:rPr lang="tr-TR" dirty="0"/>
                <a:t>İş akışı</a:t>
              </a:r>
              <a:endParaRPr lang="en-US" dirty="0"/>
            </a:p>
          </p:txBody>
        </p:sp>
        <p:pic>
          <p:nvPicPr>
            <p:cNvPr id="208" name="Picture 6" descr="C:\Users\2010687\AppData\Local\Microsoft\Windows\Temporary Internet Files\Content.IE5\12GMI9XB\Desktop_font_awesome.svg[1].png"/>
            <p:cNvPicPr>
              <a:picLocks noChangeAspect="1" noChangeArrowheads="1"/>
            </p:cNvPicPr>
            <p:nvPr/>
          </p:nvPicPr>
          <p:blipFill>
            <a:blip r:embed="rId12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254987" y="6449826"/>
              <a:ext cx="234238" cy="300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9" name="Group 208"/>
          <p:cNvGrpSpPr/>
          <p:nvPr/>
        </p:nvGrpSpPr>
        <p:grpSpPr>
          <a:xfrm>
            <a:off x="3710018" y="6511571"/>
            <a:ext cx="1378722" cy="177347"/>
            <a:chOff x="3929412" y="6511571"/>
            <a:chExt cx="1378722" cy="177347"/>
          </a:xfrm>
        </p:grpSpPr>
        <p:sp>
          <p:nvSpPr>
            <p:cNvPr id="210" name="TextBox 209"/>
            <p:cNvSpPr txBox="1"/>
            <p:nvPr/>
          </p:nvSpPr>
          <p:spPr>
            <a:xfrm>
              <a:off x="4087344" y="6511571"/>
              <a:ext cx="1220790" cy="177347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>
              <a:spAutoFit/>
            </a:bodyPr>
            <a:lstStyle>
              <a:defPPr>
                <a:defRPr lang="en-GB"/>
              </a:defPPr>
              <a:lvl1pPr defTabSz="987095">
                <a:lnSpc>
                  <a:spcPct val="85000"/>
                </a:lnSpc>
                <a:spcAft>
                  <a:spcPts val="648"/>
                </a:spcAft>
                <a:buClr>
                  <a:srgbClr val="FFD200"/>
                </a:buClr>
                <a:buSzPct val="70000"/>
                <a:defRPr sz="80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defRPr>
              </a:lvl1pPr>
            </a:lstStyle>
            <a:p>
              <a:r>
                <a:rPr lang="tr-TR" dirty="0"/>
                <a:t>Kural Motorları</a:t>
              </a:r>
              <a:endParaRPr lang="en-US" dirty="0"/>
            </a:p>
          </p:txBody>
        </p:sp>
        <p:sp>
          <p:nvSpPr>
            <p:cNvPr id="211" name="Rectangle 210"/>
            <p:cNvSpPr/>
            <p:nvPr/>
          </p:nvSpPr>
          <p:spPr>
            <a:xfrm rot="18874439">
              <a:off x="3971316" y="6500327"/>
              <a:ext cx="116028" cy="199835"/>
            </a:xfrm>
            <a:prstGeom prst="rect">
              <a:avLst/>
            </a:prstGeom>
            <a:solidFill>
              <a:srgbClr val="FFE600">
                <a:alpha val="50000"/>
              </a:srgbClr>
            </a:solidFill>
            <a:ln w="1270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algn="ctr" defTabSz="987095"/>
              <a:endParaRPr lang="en-GB" sz="800" kern="0" dirty="0">
                <a:solidFill>
                  <a:srgbClr val="333333">
                    <a:lumMod val="60000"/>
                    <a:lumOff val="40000"/>
                  </a:srgbClr>
                </a:solidFill>
                <a:latin typeface="+mn-lt"/>
              </a:endParaRPr>
            </a:p>
          </p:txBody>
        </p:sp>
      </p:grpSp>
      <p:grpSp>
        <p:nvGrpSpPr>
          <p:cNvPr id="212" name="Group 211"/>
          <p:cNvGrpSpPr/>
          <p:nvPr/>
        </p:nvGrpSpPr>
        <p:grpSpPr>
          <a:xfrm>
            <a:off x="5088740" y="6474173"/>
            <a:ext cx="1820101" cy="295460"/>
            <a:chOff x="5219613" y="6474173"/>
            <a:chExt cx="1820101" cy="295460"/>
          </a:xfrm>
        </p:grpSpPr>
        <p:sp>
          <p:nvSpPr>
            <p:cNvPr id="213" name="TextBox 212"/>
            <p:cNvSpPr txBox="1"/>
            <p:nvPr/>
          </p:nvSpPr>
          <p:spPr>
            <a:xfrm>
              <a:off x="5414707" y="6533230"/>
              <a:ext cx="1625007" cy="177347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>
              <a:spAutoFit/>
            </a:bodyPr>
            <a:lstStyle>
              <a:defPPr>
                <a:defRPr lang="en-GB"/>
              </a:defPPr>
              <a:lvl1pPr defTabSz="987095">
                <a:lnSpc>
                  <a:spcPct val="85000"/>
                </a:lnSpc>
                <a:spcAft>
                  <a:spcPts val="648"/>
                </a:spcAft>
                <a:buClr>
                  <a:srgbClr val="FFD200"/>
                </a:buClr>
                <a:buSzPct val="70000"/>
                <a:defRPr sz="80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defRPr>
              </a:lvl1pPr>
            </a:lstStyle>
            <a:p>
              <a:r>
                <a:rPr lang="en-US" dirty="0"/>
                <a:t>OCR /</a:t>
              </a:r>
              <a:r>
                <a:rPr lang="tr-TR" dirty="0"/>
                <a:t> Yapılandırılmış Formlar</a:t>
              </a:r>
              <a:endParaRPr lang="en-US" dirty="0"/>
            </a:p>
          </p:txBody>
        </p:sp>
        <p:grpSp>
          <p:nvGrpSpPr>
            <p:cNvPr id="214" name="Group 213"/>
            <p:cNvGrpSpPr>
              <a:grpSpLocks noChangeAspect="1"/>
            </p:cNvGrpSpPr>
            <p:nvPr/>
          </p:nvGrpSpPr>
          <p:grpSpPr>
            <a:xfrm>
              <a:off x="5219613" y="6474173"/>
              <a:ext cx="195094" cy="295460"/>
              <a:chOff x="-19385857" y="-14562400"/>
              <a:chExt cx="3318209" cy="5025252"/>
            </a:xfrm>
          </p:grpSpPr>
          <p:sp>
            <p:nvSpPr>
              <p:cNvPr id="215" name="Freeform 214"/>
              <p:cNvSpPr/>
              <p:nvPr/>
            </p:nvSpPr>
            <p:spPr>
              <a:xfrm>
                <a:off x="-19037426" y="-13299947"/>
                <a:ext cx="2969778" cy="3762799"/>
              </a:xfrm>
              <a:custGeom>
                <a:avLst/>
                <a:gdLst>
                  <a:gd name="connsiteX0" fmla="*/ 0 w 2969777"/>
                  <a:gd name="connsiteY0" fmla="*/ 954860 h 3762797"/>
                  <a:gd name="connsiteX1" fmla="*/ 0 w 2969777"/>
                  <a:gd name="connsiteY1" fmla="*/ 954860 h 3762797"/>
                  <a:gd name="connsiteX2" fmla="*/ 169933 w 2969777"/>
                  <a:gd name="connsiteY2" fmla="*/ 768743 h 3762797"/>
                  <a:gd name="connsiteX3" fmla="*/ 971044 w 2969777"/>
                  <a:gd name="connsiteY3" fmla="*/ 24276 h 3762797"/>
                  <a:gd name="connsiteX4" fmla="*/ 2718924 w 2969777"/>
                  <a:gd name="connsiteY4" fmla="*/ 0 h 3762797"/>
                  <a:gd name="connsiteX5" fmla="*/ 2913133 w 2969777"/>
                  <a:gd name="connsiteY5" fmla="*/ 137565 h 3762797"/>
                  <a:gd name="connsiteX6" fmla="*/ 2969777 w 2969777"/>
                  <a:gd name="connsiteY6" fmla="*/ 356050 h 3762797"/>
                  <a:gd name="connsiteX7" fmla="*/ 2945501 w 2969777"/>
                  <a:gd name="connsiteY7" fmla="*/ 3649508 h 3762797"/>
                  <a:gd name="connsiteX8" fmla="*/ 2807936 w 2969777"/>
                  <a:gd name="connsiteY8" fmla="*/ 3754704 h 3762797"/>
                  <a:gd name="connsiteX9" fmla="*/ 242761 w 2969777"/>
                  <a:gd name="connsiteY9" fmla="*/ 3762797 h 3762797"/>
                  <a:gd name="connsiteX10" fmla="*/ 97105 w 2969777"/>
                  <a:gd name="connsiteY10" fmla="*/ 3665692 h 3762797"/>
                  <a:gd name="connsiteX11" fmla="*/ 8092 w 2969777"/>
                  <a:gd name="connsiteY11" fmla="*/ 3520035 h 3762797"/>
                  <a:gd name="connsiteX12" fmla="*/ 0 w 2969777"/>
                  <a:gd name="connsiteY12" fmla="*/ 954860 h 376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9777" h="3762797">
                    <a:moveTo>
                      <a:pt x="0" y="954860"/>
                    </a:moveTo>
                    <a:lnTo>
                      <a:pt x="0" y="954860"/>
                    </a:lnTo>
                    <a:lnTo>
                      <a:pt x="169933" y="768743"/>
                    </a:lnTo>
                    <a:lnTo>
                      <a:pt x="971044" y="24276"/>
                    </a:lnTo>
                    <a:lnTo>
                      <a:pt x="2718924" y="0"/>
                    </a:lnTo>
                    <a:lnTo>
                      <a:pt x="2913133" y="137565"/>
                    </a:lnTo>
                    <a:lnTo>
                      <a:pt x="2969777" y="356050"/>
                    </a:lnTo>
                    <a:lnTo>
                      <a:pt x="2945501" y="3649508"/>
                    </a:lnTo>
                    <a:lnTo>
                      <a:pt x="2807936" y="3754704"/>
                    </a:lnTo>
                    <a:lnTo>
                      <a:pt x="242761" y="3762797"/>
                    </a:lnTo>
                    <a:lnTo>
                      <a:pt x="97105" y="3665692"/>
                    </a:lnTo>
                    <a:lnTo>
                      <a:pt x="8092" y="3520035"/>
                    </a:lnTo>
                    <a:cubicBezTo>
                      <a:pt x="5395" y="2662279"/>
                      <a:pt x="2697" y="1804524"/>
                      <a:pt x="0" y="9548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chemeClr val="accent1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133279" indent="-133279" algn="ctr">
                  <a:lnSpc>
                    <a:spcPct val="85000"/>
                  </a:lnSpc>
                  <a:spcAft>
                    <a:spcPts val="600"/>
                  </a:spcAft>
                  <a:buClr>
                    <a:srgbClr val="FFD200"/>
                  </a:buClr>
                  <a:buSzPct val="70000"/>
                  <a:buFont typeface="Arial" pitchFamily="34" charset="0"/>
                  <a:buChar char="►"/>
                </a:pPr>
                <a:endParaRPr lang="en-US" sz="8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pic>
            <p:nvPicPr>
              <p:cNvPr id="216" name="Picture 2"/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08" r="15306"/>
              <a:stretch/>
            </p:blipFill>
            <p:spPr bwMode="auto">
              <a:xfrm>
                <a:off x="-19385857" y="-14562400"/>
                <a:ext cx="3107341" cy="3914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217" name="Group 216"/>
          <p:cNvGrpSpPr/>
          <p:nvPr/>
        </p:nvGrpSpPr>
        <p:grpSpPr>
          <a:xfrm>
            <a:off x="6908840" y="6437054"/>
            <a:ext cx="1143418" cy="326378"/>
            <a:chOff x="7374967" y="6437054"/>
            <a:chExt cx="1143418" cy="326378"/>
          </a:xfrm>
        </p:grpSpPr>
        <p:sp>
          <p:nvSpPr>
            <p:cNvPr id="218" name="TextBox 217"/>
            <p:cNvSpPr txBox="1"/>
            <p:nvPr/>
          </p:nvSpPr>
          <p:spPr>
            <a:xfrm>
              <a:off x="7608354" y="6511569"/>
              <a:ext cx="910031" cy="177347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>
              <a:spAutoFit/>
            </a:bodyPr>
            <a:lstStyle>
              <a:defPPr>
                <a:defRPr lang="en-GB"/>
              </a:defPPr>
              <a:lvl1pPr defTabSz="987095">
                <a:lnSpc>
                  <a:spcPct val="85000"/>
                </a:lnSpc>
                <a:spcAft>
                  <a:spcPts val="648"/>
                </a:spcAft>
                <a:buClr>
                  <a:srgbClr val="FFD200"/>
                </a:buClr>
                <a:buSzPct val="70000"/>
                <a:defRPr sz="80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defRPr>
              </a:lvl1pPr>
            </a:lstStyle>
            <a:p>
              <a:r>
                <a:rPr lang="tr-TR" dirty="0"/>
                <a:t>RSO</a:t>
              </a:r>
              <a:endParaRPr lang="en-US" dirty="0"/>
            </a:p>
          </p:txBody>
        </p:sp>
        <p:pic>
          <p:nvPicPr>
            <p:cNvPr id="219" name="Picture 218"/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4967" y="6437054"/>
              <a:ext cx="233387" cy="326378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8655272" y="4213423"/>
            <a:ext cx="3720225" cy="2425574"/>
            <a:chOff x="8367235" y="4213423"/>
            <a:chExt cx="3720225" cy="2425574"/>
          </a:xfrm>
        </p:grpSpPr>
        <p:sp>
          <p:nvSpPr>
            <p:cNvPr id="221" name="Shape 478"/>
            <p:cNvSpPr/>
            <p:nvPr/>
          </p:nvSpPr>
          <p:spPr>
            <a:xfrm>
              <a:off x="9692019" y="4841356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F1CA0C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333333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2" name="Shape 478"/>
            <p:cNvSpPr/>
            <p:nvPr/>
          </p:nvSpPr>
          <p:spPr>
            <a:xfrm>
              <a:off x="10784372" y="5759870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F1CA0C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333333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3" name="Shape 479"/>
            <p:cNvSpPr/>
            <p:nvPr/>
          </p:nvSpPr>
          <p:spPr>
            <a:xfrm>
              <a:off x="10242543" y="4835904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C8C4A5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4C4C4C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4" name="Shape 480"/>
            <p:cNvSpPr/>
            <p:nvPr/>
          </p:nvSpPr>
          <p:spPr>
            <a:xfrm>
              <a:off x="10779858" y="4840884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59585A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4C4C4C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5" name="Shape 481"/>
            <p:cNvSpPr/>
            <p:nvPr/>
          </p:nvSpPr>
          <p:spPr>
            <a:xfrm>
              <a:off x="10506646" y="5300121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8C8C8C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4C4C4C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6" name="Shape 482"/>
            <p:cNvSpPr/>
            <p:nvPr/>
          </p:nvSpPr>
          <p:spPr>
            <a:xfrm>
              <a:off x="9436998" y="4376666"/>
              <a:ext cx="536312" cy="618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FFDC0B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80000"/>
                </a:lnSpc>
                <a:spcBef>
                  <a:spcPts val="275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5000">
                  <a:solidFill>
                    <a:srgbClr val="4C4C4C"/>
                  </a:solidFill>
                  <a:uFillTx/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pPr>
              <a:endParaRPr kumimoji="0" sz="2800" b="0" i="0" u="none" strike="noStrike" kern="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EYInterstate" panose="02000503020000020004" pitchFamily="2" charset="0"/>
                <a:ea typeface="Helvetica Neue Thin"/>
                <a:cs typeface="Helvetica Neue Thin"/>
                <a:sym typeface="Helvetica Neue Thin"/>
              </a:endParaRPr>
            </a:p>
          </p:txBody>
        </p:sp>
        <p:sp>
          <p:nvSpPr>
            <p:cNvPr id="227" name="Shape 483"/>
            <p:cNvSpPr/>
            <p:nvPr/>
          </p:nvSpPr>
          <p:spPr>
            <a:xfrm>
              <a:off x="8367235" y="4213423"/>
              <a:ext cx="949879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Operasyonel</a:t>
              </a: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 &amp; Genel Muhasebe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28" name="Shape 484"/>
            <p:cNvSpPr/>
            <p:nvPr/>
          </p:nvSpPr>
          <p:spPr>
            <a:xfrm>
              <a:off x="9203396" y="4379279"/>
              <a:ext cx="502230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9971" y="21600"/>
                  </a:lnTo>
                  <a:lnTo>
                    <a:pt x="0" y="2972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29" name="Shape 485"/>
            <p:cNvSpPr/>
            <p:nvPr/>
          </p:nvSpPr>
          <p:spPr>
            <a:xfrm>
              <a:off x="9605036" y="4563244"/>
              <a:ext cx="195035" cy="2458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897" y="15115"/>
                  </a:moveTo>
                  <a:lnTo>
                    <a:pt x="7530" y="16200"/>
                  </a:lnTo>
                  <a:lnTo>
                    <a:pt x="8897" y="17285"/>
                  </a:lnTo>
                  <a:lnTo>
                    <a:pt x="8095" y="17921"/>
                  </a:lnTo>
                  <a:lnTo>
                    <a:pt x="6727" y="16836"/>
                  </a:lnTo>
                  <a:lnTo>
                    <a:pt x="5360" y="17921"/>
                  </a:lnTo>
                  <a:lnTo>
                    <a:pt x="4557" y="17285"/>
                  </a:lnTo>
                  <a:lnTo>
                    <a:pt x="5925" y="16200"/>
                  </a:lnTo>
                  <a:lnTo>
                    <a:pt x="4556" y="15115"/>
                  </a:lnTo>
                  <a:lnTo>
                    <a:pt x="5358" y="14479"/>
                  </a:lnTo>
                  <a:lnTo>
                    <a:pt x="6727" y="15564"/>
                  </a:lnTo>
                  <a:lnTo>
                    <a:pt x="8095" y="14479"/>
                  </a:lnTo>
                  <a:cubicBezTo>
                    <a:pt x="8095" y="14479"/>
                    <a:pt x="8897" y="15115"/>
                    <a:pt x="8897" y="15115"/>
                  </a:cubicBezTo>
                  <a:close/>
                  <a:moveTo>
                    <a:pt x="6160" y="10800"/>
                  </a:moveTo>
                  <a:lnTo>
                    <a:pt x="4225" y="10800"/>
                  </a:lnTo>
                  <a:lnTo>
                    <a:pt x="4225" y="9900"/>
                  </a:lnTo>
                  <a:lnTo>
                    <a:pt x="6160" y="9900"/>
                  </a:lnTo>
                  <a:lnTo>
                    <a:pt x="6160" y="8366"/>
                  </a:lnTo>
                  <a:lnTo>
                    <a:pt x="7295" y="8366"/>
                  </a:lnTo>
                  <a:lnTo>
                    <a:pt x="7295" y="9900"/>
                  </a:lnTo>
                  <a:lnTo>
                    <a:pt x="9228" y="9900"/>
                  </a:lnTo>
                  <a:lnTo>
                    <a:pt x="9228" y="10800"/>
                  </a:lnTo>
                  <a:lnTo>
                    <a:pt x="7295" y="10800"/>
                  </a:lnTo>
                  <a:lnTo>
                    <a:pt x="7295" y="12334"/>
                  </a:lnTo>
                  <a:lnTo>
                    <a:pt x="6160" y="12334"/>
                  </a:lnTo>
                  <a:cubicBezTo>
                    <a:pt x="6160" y="12334"/>
                    <a:pt x="6160" y="10800"/>
                    <a:pt x="6160" y="10800"/>
                  </a:cubicBezTo>
                  <a:close/>
                  <a:moveTo>
                    <a:pt x="17267" y="17550"/>
                  </a:moveTo>
                  <a:lnTo>
                    <a:pt x="12264" y="17550"/>
                  </a:lnTo>
                  <a:lnTo>
                    <a:pt x="12264" y="16650"/>
                  </a:lnTo>
                  <a:lnTo>
                    <a:pt x="17267" y="16650"/>
                  </a:lnTo>
                  <a:cubicBezTo>
                    <a:pt x="17267" y="16650"/>
                    <a:pt x="17267" y="17550"/>
                    <a:pt x="17267" y="17550"/>
                  </a:cubicBezTo>
                  <a:close/>
                  <a:moveTo>
                    <a:pt x="17267" y="15786"/>
                  </a:moveTo>
                  <a:lnTo>
                    <a:pt x="12264" y="15786"/>
                  </a:lnTo>
                  <a:lnTo>
                    <a:pt x="12264" y="14886"/>
                  </a:lnTo>
                  <a:lnTo>
                    <a:pt x="17267" y="14886"/>
                  </a:lnTo>
                  <a:cubicBezTo>
                    <a:pt x="17267" y="14886"/>
                    <a:pt x="17267" y="15786"/>
                    <a:pt x="17267" y="15786"/>
                  </a:cubicBezTo>
                  <a:close/>
                  <a:moveTo>
                    <a:pt x="17267" y="10800"/>
                  </a:moveTo>
                  <a:lnTo>
                    <a:pt x="12264" y="10800"/>
                  </a:lnTo>
                  <a:lnTo>
                    <a:pt x="12264" y="9900"/>
                  </a:lnTo>
                  <a:lnTo>
                    <a:pt x="17267" y="9900"/>
                  </a:lnTo>
                  <a:cubicBezTo>
                    <a:pt x="17267" y="9900"/>
                    <a:pt x="17267" y="10800"/>
                    <a:pt x="17267" y="10800"/>
                  </a:cubicBezTo>
                  <a:close/>
                  <a:moveTo>
                    <a:pt x="20465" y="5323"/>
                  </a:moveTo>
                  <a:lnTo>
                    <a:pt x="1135" y="5323"/>
                  </a:lnTo>
                  <a:lnTo>
                    <a:pt x="1135" y="2823"/>
                  </a:lnTo>
                  <a:cubicBezTo>
                    <a:pt x="1135" y="1763"/>
                    <a:pt x="2223" y="900"/>
                    <a:pt x="3560" y="900"/>
                  </a:cubicBezTo>
                  <a:lnTo>
                    <a:pt x="18040" y="900"/>
                  </a:lnTo>
                  <a:cubicBezTo>
                    <a:pt x="19377" y="900"/>
                    <a:pt x="20465" y="1763"/>
                    <a:pt x="20465" y="2823"/>
                  </a:cubicBezTo>
                  <a:cubicBezTo>
                    <a:pt x="20465" y="2823"/>
                    <a:pt x="20465" y="5323"/>
                    <a:pt x="20465" y="5323"/>
                  </a:cubicBezTo>
                  <a:close/>
                  <a:moveTo>
                    <a:pt x="20465" y="18777"/>
                  </a:moveTo>
                  <a:cubicBezTo>
                    <a:pt x="20465" y="19837"/>
                    <a:pt x="19377" y="20700"/>
                    <a:pt x="18040" y="20700"/>
                  </a:cubicBezTo>
                  <a:lnTo>
                    <a:pt x="3560" y="20700"/>
                  </a:lnTo>
                  <a:cubicBezTo>
                    <a:pt x="2223" y="20700"/>
                    <a:pt x="1135" y="19837"/>
                    <a:pt x="1135" y="18777"/>
                  </a:cubicBezTo>
                  <a:lnTo>
                    <a:pt x="1135" y="6223"/>
                  </a:lnTo>
                  <a:lnTo>
                    <a:pt x="20465" y="6223"/>
                  </a:lnTo>
                  <a:cubicBezTo>
                    <a:pt x="20465" y="6223"/>
                    <a:pt x="20465" y="18777"/>
                    <a:pt x="20465" y="18777"/>
                  </a:cubicBezTo>
                  <a:close/>
                  <a:moveTo>
                    <a:pt x="18040" y="0"/>
                  </a:moveTo>
                  <a:lnTo>
                    <a:pt x="3560" y="0"/>
                  </a:lnTo>
                  <a:cubicBezTo>
                    <a:pt x="1597" y="0"/>
                    <a:pt x="0" y="1267"/>
                    <a:pt x="0" y="2823"/>
                  </a:cubicBezTo>
                  <a:lnTo>
                    <a:pt x="0" y="18777"/>
                  </a:lnTo>
                  <a:cubicBezTo>
                    <a:pt x="0" y="20333"/>
                    <a:pt x="1597" y="21600"/>
                    <a:pt x="3560" y="21600"/>
                  </a:cubicBezTo>
                  <a:lnTo>
                    <a:pt x="18040" y="21600"/>
                  </a:lnTo>
                  <a:cubicBezTo>
                    <a:pt x="20003" y="21600"/>
                    <a:pt x="21600" y="20333"/>
                    <a:pt x="21600" y="18777"/>
                  </a:cubicBezTo>
                  <a:lnTo>
                    <a:pt x="21600" y="2823"/>
                  </a:lnTo>
                  <a:cubicBezTo>
                    <a:pt x="21600" y="1267"/>
                    <a:pt x="20003" y="0"/>
                    <a:pt x="18040" y="0"/>
                  </a:cubicBezTo>
                  <a:close/>
                </a:path>
              </a:pathLst>
            </a:custGeom>
            <a:solidFill>
              <a:srgbClr val="B39903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0" name="Shape 486"/>
            <p:cNvSpPr/>
            <p:nvPr/>
          </p:nvSpPr>
          <p:spPr>
            <a:xfrm>
              <a:off x="9844926" y="5016215"/>
              <a:ext cx="256913" cy="2579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5" y="11418"/>
                  </a:moveTo>
                  <a:cubicBezTo>
                    <a:pt x="1147" y="6321"/>
                    <a:pt x="5318" y="2532"/>
                    <a:pt x="10800" y="2532"/>
                  </a:cubicBezTo>
                  <a:cubicBezTo>
                    <a:pt x="16282" y="2532"/>
                    <a:pt x="20453" y="6321"/>
                    <a:pt x="20686" y="11418"/>
                  </a:cubicBezTo>
                  <a:cubicBezTo>
                    <a:pt x="20686" y="11418"/>
                    <a:pt x="915" y="11418"/>
                    <a:pt x="915" y="11418"/>
                  </a:cubicBezTo>
                  <a:close/>
                  <a:moveTo>
                    <a:pt x="11252" y="1642"/>
                  </a:moveTo>
                  <a:lnTo>
                    <a:pt x="11252" y="450"/>
                  </a:lnTo>
                  <a:cubicBezTo>
                    <a:pt x="11252" y="202"/>
                    <a:pt x="11050" y="0"/>
                    <a:pt x="10800" y="0"/>
                  </a:cubicBezTo>
                  <a:cubicBezTo>
                    <a:pt x="10550" y="0"/>
                    <a:pt x="10348" y="202"/>
                    <a:pt x="10348" y="450"/>
                  </a:cubicBezTo>
                  <a:lnTo>
                    <a:pt x="10348" y="1642"/>
                  </a:lnTo>
                  <a:cubicBezTo>
                    <a:pt x="4418" y="1852"/>
                    <a:pt x="0" y="6176"/>
                    <a:pt x="0" y="11868"/>
                  </a:cubicBezTo>
                  <a:lnTo>
                    <a:pt x="0" y="12318"/>
                  </a:lnTo>
                  <a:lnTo>
                    <a:pt x="10348" y="12318"/>
                  </a:lnTo>
                  <a:lnTo>
                    <a:pt x="10348" y="18898"/>
                  </a:lnTo>
                  <a:cubicBezTo>
                    <a:pt x="10348" y="19892"/>
                    <a:pt x="9537" y="20700"/>
                    <a:pt x="8538" y="20700"/>
                  </a:cubicBezTo>
                  <a:cubicBezTo>
                    <a:pt x="7540" y="20700"/>
                    <a:pt x="6728" y="19892"/>
                    <a:pt x="6728" y="18898"/>
                  </a:cubicBezTo>
                  <a:cubicBezTo>
                    <a:pt x="6728" y="18650"/>
                    <a:pt x="6526" y="18448"/>
                    <a:pt x="6276" y="18448"/>
                  </a:cubicBezTo>
                  <a:cubicBezTo>
                    <a:pt x="6026" y="18448"/>
                    <a:pt x="5824" y="18650"/>
                    <a:pt x="5824" y="18898"/>
                  </a:cubicBezTo>
                  <a:cubicBezTo>
                    <a:pt x="5824" y="20388"/>
                    <a:pt x="7042" y="21600"/>
                    <a:pt x="8538" y="21600"/>
                  </a:cubicBezTo>
                  <a:cubicBezTo>
                    <a:pt x="10035" y="21600"/>
                    <a:pt x="11252" y="20388"/>
                    <a:pt x="11252" y="18898"/>
                  </a:cubicBezTo>
                  <a:lnTo>
                    <a:pt x="11252" y="12318"/>
                  </a:lnTo>
                  <a:lnTo>
                    <a:pt x="21600" y="12318"/>
                  </a:lnTo>
                  <a:lnTo>
                    <a:pt x="21600" y="11868"/>
                  </a:lnTo>
                  <a:cubicBezTo>
                    <a:pt x="21600" y="6176"/>
                    <a:pt x="17183" y="1852"/>
                    <a:pt x="11252" y="1642"/>
                  </a:cubicBezTo>
                  <a:close/>
                </a:path>
              </a:pathLst>
            </a:custGeom>
            <a:solidFill>
              <a:srgbClr val="977E03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1" name="Shape 487"/>
            <p:cNvSpPr/>
            <p:nvPr/>
          </p:nvSpPr>
          <p:spPr>
            <a:xfrm>
              <a:off x="10651079" y="5485929"/>
              <a:ext cx="247458" cy="247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6" h="21600" extrusionOk="0">
                  <a:moveTo>
                    <a:pt x="18098" y="17460"/>
                  </a:moveTo>
                  <a:lnTo>
                    <a:pt x="14658" y="14017"/>
                  </a:lnTo>
                  <a:cubicBezTo>
                    <a:pt x="15382" y="13145"/>
                    <a:pt x="15819" y="12028"/>
                    <a:pt x="15822" y="10810"/>
                  </a:cubicBezTo>
                  <a:cubicBezTo>
                    <a:pt x="15824" y="9585"/>
                    <a:pt x="15387" y="8460"/>
                    <a:pt x="14658" y="7584"/>
                  </a:cubicBezTo>
                  <a:lnTo>
                    <a:pt x="18098" y="4140"/>
                  </a:lnTo>
                  <a:cubicBezTo>
                    <a:pt x="19704" y="5905"/>
                    <a:pt x="20683" y="8251"/>
                    <a:pt x="20677" y="10820"/>
                  </a:cubicBezTo>
                  <a:cubicBezTo>
                    <a:pt x="20672" y="13374"/>
                    <a:pt x="19695" y="15704"/>
                    <a:pt x="18098" y="17460"/>
                  </a:cubicBezTo>
                  <a:close/>
                  <a:moveTo>
                    <a:pt x="10789" y="20701"/>
                  </a:moveTo>
                  <a:lnTo>
                    <a:pt x="10789" y="21150"/>
                  </a:lnTo>
                  <a:lnTo>
                    <a:pt x="10768" y="20701"/>
                  </a:lnTo>
                  <a:cubicBezTo>
                    <a:pt x="8215" y="20696"/>
                    <a:pt x="5888" y="19717"/>
                    <a:pt x="4135" y="18118"/>
                  </a:cubicBezTo>
                  <a:lnTo>
                    <a:pt x="7573" y="14677"/>
                  </a:lnTo>
                  <a:cubicBezTo>
                    <a:pt x="8472" y="15427"/>
                    <a:pt x="9593" y="15837"/>
                    <a:pt x="10778" y="15840"/>
                  </a:cubicBezTo>
                  <a:lnTo>
                    <a:pt x="10788" y="15840"/>
                  </a:lnTo>
                  <a:cubicBezTo>
                    <a:pt x="12019" y="15840"/>
                    <a:pt x="13148" y="15392"/>
                    <a:pt x="14024" y="14653"/>
                  </a:cubicBezTo>
                  <a:lnTo>
                    <a:pt x="17463" y="18096"/>
                  </a:lnTo>
                  <a:cubicBezTo>
                    <a:pt x="15702" y="19712"/>
                    <a:pt x="13358" y="20701"/>
                    <a:pt x="10789" y="20701"/>
                  </a:cubicBezTo>
                  <a:close/>
                  <a:moveTo>
                    <a:pt x="899" y="10778"/>
                  </a:moveTo>
                  <a:cubicBezTo>
                    <a:pt x="904" y="8215"/>
                    <a:pt x="1890" y="5877"/>
                    <a:pt x="3501" y="4119"/>
                  </a:cubicBezTo>
                  <a:lnTo>
                    <a:pt x="6939" y="7560"/>
                  </a:lnTo>
                  <a:cubicBezTo>
                    <a:pt x="6203" y="8434"/>
                    <a:pt x="5757" y="9561"/>
                    <a:pt x="5754" y="10789"/>
                  </a:cubicBezTo>
                  <a:cubicBezTo>
                    <a:pt x="5752" y="11993"/>
                    <a:pt x="6170" y="13131"/>
                    <a:pt x="6937" y="14042"/>
                  </a:cubicBezTo>
                  <a:lnTo>
                    <a:pt x="3499" y="17482"/>
                  </a:lnTo>
                  <a:cubicBezTo>
                    <a:pt x="1881" y="15715"/>
                    <a:pt x="893" y="13360"/>
                    <a:pt x="899" y="10778"/>
                  </a:cubicBezTo>
                  <a:close/>
                  <a:moveTo>
                    <a:pt x="14924" y="10808"/>
                  </a:moveTo>
                  <a:cubicBezTo>
                    <a:pt x="14919" y="13087"/>
                    <a:pt x="13064" y="14940"/>
                    <a:pt x="10788" y="14940"/>
                  </a:cubicBezTo>
                  <a:lnTo>
                    <a:pt x="10788" y="15390"/>
                  </a:lnTo>
                  <a:lnTo>
                    <a:pt x="10779" y="14940"/>
                  </a:lnTo>
                  <a:cubicBezTo>
                    <a:pt x="9675" y="14938"/>
                    <a:pt x="8637" y="14505"/>
                    <a:pt x="7857" y="13722"/>
                  </a:cubicBezTo>
                  <a:cubicBezTo>
                    <a:pt x="7078" y="12938"/>
                    <a:pt x="6650" y="11897"/>
                    <a:pt x="6652" y="10791"/>
                  </a:cubicBezTo>
                  <a:cubicBezTo>
                    <a:pt x="6657" y="8513"/>
                    <a:pt x="8512" y="6660"/>
                    <a:pt x="10797" y="6660"/>
                  </a:cubicBezTo>
                  <a:cubicBezTo>
                    <a:pt x="13077" y="6664"/>
                    <a:pt x="14928" y="8526"/>
                    <a:pt x="14924" y="10808"/>
                  </a:cubicBezTo>
                  <a:close/>
                  <a:moveTo>
                    <a:pt x="10809" y="899"/>
                  </a:moveTo>
                  <a:cubicBezTo>
                    <a:pt x="13373" y="904"/>
                    <a:pt x="15709" y="1891"/>
                    <a:pt x="17465" y="3503"/>
                  </a:cubicBezTo>
                  <a:lnTo>
                    <a:pt x="14024" y="6947"/>
                  </a:lnTo>
                  <a:cubicBezTo>
                    <a:pt x="13149" y="6210"/>
                    <a:pt x="12022" y="5763"/>
                    <a:pt x="10788" y="5760"/>
                  </a:cubicBezTo>
                  <a:cubicBezTo>
                    <a:pt x="9568" y="5760"/>
                    <a:pt x="8448" y="6199"/>
                    <a:pt x="7575" y="6926"/>
                  </a:cubicBezTo>
                  <a:lnTo>
                    <a:pt x="4137" y="3484"/>
                  </a:lnTo>
                  <a:cubicBezTo>
                    <a:pt x="5899" y="1880"/>
                    <a:pt x="8240" y="899"/>
                    <a:pt x="10809" y="899"/>
                  </a:cubicBezTo>
                  <a:close/>
                  <a:moveTo>
                    <a:pt x="10788" y="0"/>
                  </a:moveTo>
                  <a:cubicBezTo>
                    <a:pt x="4852" y="0"/>
                    <a:pt x="13" y="4834"/>
                    <a:pt x="0" y="10777"/>
                  </a:cubicBezTo>
                  <a:cubicBezTo>
                    <a:pt x="-12" y="16732"/>
                    <a:pt x="4817" y="21588"/>
                    <a:pt x="10766" y="21600"/>
                  </a:cubicBezTo>
                  <a:lnTo>
                    <a:pt x="10789" y="21600"/>
                  </a:lnTo>
                  <a:cubicBezTo>
                    <a:pt x="16725" y="21600"/>
                    <a:pt x="21563" y="16765"/>
                    <a:pt x="21576" y="10822"/>
                  </a:cubicBezTo>
                  <a:cubicBezTo>
                    <a:pt x="21588" y="4867"/>
                    <a:pt x="16759" y="13"/>
                    <a:pt x="10788" y="0"/>
                  </a:cubicBezTo>
                  <a:close/>
                </a:path>
              </a:pathLst>
            </a:custGeom>
            <a:solidFill>
              <a:srgbClr val="D3D3D3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2" name="Shape 488"/>
            <p:cNvSpPr/>
            <p:nvPr/>
          </p:nvSpPr>
          <p:spPr>
            <a:xfrm>
              <a:off x="8605534" y="5395928"/>
              <a:ext cx="949879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Sermaye Yönetimi &amp; Yatırımlar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33" name="Shape 489"/>
            <p:cNvSpPr/>
            <p:nvPr/>
          </p:nvSpPr>
          <p:spPr>
            <a:xfrm rot="10800000">
              <a:off x="9436195" y="5329493"/>
              <a:ext cx="537117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0726" y="21600"/>
                  </a:lnTo>
                  <a:lnTo>
                    <a:pt x="0" y="753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4" name="Shape 490"/>
            <p:cNvSpPr/>
            <p:nvPr/>
          </p:nvSpPr>
          <p:spPr>
            <a:xfrm rot="3641422">
              <a:off x="10340686" y="4736551"/>
              <a:ext cx="501970" cy="1600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32"/>
                  </a:moveTo>
                  <a:lnTo>
                    <a:pt x="9971" y="21600"/>
                  </a:lnTo>
                  <a:lnTo>
                    <a:pt x="21600" y="0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5" name="Shape 491"/>
            <p:cNvSpPr/>
            <p:nvPr/>
          </p:nvSpPr>
          <p:spPr>
            <a:xfrm>
              <a:off x="10035759" y="4373892"/>
              <a:ext cx="949879" cy="1231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Hazine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36" name="Shape 492"/>
            <p:cNvSpPr/>
            <p:nvPr/>
          </p:nvSpPr>
          <p:spPr>
            <a:xfrm>
              <a:off x="9392677" y="5917086"/>
              <a:ext cx="949879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Bütçeleme, Planlama &amp; Tahminleme</a:t>
              </a:r>
            </a:p>
          </p:txBody>
        </p:sp>
        <p:sp>
          <p:nvSpPr>
            <p:cNvPr id="237" name="Shape 493"/>
            <p:cNvSpPr/>
            <p:nvPr/>
          </p:nvSpPr>
          <p:spPr>
            <a:xfrm rot="10800000">
              <a:off x="10239270" y="5769485"/>
              <a:ext cx="537117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0726" y="21600"/>
                  </a:lnTo>
                  <a:lnTo>
                    <a:pt x="0" y="753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8" name="Shape 494"/>
            <p:cNvSpPr/>
            <p:nvPr/>
          </p:nvSpPr>
          <p:spPr>
            <a:xfrm>
              <a:off x="10380968" y="5029348"/>
              <a:ext cx="251357" cy="2427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55" extrusionOk="0">
                  <a:moveTo>
                    <a:pt x="11952" y="3002"/>
                  </a:moveTo>
                  <a:cubicBezTo>
                    <a:pt x="11786" y="3144"/>
                    <a:pt x="11424" y="3444"/>
                    <a:pt x="11148" y="3670"/>
                  </a:cubicBezTo>
                  <a:lnTo>
                    <a:pt x="11148" y="16852"/>
                  </a:lnTo>
                  <a:cubicBezTo>
                    <a:pt x="13604" y="15593"/>
                    <a:pt x="15598" y="15315"/>
                    <a:pt x="16873" y="15315"/>
                  </a:cubicBezTo>
                  <a:cubicBezTo>
                    <a:pt x="17133" y="15315"/>
                    <a:pt x="17373" y="15326"/>
                    <a:pt x="17594" y="15345"/>
                  </a:cubicBezTo>
                  <a:lnTo>
                    <a:pt x="17594" y="1230"/>
                  </a:lnTo>
                  <a:cubicBezTo>
                    <a:pt x="16228" y="1232"/>
                    <a:pt x="13715" y="1493"/>
                    <a:pt x="11952" y="3002"/>
                  </a:cubicBezTo>
                  <a:close/>
                  <a:moveTo>
                    <a:pt x="10446" y="3670"/>
                  </a:moveTo>
                  <a:cubicBezTo>
                    <a:pt x="10171" y="3443"/>
                    <a:pt x="9809" y="3144"/>
                    <a:pt x="9643" y="3002"/>
                  </a:cubicBezTo>
                  <a:cubicBezTo>
                    <a:pt x="7879" y="1493"/>
                    <a:pt x="5367" y="1232"/>
                    <a:pt x="4001" y="1230"/>
                  </a:cubicBezTo>
                  <a:lnTo>
                    <a:pt x="4001" y="15345"/>
                  </a:lnTo>
                  <a:cubicBezTo>
                    <a:pt x="4221" y="15326"/>
                    <a:pt x="4462" y="15315"/>
                    <a:pt x="4721" y="15315"/>
                  </a:cubicBezTo>
                  <a:cubicBezTo>
                    <a:pt x="5997" y="15315"/>
                    <a:pt x="7991" y="15593"/>
                    <a:pt x="10446" y="16852"/>
                  </a:cubicBezTo>
                  <a:cubicBezTo>
                    <a:pt x="10446" y="16852"/>
                    <a:pt x="10446" y="3670"/>
                    <a:pt x="10446" y="3670"/>
                  </a:cubicBezTo>
                  <a:close/>
                  <a:moveTo>
                    <a:pt x="10446" y="18243"/>
                  </a:moveTo>
                  <a:cubicBezTo>
                    <a:pt x="5728" y="15592"/>
                    <a:pt x="2782" y="16838"/>
                    <a:pt x="2782" y="16838"/>
                  </a:cubicBezTo>
                  <a:lnTo>
                    <a:pt x="2782" y="61"/>
                  </a:lnTo>
                  <a:cubicBezTo>
                    <a:pt x="2782" y="61"/>
                    <a:pt x="7475" y="-545"/>
                    <a:pt x="10446" y="2076"/>
                  </a:cubicBezTo>
                  <a:lnTo>
                    <a:pt x="11149" y="2076"/>
                  </a:lnTo>
                  <a:cubicBezTo>
                    <a:pt x="14120" y="-545"/>
                    <a:pt x="18813" y="61"/>
                    <a:pt x="18813" y="61"/>
                  </a:cubicBezTo>
                  <a:lnTo>
                    <a:pt x="18813" y="16837"/>
                  </a:lnTo>
                  <a:cubicBezTo>
                    <a:pt x="18813" y="16837"/>
                    <a:pt x="15866" y="15592"/>
                    <a:pt x="11149" y="18243"/>
                  </a:cubicBezTo>
                  <a:cubicBezTo>
                    <a:pt x="11149" y="18243"/>
                    <a:pt x="10446" y="18243"/>
                    <a:pt x="10446" y="18243"/>
                  </a:cubicBezTo>
                  <a:close/>
                  <a:moveTo>
                    <a:pt x="21600" y="19649"/>
                  </a:moveTo>
                  <a:lnTo>
                    <a:pt x="13935" y="19649"/>
                  </a:lnTo>
                  <a:lnTo>
                    <a:pt x="13935" y="21055"/>
                  </a:lnTo>
                  <a:lnTo>
                    <a:pt x="7665" y="21055"/>
                  </a:lnTo>
                  <a:lnTo>
                    <a:pt x="7665" y="19649"/>
                  </a:lnTo>
                  <a:lnTo>
                    <a:pt x="0" y="19649"/>
                  </a:lnTo>
                  <a:lnTo>
                    <a:pt x="0" y="2779"/>
                  </a:lnTo>
                  <a:lnTo>
                    <a:pt x="2090" y="2779"/>
                  </a:lnTo>
                  <a:lnTo>
                    <a:pt x="2090" y="4185"/>
                  </a:lnTo>
                  <a:lnTo>
                    <a:pt x="1393" y="4185"/>
                  </a:lnTo>
                  <a:lnTo>
                    <a:pt x="1393" y="18243"/>
                  </a:lnTo>
                  <a:lnTo>
                    <a:pt x="9058" y="18243"/>
                  </a:lnTo>
                  <a:lnTo>
                    <a:pt x="9058" y="19649"/>
                  </a:lnTo>
                  <a:lnTo>
                    <a:pt x="12542" y="19649"/>
                  </a:lnTo>
                  <a:lnTo>
                    <a:pt x="12542" y="18243"/>
                  </a:lnTo>
                  <a:lnTo>
                    <a:pt x="20207" y="18243"/>
                  </a:lnTo>
                  <a:lnTo>
                    <a:pt x="20207" y="4185"/>
                  </a:lnTo>
                  <a:lnTo>
                    <a:pt x="19510" y="4185"/>
                  </a:lnTo>
                  <a:lnTo>
                    <a:pt x="19510" y="2779"/>
                  </a:lnTo>
                  <a:lnTo>
                    <a:pt x="21600" y="2779"/>
                  </a:lnTo>
                  <a:cubicBezTo>
                    <a:pt x="21600" y="2779"/>
                    <a:pt x="21600" y="19649"/>
                    <a:pt x="21600" y="19649"/>
                  </a:cubicBezTo>
                  <a:close/>
                </a:path>
              </a:pathLst>
            </a:custGeom>
            <a:solidFill>
              <a:srgbClr val="FAF4C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39" name="Shape 495"/>
            <p:cNvSpPr/>
            <p:nvPr/>
          </p:nvSpPr>
          <p:spPr>
            <a:xfrm rot="10800000">
              <a:off x="11039291" y="5297527"/>
              <a:ext cx="537117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0726" y="21600"/>
                  </a:lnTo>
                  <a:lnTo>
                    <a:pt x="0" y="753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40" name="Shape 496"/>
            <p:cNvSpPr/>
            <p:nvPr/>
          </p:nvSpPr>
          <p:spPr>
            <a:xfrm>
              <a:off x="11137581" y="5486767"/>
              <a:ext cx="949879" cy="1231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Vergi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41" name="Shape 497"/>
            <p:cNvSpPr/>
            <p:nvPr/>
          </p:nvSpPr>
          <p:spPr>
            <a:xfrm>
              <a:off x="10925069" y="5027760"/>
              <a:ext cx="246029" cy="2459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2" h="21600" extrusionOk="0">
                  <a:moveTo>
                    <a:pt x="903" y="20700"/>
                  </a:moveTo>
                  <a:lnTo>
                    <a:pt x="20657" y="20700"/>
                  </a:lnTo>
                  <a:cubicBezTo>
                    <a:pt x="20633" y="19813"/>
                    <a:pt x="20520" y="18295"/>
                    <a:pt x="20161" y="17528"/>
                  </a:cubicBezTo>
                  <a:cubicBezTo>
                    <a:pt x="19704" y="16550"/>
                    <a:pt x="17649" y="16076"/>
                    <a:pt x="16148" y="15730"/>
                  </a:cubicBezTo>
                  <a:cubicBezTo>
                    <a:pt x="15948" y="15685"/>
                    <a:pt x="15754" y="15640"/>
                    <a:pt x="15569" y="15596"/>
                  </a:cubicBezTo>
                  <a:cubicBezTo>
                    <a:pt x="13259" y="15042"/>
                    <a:pt x="12180" y="13905"/>
                    <a:pt x="12362" y="12217"/>
                  </a:cubicBezTo>
                  <a:lnTo>
                    <a:pt x="12384" y="12018"/>
                  </a:lnTo>
                  <a:lnTo>
                    <a:pt x="12547" y="11900"/>
                  </a:lnTo>
                  <a:cubicBezTo>
                    <a:pt x="14099" y="10784"/>
                    <a:pt x="15225" y="8374"/>
                    <a:pt x="15225" y="6170"/>
                  </a:cubicBezTo>
                  <a:cubicBezTo>
                    <a:pt x="15225" y="2673"/>
                    <a:pt x="13729" y="900"/>
                    <a:pt x="10780" y="900"/>
                  </a:cubicBezTo>
                  <a:cubicBezTo>
                    <a:pt x="7831" y="900"/>
                    <a:pt x="6335" y="2673"/>
                    <a:pt x="6335" y="6170"/>
                  </a:cubicBezTo>
                  <a:cubicBezTo>
                    <a:pt x="6335" y="8374"/>
                    <a:pt x="7461" y="10784"/>
                    <a:pt x="9013" y="11900"/>
                  </a:cubicBezTo>
                  <a:lnTo>
                    <a:pt x="9176" y="12018"/>
                  </a:lnTo>
                  <a:lnTo>
                    <a:pt x="9198" y="12217"/>
                  </a:lnTo>
                  <a:cubicBezTo>
                    <a:pt x="9380" y="13905"/>
                    <a:pt x="8301" y="15041"/>
                    <a:pt x="5991" y="15596"/>
                  </a:cubicBezTo>
                  <a:cubicBezTo>
                    <a:pt x="5806" y="15640"/>
                    <a:pt x="5612" y="15685"/>
                    <a:pt x="5412" y="15730"/>
                  </a:cubicBezTo>
                  <a:cubicBezTo>
                    <a:pt x="3911" y="16076"/>
                    <a:pt x="1856" y="16550"/>
                    <a:pt x="1399" y="17528"/>
                  </a:cubicBezTo>
                  <a:cubicBezTo>
                    <a:pt x="1040" y="18296"/>
                    <a:pt x="927" y="19814"/>
                    <a:pt x="903" y="20700"/>
                  </a:cubicBezTo>
                  <a:close/>
                  <a:moveTo>
                    <a:pt x="21557" y="21600"/>
                  </a:moveTo>
                  <a:lnTo>
                    <a:pt x="4" y="21600"/>
                  </a:lnTo>
                  <a:lnTo>
                    <a:pt x="0" y="21154"/>
                  </a:lnTo>
                  <a:cubicBezTo>
                    <a:pt x="-2" y="21044"/>
                    <a:pt x="-20" y="18441"/>
                    <a:pt x="585" y="17146"/>
                  </a:cubicBezTo>
                  <a:cubicBezTo>
                    <a:pt x="1228" y="15771"/>
                    <a:pt x="3436" y="15262"/>
                    <a:pt x="5211" y="14854"/>
                  </a:cubicBezTo>
                  <a:cubicBezTo>
                    <a:pt x="5408" y="14808"/>
                    <a:pt x="5599" y="14764"/>
                    <a:pt x="5781" y="14720"/>
                  </a:cubicBezTo>
                  <a:cubicBezTo>
                    <a:pt x="8004" y="14187"/>
                    <a:pt x="8349" y="13282"/>
                    <a:pt x="8319" y="12503"/>
                  </a:cubicBezTo>
                  <a:cubicBezTo>
                    <a:pt x="6639" y="11183"/>
                    <a:pt x="5437" y="8562"/>
                    <a:pt x="5437" y="6170"/>
                  </a:cubicBezTo>
                  <a:cubicBezTo>
                    <a:pt x="5437" y="2134"/>
                    <a:pt x="7284" y="0"/>
                    <a:pt x="10780" y="0"/>
                  </a:cubicBezTo>
                  <a:cubicBezTo>
                    <a:pt x="14276" y="0"/>
                    <a:pt x="16123" y="2134"/>
                    <a:pt x="16123" y="6170"/>
                  </a:cubicBezTo>
                  <a:cubicBezTo>
                    <a:pt x="16123" y="8602"/>
                    <a:pt x="14947" y="11169"/>
                    <a:pt x="13241" y="12503"/>
                  </a:cubicBezTo>
                  <a:cubicBezTo>
                    <a:pt x="13211" y="13283"/>
                    <a:pt x="13557" y="14188"/>
                    <a:pt x="15779" y="14720"/>
                  </a:cubicBezTo>
                  <a:cubicBezTo>
                    <a:pt x="15961" y="14764"/>
                    <a:pt x="16152" y="14808"/>
                    <a:pt x="16349" y="14854"/>
                  </a:cubicBezTo>
                  <a:cubicBezTo>
                    <a:pt x="18124" y="15262"/>
                    <a:pt x="20332" y="15771"/>
                    <a:pt x="20975" y="17146"/>
                  </a:cubicBezTo>
                  <a:cubicBezTo>
                    <a:pt x="21580" y="18441"/>
                    <a:pt x="21562" y="21044"/>
                    <a:pt x="21561" y="21154"/>
                  </a:cubicBezTo>
                  <a:cubicBezTo>
                    <a:pt x="21561" y="21154"/>
                    <a:pt x="21557" y="21600"/>
                    <a:pt x="21557" y="21600"/>
                  </a:cubicBezTo>
                  <a:close/>
                </a:path>
              </a:pathLst>
            </a:custGeom>
            <a:solidFill>
              <a:srgbClr val="C3C1C5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42" name="Shape 488"/>
            <p:cNvSpPr/>
            <p:nvPr/>
          </p:nvSpPr>
          <p:spPr>
            <a:xfrm>
              <a:off x="9906028" y="6485109"/>
              <a:ext cx="949879" cy="15388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Borçlar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43" name="Shape 489"/>
            <p:cNvSpPr/>
            <p:nvPr/>
          </p:nvSpPr>
          <p:spPr>
            <a:xfrm rot="10800000">
              <a:off x="10535348" y="6236032"/>
              <a:ext cx="537117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0726" y="21600"/>
                  </a:lnTo>
                  <a:lnTo>
                    <a:pt x="0" y="753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44" name="Shape 493"/>
            <p:cNvSpPr/>
            <p:nvPr/>
          </p:nvSpPr>
          <p:spPr>
            <a:xfrm rot="10800000">
              <a:off x="11042959" y="6235601"/>
              <a:ext cx="537117" cy="150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0726" y="21600"/>
                  </a:lnTo>
                  <a:lnTo>
                    <a:pt x="0" y="753"/>
                  </a:lnTo>
                </a:path>
              </a:pathLst>
            </a:custGeom>
            <a:ln w="38100">
              <a:solidFill>
                <a:srgbClr val="59585A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73039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6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245" name="Shape 488"/>
            <p:cNvSpPr/>
            <p:nvPr/>
          </p:nvSpPr>
          <p:spPr>
            <a:xfrm>
              <a:off x="11101467" y="6512993"/>
              <a:ext cx="949879" cy="1231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 marL="0" indent="0">
                <a:lnSpc>
                  <a:spcPct val="80000"/>
                </a:lnSpc>
                <a:spcBef>
                  <a:spcPts val="5500"/>
                </a:spcBef>
                <a:defRPr sz="3200">
                  <a:solidFill>
                    <a:srgbClr val="59585A"/>
                  </a:solidFill>
                  <a:uFillTx/>
                  <a:latin typeface="EYInterstate Regular"/>
                  <a:ea typeface="EYInterstate Regular"/>
                  <a:cs typeface="EYInterstate Regular"/>
                  <a:sym typeface="EYInterstate Regular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5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tr-T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sym typeface="EYInterstate Regular"/>
                </a:rPr>
                <a:t>Raporlama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sym typeface="EYInterstate Regular"/>
              </a:endParaRPr>
            </a:p>
          </p:txBody>
        </p:sp>
        <p:sp>
          <p:nvSpPr>
            <p:cNvPr id="246" name="Shape 494"/>
            <p:cNvSpPr/>
            <p:nvPr/>
          </p:nvSpPr>
          <p:spPr>
            <a:xfrm>
              <a:off x="10946789" y="5949157"/>
              <a:ext cx="251357" cy="2427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55" extrusionOk="0">
                  <a:moveTo>
                    <a:pt x="11952" y="3002"/>
                  </a:moveTo>
                  <a:cubicBezTo>
                    <a:pt x="11786" y="3144"/>
                    <a:pt x="11424" y="3444"/>
                    <a:pt x="11148" y="3670"/>
                  </a:cubicBezTo>
                  <a:lnTo>
                    <a:pt x="11148" y="16852"/>
                  </a:lnTo>
                  <a:cubicBezTo>
                    <a:pt x="13604" y="15593"/>
                    <a:pt x="15598" y="15315"/>
                    <a:pt x="16873" y="15315"/>
                  </a:cubicBezTo>
                  <a:cubicBezTo>
                    <a:pt x="17133" y="15315"/>
                    <a:pt x="17373" y="15326"/>
                    <a:pt x="17594" y="15345"/>
                  </a:cubicBezTo>
                  <a:lnTo>
                    <a:pt x="17594" y="1230"/>
                  </a:lnTo>
                  <a:cubicBezTo>
                    <a:pt x="16228" y="1232"/>
                    <a:pt x="13715" y="1493"/>
                    <a:pt x="11952" y="3002"/>
                  </a:cubicBezTo>
                  <a:close/>
                  <a:moveTo>
                    <a:pt x="10446" y="3670"/>
                  </a:moveTo>
                  <a:cubicBezTo>
                    <a:pt x="10171" y="3443"/>
                    <a:pt x="9809" y="3144"/>
                    <a:pt x="9643" y="3002"/>
                  </a:cubicBezTo>
                  <a:cubicBezTo>
                    <a:pt x="7879" y="1493"/>
                    <a:pt x="5367" y="1232"/>
                    <a:pt x="4001" y="1230"/>
                  </a:cubicBezTo>
                  <a:lnTo>
                    <a:pt x="4001" y="15345"/>
                  </a:lnTo>
                  <a:cubicBezTo>
                    <a:pt x="4221" y="15326"/>
                    <a:pt x="4462" y="15315"/>
                    <a:pt x="4721" y="15315"/>
                  </a:cubicBezTo>
                  <a:cubicBezTo>
                    <a:pt x="5997" y="15315"/>
                    <a:pt x="7991" y="15593"/>
                    <a:pt x="10446" y="16852"/>
                  </a:cubicBezTo>
                  <a:cubicBezTo>
                    <a:pt x="10446" y="16852"/>
                    <a:pt x="10446" y="3670"/>
                    <a:pt x="10446" y="3670"/>
                  </a:cubicBezTo>
                  <a:close/>
                  <a:moveTo>
                    <a:pt x="10446" y="18243"/>
                  </a:moveTo>
                  <a:cubicBezTo>
                    <a:pt x="5728" y="15592"/>
                    <a:pt x="2782" y="16838"/>
                    <a:pt x="2782" y="16838"/>
                  </a:cubicBezTo>
                  <a:lnTo>
                    <a:pt x="2782" y="61"/>
                  </a:lnTo>
                  <a:cubicBezTo>
                    <a:pt x="2782" y="61"/>
                    <a:pt x="7475" y="-545"/>
                    <a:pt x="10446" y="2076"/>
                  </a:cubicBezTo>
                  <a:lnTo>
                    <a:pt x="11149" y="2076"/>
                  </a:lnTo>
                  <a:cubicBezTo>
                    <a:pt x="14120" y="-545"/>
                    <a:pt x="18813" y="61"/>
                    <a:pt x="18813" y="61"/>
                  </a:cubicBezTo>
                  <a:lnTo>
                    <a:pt x="18813" y="16837"/>
                  </a:lnTo>
                  <a:cubicBezTo>
                    <a:pt x="18813" y="16837"/>
                    <a:pt x="15866" y="15592"/>
                    <a:pt x="11149" y="18243"/>
                  </a:cubicBezTo>
                  <a:cubicBezTo>
                    <a:pt x="11149" y="18243"/>
                    <a:pt x="10446" y="18243"/>
                    <a:pt x="10446" y="18243"/>
                  </a:cubicBezTo>
                  <a:close/>
                  <a:moveTo>
                    <a:pt x="21600" y="19649"/>
                  </a:moveTo>
                  <a:lnTo>
                    <a:pt x="13935" y="19649"/>
                  </a:lnTo>
                  <a:lnTo>
                    <a:pt x="13935" y="21055"/>
                  </a:lnTo>
                  <a:lnTo>
                    <a:pt x="7665" y="21055"/>
                  </a:lnTo>
                  <a:lnTo>
                    <a:pt x="7665" y="19649"/>
                  </a:lnTo>
                  <a:lnTo>
                    <a:pt x="0" y="19649"/>
                  </a:lnTo>
                  <a:lnTo>
                    <a:pt x="0" y="2779"/>
                  </a:lnTo>
                  <a:lnTo>
                    <a:pt x="2090" y="2779"/>
                  </a:lnTo>
                  <a:lnTo>
                    <a:pt x="2090" y="4185"/>
                  </a:lnTo>
                  <a:lnTo>
                    <a:pt x="1393" y="4185"/>
                  </a:lnTo>
                  <a:lnTo>
                    <a:pt x="1393" y="18243"/>
                  </a:lnTo>
                  <a:lnTo>
                    <a:pt x="9058" y="18243"/>
                  </a:lnTo>
                  <a:lnTo>
                    <a:pt x="9058" y="19649"/>
                  </a:lnTo>
                  <a:lnTo>
                    <a:pt x="12542" y="19649"/>
                  </a:lnTo>
                  <a:lnTo>
                    <a:pt x="12542" y="18243"/>
                  </a:lnTo>
                  <a:lnTo>
                    <a:pt x="20207" y="18243"/>
                  </a:lnTo>
                  <a:lnTo>
                    <a:pt x="20207" y="4185"/>
                  </a:lnTo>
                  <a:lnTo>
                    <a:pt x="19510" y="4185"/>
                  </a:lnTo>
                  <a:lnTo>
                    <a:pt x="19510" y="2779"/>
                  </a:lnTo>
                  <a:lnTo>
                    <a:pt x="21600" y="2779"/>
                  </a:lnTo>
                  <a:cubicBezTo>
                    <a:pt x="21600" y="2779"/>
                    <a:pt x="21600" y="19649"/>
                    <a:pt x="21600" y="19649"/>
                  </a:cubicBezTo>
                  <a:close/>
                </a:path>
              </a:pathLst>
            </a:custGeom>
            <a:solidFill>
              <a:srgbClr val="FAF4C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FillTx/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EYInterstate" panose="02000503020000020004" pitchFamily="2" charset="0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>
            <a:off x="10351425" y="1094130"/>
            <a:ext cx="2403081" cy="2405389"/>
            <a:chOff x="787400" y="1572688"/>
            <a:chExt cx="2798179" cy="2405389"/>
          </a:xfrm>
        </p:grpSpPr>
        <p:sp>
          <p:nvSpPr>
            <p:cNvPr id="248" name="Rectangle 247"/>
            <p:cNvSpPr/>
            <p:nvPr/>
          </p:nvSpPr>
          <p:spPr>
            <a:xfrm>
              <a:off x="787400" y="2010484"/>
              <a:ext cx="2798179" cy="155665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r"/>
              <a:r>
                <a:rPr lang="tr-TR" sz="1400" dirty="0" smtClean="0">
                  <a:solidFill>
                    <a:schemeClr val="bg2"/>
                  </a:solidFill>
                  <a:latin typeface="EYInterstate Light" panose="02000506000000020004" pitchFamily="2" charset="0"/>
                </a:rPr>
                <a:t>EY Danışmanlık Hizmetleri olarak yetkin ekibimizle müşterilerimize RSO hizmeti vermekteyiz.</a:t>
              </a:r>
            </a:p>
            <a:p>
              <a:pPr algn="r"/>
              <a:endParaRPr lang="tr-TR" sz="1400" dirty="0" smtClean="0">
                <a:solidFill>
                  <a:schemeClr val="bg2"/>
                </a:solidFill>
                <a:latin typeface="EYInterstate Light" panose="02000506000000020004" pitchFamily="2" charset="0"/>
              </a:endParaRPr>
            </a:p>
            <a:p>
              <a:pPr algn="r"/>
              <a:r>
                <a:rPr lang="tr-TR" sz="1400" dirty="0" smtClean="0">
                  <a:solidFill>
                    <a:schemeClr val="bg2"/>
                  </a:solidFill>
                  <a:latin typeface="EYInterstate Light" panose="02000506000000020004" pitchFamily="2" charset="0"/>
                </a:rPr>
                <a:t>Yapılandırılmış formlar, kural motorları, dijital iş akışı alanlarında da kapasite geliştirme çalışmalarımız devam etmektedir.</a:t>
              </a:r>
              <a:endParaRPr lang="tr-TR" sz="1400" dirty="0">
                <a:solidFill>
                  <a:schemeClr val="bg2"/>
                </a:solidFill>
                <a:latin typeface="EYInterstate Light" panose="02000506000000020004" pitchFamily="2" charset="0"/>
              </a:endParaRPr>
            </a:p>
          </p:txBody>
        </p:sp>
        <p:cxnSp>
          <p:nvCxnSpPr>
            <p:cNvPr id="249" name="Straight Connector 248"/>
            <p:cNvCxnSpPr/>
            <p:nvPr/>
          </p:nvCxnSpPr>
          <p:spPr>
            <a:xfrm>
              <a:off x="843146" y="1572688"/>
              <a:ext cx="2686686" cy="0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868547" y="3978077"/>
              <a:ext cx="2635885" cy="0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65092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639811"/>
              </p:ext>
            </p:extLst>
          </p:nvPr>
        </p:nvGraphicFramePr>
        <p:xfrm>
          <a:off x="4735" y="33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35" y="33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19" name="Group 118"/>
          <p:cNvGrpSpPr>
            <a:grpSpLocks noChangeAspect="1"/>
          </p:cNvGrpSpPr>
          <p:nvPr/>
        </p:nvGrpSpPr>
        <p:grpSpPr>
          <a:xfrm>
            <a:off x="654345" y="1170904"/>
            <a:ext cx="10036508" cy="5643732"/>
            <a:chOff x="0" y="0"/>
            <a:chExt cx="10048018" cy="6334125"/>
          </a:xfrm>
        </p:grpSpPr>
        <p:grpSp>
          <p:nvGrpSpPr>
            <p:cNvPr id="120" name="S_NZL"/>
            <p:cNvGrpSpPr>
              <a:grpSpLocks/>
            </p:cNvGrpSpPr>
            <p:nvPr/>
          </p:nvGrpSpPr>
          <p:grpSpPr bwMode="auto">
            <a:xfrm>
              <a:off x="9025389" y="5334000"/>
              <a:ext cx="303646" cy="400050"/>
              <a:chOff x="9316531" y="5334000"/>
              <a:chExt cx="32" cy="42"/>
            </a:xfrm>
            <a:solidFill>
              <a:schemeClr val="bg1">
                <a:lumMod val="75000"/>
              </a:schemeClr>
            </a:solidFill>
          </p:grpSpPr>
          <p:sp>
            <p:nvSpPr>
              <p:cNvPr id="379" name="Freeform 378"/>
              <p:cNvSpPr>
                <a:spLocks/>
              </p:cNvSpPr>
              <p:nvPr/>
            </p:nvSpPr>
            <p:spPr bwMode="auto">
              <a:xfrm>
                <a:off x="9316531" y="5334020"/>
                <a:ext cx="21" cy="22"/>
              </a:xfrm>
              <a:custGeom>
                <a:avLst/>
                <a:gdLst>
                  <a:gd name="T0" fmla="*/ 1 w 98"/>
                  <a:gd name="T1" fmla="*/ 0 h 99"/>
                  <a:gd name="T2" fmla="*/ 1 w 98"/>
                  <a:gd name="T3" fmla="*/ 0 h 99"/>
                  <a:gd name="T4" fmla="*/ 1 w 98"/>
                  <a:gd name="T5" fmla="*/ 0 h 99"/>
                  <a:gd name="T6" fmla="*/ 1 w 98"/>
                  <a:gd name="T7" fmla="*/ 0 h 99"/>
                  <a:gd name="T8" fmla="*/ 1 w 98"/>
                  <a:gd name="T9" fmla="*/ 0 h 99"/>
                  <a:gd name="T10" fmla="*/ 1 w 98"/>
                  <a:gd name="T11" fmla="*/ 0 h 99"/>
                  <a:gd name="T12" fmla="*/ 1 w 98"/>
                  <a:gd name="T13" fmla="*/ 0 h 99"/>
                  <a:gd name="T14" fmla="*/ 1 w 98"/>
                  <a:gd name="T15" fmla="*/ 0 h 99"/>
                  <a:gd name="T16" fmla="*/ 1 w 98"/>
                  <a:gd name="T17" fmla="*/ 0 h 99"/>
                  <a:gd name="T18" fmla="*/ 1 w 98"/>
                  <a:gd name="T19" fmla="*/ 0 h 99"/>
                  <a:gd name="T20" fmla="*/ 1 w 98"/>
                  <a:gd name="T21" fmla="*/ 1 h 99"/>
                  <a:gd name="T22" fmla="*/ 1 w 98"/>
                  <a:gd name="T23" fmla="*/ 1 h 99"/>
                  <a:gd name="T24" fmla="*/ 0 w 98"/>
                  <a:gd name="T25" fmla="*/ 1 h 99"/>
                  <a:gd name="T26" fmla="*/ 0 w 98"/>
                  <a:gd name="T27" fmla="*/ 1 h 99"/>
                  <a:gd name="T28" fmla="*/ 0 w 98"/>
                  <a:gd name="T29" fmla="*/ 1 h 99"/>
                  <a:gd name="T30" fmla="*/ 0 w 98"/>
                  <a:gd name="T31" fmla="*/ 1 h 99"/>
                  <a:gd name="T32" fmla="*/ 0 w 98"/>
                  <a:gd name="T33" fmla="*/ 1 h 99"/>
                  <a:gd name="T34" fmla="*/ 0 w 98"/>
                  <a:gd name="T35" fmla="*/ 1 h 99"/>
                  <a:gd name="T36" fmla="*/ 0 w 98"/>
                  <a:gd name="T37" fmla="*/ 1 h 99"/>
                  <a:gd name="T38" fmla="*/ 0 w 98"/>
                  <a:gd name="T39" fmla="*/ 1 h 99"/>
                  <a:gd name="T40" fmla="*/ 0 w 98"/>
                  <a:gd name="T41" fmla="*/ 1 h 99"/>
                  <a:gd name="T42" fmla="*/ 0 w 98"/>
                  <a:gd name="T43" fmla="*/ 1 h 99"/>
                  <a:gd name="T44" fmla="*/ 0 w 98"/>
                  <a:gd name="T45" fmla="*/ 1 h 99"/>
                  <a:gd name="T46" fmla="*/ 0 w 98"/>
                  <a:gd name="T47" fmla="*/ 1 h 99"/>
                  <a:gd name="T48" fmla="*/ 0 w 98"/>
                  <a:gd name="T49" fmla="*/ 0 h 99"/>
                  <a:gd name="T50" fmla="*/ 1 w 98"/>
                  <a:gd name="T51" fmla="*/ 0 h 9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98"/>
                  <a:gd name="T79" fmla="*/ 0 h 99"/>
                  <a:gd name="T80" fmla="*/ 98 w 98"/>
                  <a:gd name="T81" fmla="*/ 99 h 9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98" h="99">
                    <a:moveTo>
                      <a:pt x="71" y="8"/>
                    </a:moveTo>
                    <a:lnTo>
                      <a:pt x="78" y="0"/>
                    </a:lnTo>
                    <a:lnTo>
                      <a:pt x="81" y="7"/>
                    </a:lnTo>
                    <a:lnTo>
                      <a:pt x="83" y="10"/>
                    </a:lnTo>
                    <a:lnTo>
                      <a:pt x="93" y="7"/>
                    </a:lnTo>
                    <a:lnTo>
                      <a:pt x="93" y="12"/>
                    </a:lnTo>
                    <a:lnTo>
                      <a:pt x="94" y="8"/>
                    </a:lnTo>
                    <a:lnTo>
                      <a:pt x="98" y="13"/>
                    </a:lnTo>
                    <a:lnTo>
                      <a:pt x="93" y="27"/>
                    </a:lnTo>
                    <a:lnTo>
                      <a:pt x="79" y="44"/>
                    </a:lnTo>
                    <a:lnTo>
                      <a:pt x="83" y="54"/>
                    </a:lnTo>
                    <a:lnTo>
                      <a:pt x="64" y="55"/>
                    </a:lnTo>
                    <a:lnTo>
                      <a:pt x="51" y="91"/>
                    </a:lnTo>
                    <a:lnTo>
                      <a:pt x="36" y="99"/>
                    </a:lnTo>
                    <a:lnTo>
                      <a:pt x="26" y="99"/>
                    </a:lnTo>
                    <a:lnTo>
                      <a:pt x="24" y="97"/>
                    </a:lnTo>
                    <a:lnTo>
                      <a:pt x="17" y="96"/>
                    </a:lnTo>
                    <a:lnTo>
                      <a:pt x="12" y="92"/>
                    </a:lnTo>
                    <a:lnTo>
                      <a:pt x="2" y="92"/>
                    </a:lnTo>
                    <a:lnTo>
                      <a:pt x="6" y="87"/>
                    </a:lnTo>
                    <a:lnTo>
                      <a:pt x="2" y="91"/>
                    </a:lnTo>
                    <a:lnTo>
                      <a:pt x="4" y="87"/>
                    </a:lnTo>
                    <a:lnTo>
                      <a:pt x="0" y="89"/>
                    </a:lnTo>
                    <a:lnTo>
                      <a:pt x="26" y="55"/>
                    </a:lnTo>
                    <a:lnTo>
                      <a:pt x="51" y="37"/>
                    </a:lnTo>
                    <a:lnTo>
                      <a:pt x="71" y="8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80" name="Freeform 379"/>
              <p:cNvSpPr>
                <a:spLocks/>
              </p:cNvSpPr>
              <p:nvPr/>
            </p:nvSpPr>
            <p:spPr bwMode="auto">
              <a:xfrm>
                <a:off x="9316548" y="5334000"/>
                <a:ext cx="15" cy="24"/>
              </a:xfrm>
              <a:custGeom>
                <a:avLst/>
                <a:gdLst>
                  <a:gd name="T0" fmla="*/ 0 w 70"/>
                  <a:gd name="T1" fmla="*/ 0 h 108"/>
                  <a:gd name="T2" fmla="*/ 0 w 70"/>
                  <a:gd name="T3" fmla="*/ 0 h 108"/>
                  <a:gd name="T4" fmla="*/ 0 w 70"/>
                  <a:gd name="T5" fmla="*/ 0 h 108"/>
                  <a:gd name="T6" fmla="*/ 0 w 70"/>
                  <a:gd name="T7" fmla="*/ 0 h 108"/>
                  <a:gd name="T8" fmla="*/ 0 w 70"/>
                  <a:gd name="T9" fmla="*/ 0 h 108"/>
                  <a:gd name="T10" fmla="*/ 0 w 70"/>
                  <a:gd name="T11" fmla="*/ 0 h 108"/>
                  <a:gd name="T12" fmla="*/ 0 w 70"/>
                  <a:gd name="T13" fmla="*/ 0 h 108"/>
                  <a:gd name="T14" fmla="*/ 0 w 70"/>
                  <a:gd name="T15" fmla="*/ 0 h 108"/>
                  <a:gd name="T16" fmla="*/ 0 w 70"/>
                  <a:gd name="T17" fmla="*/ 0 h 108"/>
                  <a:gd name="T18" fmla="*/ 0 w 70"/>
                  <a:gd name="T19" fmla="*/ 0 h 108"/>
                  <a:gd name="T20" fmla="*/ 0 w 70"/>
                  <a:gd name="T21" fmla="*/ 0 h 108"/>
                  <a:gd name="T22" fmla="*/ 1 w 70"/>
                  <a:gd name="T23" fmla="*/ 0 h 108"/>
                  <a:gd name="T24" fmla="*/ 1 w 70"/>
                  <a:gd name="T25" fmla="*/ 0 h 108"/>
                  <a:gd name="T26" fmla="*/ 1 w 70"/>
                  <a:gd name="T27" fmla="*/ 1 h 108"/>
                  <a:gd name="T28" fmla="*/ 1 w 70"/>
                  <a:gd name="T29" fmla="*/ 1 h 108"/>
                  <a:gd name="T30" fmla="*/ 0 w 70"/>
                  <a:gd name="T31" fmla="*/ 1 h 108"/>
                  <a:gd name="T32" fmla="*/ 0 w 70"/>
                  <a:gd name="T33" fmla="*/ 1 h 108"/>
                  <a:gd name="T34" fmla="*/ 0 w 70"/>
                  <a:gd name="T35" fmla="*/ 1 h 108"/>
                  <a:gd name="T36" fmla="*/ 0 w 70"/>
                  <a:gd name="T37" fmla="*/ 1 h 108"/>
                  <a:gd name="T38" fmla="*/ 0 w 70"/>
                  <a:gd name="T39" fmla="*/ 1 h 108"/>
                  <a:gd name="T40" fmla="*/ 0 w 70"/>
                  <a:gd name="T41" fmla="*/ 1 h 108"/>
                  <a:gd name="T42" fmla="*/ 0 w 70"/>
                  <a:gd name="T43" fmla="*/ 1 h 108"/>
                  <a:gd name="T44" fmla="*/ 0 w 70"/>
                  <a:gd name="T45" fmla="*/ 1 h 108"/>
                  <a:gd name="T46" fmla="*/ 0 w 70"/>
                  <a:gd name="T47" fmla="*/ 1 h 108"/>
                  <a:gd name="T48" fmla="*/ 0 w 70"/>
                  <a:gd name="T49" fmla="*/ 0 h 108"/>
                  <a:gd name="T50" fmla="*/ 0 w 70"/>
                  <a:gd name="T51" fmla="*/ 0 h 108"/>
                  <a:gd name="T52" fmla="*/ 0 w 70"/>
                  <a:gd name="T53" fmla="*/ 0 h 108"/>
                  <a:gd name="T54" fmla="*/ 0 w 70"/>
                  <a:gd name="T55" fmla="*/ 0 h 108"/>
                  <a:gd name="T56" fmla="*/ 0 w 70"/>
                  <a:gd name="T57" fmla="*/ 0 h 108"/>
                  <a:gd name="T58" fmla="*/ 0 w 70"/>
                  <a:gd name="T59" fmla="*/ 0 h 108"/>
                  <a:gd name="T60" fmla="*/ 0 w 70"/>
                  <a:gd name="T61" fmla="*/ 0 h 108"/>
                  <a:gd name="T62" fmla="*/ 0 w 70"/>
                  <a:gd name="T63" fmla="*/ 0 h 108"/>
                  <a:gd name="T64" fmla="*/ 0 w 70"/>
                  <a:gd name="T65" fmla="*/ 0 h 10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0"/>
                  <a:gd name="T100" fmla="*/ 0 h 108"/>
                  <a:gd name="T101" fmla="*/ 70 w 70"/>
                  <a:gd name="T102" fmla="*/ 108 h 10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0" h="108">
                    <a:moveTo>
                      <a:pt x="1" y="0"/>
                    </a:moveTo>
                    <a:lnTo>
                      <a:pt x="6" y="7"/>
                    </a:lnTo>
                    <a:lnTo>
                      <a:pt x="16" y="10"/>
                    </a:lnTo>
                    <a:lnTo>
                      <a:pt x="18" y="15"/>
                    </a:lnTo>
                    <a:lnTo>
                      <a:pt x="23" y="20"/>
                    </a:lnTo>
                    <a:lnTo>
                      <a:pt x="20" y="19"/>
                    </a:lnTo>
                    <a:lnTo>
                      <a:pt x="25" y="34"/>
                    </a:lnTo>
                    <a:lnTo>
                      <a:pt x="28" y="35"/>
                    </a:lnTo>
                    <a:lnTo>
                      <a:pt x="33" y="41"/>
                    </a:lnTo>
                    <a:lnTo>
                      <a:pt x="33" y="30"/>
                    </a:lnTo>
                    <a:lnTo>
                      <a:pt x="45" y="47"/>
                    </a:lnTo>
                    <a:lnTo>
                      <a:pt x="60" y="51"/>
                    </a:lnTo>
                    <a:lnTo>
                      <a:pt x="68" y="46"/>
                    </a:lnTo>
                    <a:lnTo>
                      <a:pt x="70" y="54"/>
                    </a:lnTo>
                    <a:lnTo>
                      <a:pt x="67" y="67"/>
                    </a:lnTo>
                    <a:lnTo>
                      <a:pt x="53" y="76"/>
                    </a:lnTo>
                    <a:lnTo>
                      <a:pt x="48" y="89"/>
                    </a:lnTo>
                    <a:lnTo>
                      <a:pt x="33" y="108"/>
                    </a:lnTo>
                    <a:lnTo>
                      <a:pt x="31" y="104"/>
                    </a:lnTo>
                    <a:lnTo>
                      <a:pt x="26" y="104"/>
                    </a:lnTo>
                    <a:lnTo>
                      <a:pt x="28" y="96"/>
                    </a:lnTo>
                    <a:lnTo>
                      <a:pt x="26" y="84"/>
                    </a:lnTo>
                    <a:lnTo>
                      <a:pt x="16" y="69"/>
                    </a:lnTo>
                    <a:lnTo>
                      <a:pt x="23" y="64"/>
                    </a:lnTo>
                    <a:lnTo>
                      <a:pt x="25" y="3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25"/>
                    </a:lnTo>
                    <a:lnTo>
                      <a:pt x="16" y="29"/>
                    </a:lnTo>
                    <a:lnTo>
                      <a:pt x="11" y="20"/>
                    </a:lnTo>
                    <a:lnTo>
                      <a:pt x="10" y="1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21" name="S_USA"/>
            <p:cNvGrpSpPr>
              <a:grpSpLocks/>
            </p:cNvGrpSpPr>
            <p:nvPr/>
          </p:nvGrpSpPr>
          <p:grpSpPr bwMode="auto">
            <a:xfrm>
              <a:off x="0" y="1171575"/>
              <a:ext cx="2815890" cy="2333625"/>
              <a:chOff x="0" y="1171575"/>
              <a:chExt cx="296" cy="245"/>
            </a:xfrm>
            <a:solidFill>
              <a:schemeClr val="bg1">
                <a:lumMod val="75000"/>
              </a:schemeClr>
            </a:solidFill>
          </p:grpSpPr>
          <p:sp>
            <p:nvSpPr>
              <p:cNvPr id="377" name="Freeform 376"/>
              <p:cNvSpPr>
                <a:spLocks/>
              </p:cNvSpPr>
              <p:nvPr/>
            </p:nvSpPr>
            <p:spPr bwMode="auto">
              <a:xfrm>
                <a:off x="126" y="1171722"/>
                <a:ext cx="170" cy="98"/>
              </a:xfrm>
              <a:custGeom>
                <a:avLst/>
                <a:gdLst>
                  <a:gd name="T0" fmla="*/ 4 w 774"/>
                  <a:gd name="T1" fmla="*/ 0 h 450"/>
                  <a:gd name="T2" fmla="*/ 4 w 774"/>
                  <a:gd name="T3" fmla="*/ 0 h 450"/>
                  <a:gd name="T4" fmla="*/ 5 w 774"/>
                  <a:gd name="T5" fmla="*/ 0 h 450"/>
                  <a:gd name="T6" fmla="*/ 5 w 774"/>
                  <a:gd name="T7" fmla="*/ 1 h 450"/>
                  <a:gd name="T8" fmla="*/ 5 w 774"/>
                  <a:gd name="T9" fmla="*/ 1 h 450"/>
                  <a:gd name="T10" fmla="*/ 5 w 774"/>
                  <a:gd name="T11" fmla="*/ 1 h 450"/>
                  <a:gd name="T12" fmla="*/ 5 w 774"/>
                  <a:gd name="T13" fmla="*/ 1 h 450"/>
                  <a:gd name="T14" fmla="*/ 6 w 774"/>
                  <a:gd name="T15" fmla="*/ 1 h 450"/>
                  <a:gd name="T16" fmla="*/ 5 w 774"/>
                  <a:gd name="T17" fmla="*/ 1 h 450"/>
                  <a:gd name="T18" fmla="*/ 5 w 774"/>
                  <a:gd name="T19" fmla="*/ 1 h 450"/>
                  <a:gd name="T20" fmla="*/ 5 w 774"/>
                  <a:gd name="T21" fmla="*/ 2 h 450"/>
                  <a:gd name="T22" fmla="*/ 5 w 774"/>
                  <a:gd name="T23" fmla="*/ 2 h 450"/>
                  <a:gd name="T24" fmla="*/ 6 w 774"/>
                  <a:gd name="T25" fmla="*/ 1 h 450"/>
                  <a:gd name="T26" fmla="*/ 6 w 774"/>
                  <a:gd name="T27" fmla="*/ 1 h 450"/>
                  <a:gd name="T28" fmla="*/ 6 w 774"/>
                  <a:gd name="T29" fmla="*/ 1 h 450"/>
                  <a:gd name="T30" fmla="*/ 6 w 774"/>
                  <a:gd name="T31" fmla="*/ 2 h 450"/>
                  <a:gd name="T32" fmla="*/ 6 w 774"/>
                  <a:gd name="T33" fmla="*/ 2 h 450"/>
                  <a:gd name="T34" fmla="*/ 7 w 774"/>
                  <a:gd name="T35" fmla="*/ 2 h 450"/>
                  <a:gd name="T36" fmla="*/ 7 w 774"/>
                  <a:gd name="T37" fmla="*/ 1 h 450"/>
                  <a:gd name="T38" fmla="*/ 7 w 774"/>
                  <a:gd name="T39" fmla="*/ 1 h 450"/>
                  <a:gd name="T40" fmla="*/ 8 w 774"/>
                  <a:gd name="T41" fmla="*/ 1 h 450"/>
                  <a:gd name="T42" fmla="*/ 8 w 774"/>
                  <a:gd name="T43" fmla="*/ 1 h 450"/>
                  <a:gd name="T44" fmla="*/ 8 w 774"/>
                  <a:gd name="T45" fmla="*/ 1 h 450"/>
                  <a:gd name="T46" fmla="*/ 8 w 774"/>
                  <a:gd name="T47" fmla="*/ 1 h 450"/>
                  <a:gd name="T48" fmla="*/ 8 w 774"/>
                  <a:gd name="T49" fmla="*/ 1 h 450"/>
                  <a:gd name="T50" fmla="*/ 8 w 774"/>
                  <a:gd name="T51" fmla="*/ 2 h 450"/>
                  <a:gd name="T52" fmla="*/ 8 w 774"/>
                  <a:gd name="T53" fmla="*/ 2 h 450"/>
                  <a:gd name="T54" fmla="*/ 7 w 774"/>
                  <a:gd name="T55" fmla="*/ 2 h 450"/>
                  <a:gd name="T56" fmla="*/ 7 w 774"/>
                  <a:gd name="T57" fmla="*/ 2 h 450"/>
                  <a:gd name="T58" fmla="*/ 7 w 774"/>
                  <a:gd name="T59" fmla="*/ 3 h 450"/>
                  <a:gd name="T60" fmla="*/ 7 w 774"/>
                  <a:gd name="T61" fmla="*/ 2 h 450"/>
                  <a:gd name="T62" fmla="*/ 7 w 774"/>
                  <a:gd name="T63" fmla="*/ 2 h 450"/>
                  <a:gd name="T64" fmla="*/ 7 w 774"/>
                  <a:gd name="T65" fmla="*/ 3 h 450"/>
                  <a:gd name="T66" fmla="*/ 6 w 774"/>
                  <a:gd name="T67" fmla="*/ 4 h 450"/>
                  <a:gd name="T68" fmla="*/ 6 w 774"/>
                  <a:gd name="T69" fmla="*/ 5 h 450"/>
                  <a:gd name="T70" fmla="*/ 6 w 774"/>
                  <a:gd name="T71" fmla="*/ 4 h 450"/>
                  <a:gd name="T72" fmla="*/ 6 w 774"/>
                  <a:gd name="T73" fmla="*/ 4 h 450"/>
                  <a:gd name="T74" fmla="*/ 6 w 774"/>
                  <a:gd name="T75" fmla="*/ 4 h 450"/>
                  <a:gd name="T76" fmla="*/ 5 w 774"/>
                  <a:gd name="T77" fmla="*/ 4 h 450"/>
                  <a:gd name="T78" fmla="*/ 5 w 774"/>
                  <a:gd name="T79" fmla="*/ 4 h 450"/>
                  <a:gd name="T80" fmla="*/ 4 w 774"/>
                  <a:gd name="T81" fmla="*/ 4 h 450"/>
                  <a:gd name="T82" fmla="*/ 4 w 774"/>
                  <a:gd name="T83" fmla="*/ 4 h 450"/>
                  <a:gd name="T84" fmla="*/ 4 w 774"/>
                  <a:gd name="T85" fmla="*/ 5 h 450"/>
                  <a:gd name="T86" fmla="*/ 3 w 774"/>
                  <a:gd name="T87" fmla="*/ 4 h 450"/>
                  <a:gd name="T88" fmla="*/ 3 w 774"/>
                  <a:gd name="T89" fmla="*/ 4 h 450"/>
                  <a:gd name="T90" fmla="*/ 3 w 774"/>
                  <a:gd name="T91" fmla="*/ 4 h 450"/>
                  <a:gd name="T92" fmla="*/ 2 w 774"/>
                  <a:gd name="T93" fmla="*/ 4 h 450"/>
                  <a:gd name="T94" fmla="*/ 1 w 774"/>
                  <a:gd name="T95" fmla="*/ 3 h 450"/>
                  <a:gd name="T96" fmla="*/ 1 w 774"/>
                  <a:gd name="T97" fmla="*/ 3 h 450"/>
                  <a:gd name="T98" fmla="*/ 0 w 774"/>
                  <a:gd name="T99" fmla="*/ 3 h 450"/>
                  <a:gd name="T100" fmla="*/ 0 w 774"/>
                  <a:gd name="T101" fmla="*/ 3 h 450"/>
                  <a:gd name="T102" fmla="*/ 0 w 774"/>
                  <a:gd name="T103" fmla="*/ 3 h 450"/>
                  <a:gd name="T104" fmla="*/ 0 w 774"/>
                  <a:gd name="T105" fmla="*/ 3 h 450"/>
                  <a:gd name="T106" fmla="*/ 0 w 774"/>
                  <a:gd name="T107" fmla="*/ 2 h 450"/>
                  <a:gd name="T108" fmla="*/ 0 w 774"/>
                  <a:gd name="T109" fmla="*/ 2 h 450"/>
                  <a:gd name="T110" fmla="*/ 0 w 774"/>
                  <a:gd name="T111" fmla="*/ 2 h 450"/>
                  <a:gd name="T112" fmla="*/ 0 w 774"/>
                  <a:gd name="T113" fmla="*/ 2 h 450"/>
                  <a:gd name="T114" fmla="*/ 0 w 774"/>
                  <a:gd name="T115" fmla="*/ 0 h 450"/>
                  <a:gd name="T116" fmla="*/ 0 w 774"/>
                  <a:gd name="T117" fmla="*/ 0 h 450"/>
                  <a:gd name="T118" fmla="*/ 0 w 774"/>
                  <a:gd name="T119" fmla="*/ 0 h 450"/>
                  <a:gd name="T120" fmla="*/ 0 w 774"/>
                  <a:gd name="T121" fmla="*/ 0 h 4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74"/>
                  <a:gd name="T184" fmla="*/ 0 h 450"/>
                  <a:gd name="T185" fmla="*/ 774 w 774"/>
                  <a:gd name="T186" fmla="*/ 450 h 45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74" h="450">
                    <a:moveTo>
                      <a:pt x="25" y="10"/>
                    </a:moveTo>
                    <a:lnTo>
                      <a:pt x="397" y="10"/>
                    </a:lnTo>
                    <a:lnTo>
                      <a:pt x="402" y="0"/>
                    </a:lnTo>
                    <a:lnTo>
                      <a:pt x="412" y="18"/>
                    </a:lnTo>
                    <a:lnTo>
                      <a:pt x="424" y="18"/>
                    </a:lnTo>
                    <a:lnTo>
                      <a:pt x="445" y="39"/>
                    </a:lnTo>
                    <a:lnTo>
                      <a:pt x="465" y="39"/>
                    </a:lnTo>
                    <a:lnTo>
                      <a:pt x="440" y="62"/>
                    </a:lnTo>
                    <a:lnTo>
                      <a:pt x="454" y="54"/>
                    </a:lnTo>
                    <a:lnTo>
                      <a:pt x="459" y="62"/>
                    </a:lnTo>
                    <a:lnTo>
                      <a:pt x="487" y="54"/>
                    </a:lnTo>
                    <a:lnTo>
                      <a:pt x="487" y="62"/>
                    </a:lnTo>
                    <a:lnTo>
                      <a:pt x="496" y="54"/>
                    </a:lnTo>
                    <a:lnTo>
                      <a:pt x="504" y="62"/>
                    </a:lnTo>
                    <a:lnTo>
                      <a:pt x="539" y="62"/>
                    </a:lnTo>
                    <a:lnTo>
                      <a:pt x="546" y="71"/>
                    </a:lnTo>
                    <a:lnTo>
                      <a:pt x="546" y="84"/>
                    </a:lnTo>
                    <a:lnTo>
                      <a:pt x="504" y="84"/>
                    </a:lnTo>
                    <a:lnTo>
                      <a:pt x="496" y="113"/>
                    </a:lnTo>
                    <a:lnTo>
                      <a:pt x="504" y="101"/>
                    </a:lnTo>
                    <a:lnTo>
                      <a:pt x="496" y="138"/>
                    </a:lnTo>
                    <a:lnTo>
                      <a:pt x="496" y="166"/>
                    </a:lnTo>
                    <a:lnTo>
                      <a:pt x="504" y="166"/>
                    </a:lnTo>
                    <a:lnTo>
                      <a:pt x="509" y="160"/>
                    </a:lnTo>
                    <a:lnTo>
                      <a:pt x="509" y="121"/>
                    </a:lnTo>
                    <a:lnTo>
                      <a:pt x="531" y="92"/>
                    </a:lnTo>
                    <a:lnTo>
                      <a:pt x="531" y="84"/>
                    </a:lnTo>
                    <a:lnTo>
                      <a:pt x="551" y="92"/>
                    </a:lnTo>
                    <a:lnTo>
                      <a:pt x="551" y="113"/>
                    </a:lnTo>
                    <a:lnTo>
                      <a:pt x="546" y="129"/>
                    </a:lnTo>
                    <a:lnTo>
                      <a:pt x="561" y="121"/>
                    </a:lnTo>
                    <a:lnTo>
                      <a:pt x="561" y="138"/>
                    </a:lnTo>
                    <a:lnTo>
                      <a:pt x="573" y="138"/>
                    </a:lnTo>
                    <a:lnTo>
                      <a:pt x="551" y="166"/>
                    </a:lnTo>
                    <a:lnTo>
                      <a:pt x="581" y="166"/>
                    </a:lnTo>
                    <a:lnTo>
                      <a:pt x="616" y="138"/>
                    </a:lnTo>
                    <a:lnTo>
                      <a:pt x="616" y="129"/>
                    </a:lnTo>
                    <a:lnTo>
                      <a:pt x="645" y="129"/>
                    </a:lnTo>
                    <a:lnTo>
                      <a:pt x="645" y="113"/>
                    </a:lnTo>
                    <a:lnTo>
                      <a:pt x="666" y="101"/>
                    </a:lnTo>
                    <a:lnTo>
                      <a:pt x="708" y="101"/>
                    </a:lnTo>
                    <a:lnTo>
                      <a:pt x="723" y="92"/>
                    </a:lnTo>
                    <a:lnTo>
                      <a:pt x="745" y="47"/>
                    </a:lnTo>
                    <a:lnTo>
                      <a:pt x="752" y="54"/>
                    </a:lnTo>
                    <a:lnTo>
                      <a:pt x="759" y="47"/>
                    </a:lnTo>
                    <a:lnTo>
                      <a:pt x="765" y="84"/>
                    </a:lnTo>
                    <a:lnTo>
                      <a:pt x="774" y="92"/>
                    </a:lnTo>
                    <a:lnTo>
                      <a:pt x="774" y="101"/>
                    </a:lnTo>
                    <a:lnTo>
                      <a:pt x="765" y="113"/>
                    </a:lnTo>
                    <a:lnTo>
                      <a:pt x="752" y="113"/>
                    </a:lnTo>
                    <a:lnTo>
                      <a:pt x="715" y="145"/>
                    </a:lnTo>
                    <a:lnTo>
                      <a:pt x="723" y="166"/>
                    </a:lnTo>
                    <a:lnTo>
                      <a:pt x="730" y="160"/>
                    </a:lnTo>
                    <a:lnTo>
                      <a:pt x="730" y="175"/>
                    </a:lnTo>
                    <a:lnTo>
                      <a:pt x="708" y="166"/>
                    </a:lnTo>
                    <a:lnTo>
                      <a:pt x="678" y="183"/>
                    </a:lnTo>
                    <a:lnTo>
                      <a:pt x="671" y="220"/>
                    </a:lnTo>
                    <a:lnTo>
                      <a:pt x="666" y="213"/>
                    </a:lnTo>
                    <a:lnTo>
                      <a:pt x="666" y="220"/>
                    </a:lnTo>
                    <a:lnTo>
                      <a:pt x="658" y="250"/>
                    </a:lnTo>
                    <a:lnTo>
                      <a:pt x="658" y="234"/>
                    </a:lnTo>
                    <a:lnTo>
                      <a:pt x="645" y="220"/>
                    </a:lnTo>
                    <a:lnTo>
                      <a:pt x="645" y="203"/>
                    </a:lnTo>
                    <a:lnTo>
                      <a:pt x="638" y="220"/>
                    </a:lnTo>
                    <a:lnTo>
                      <a:pt x="658" y="277"/>
                    </a:lnTo>
                    <a:lnTo>
                      <a:pt x="645" y="294"/>
                    </a:lnTo>
                    <a:lnTo>
                      <a:pt x="588" y="339"/>
                    </a:lnTo>
                    <a:lnTo>
                      <a:pt x="581" y="361"/>
                    </a:lnTo>
                    <a:lnTo>
                      <a:pt x="596" y="422"/>
                    </a:lnTo>
                    <a:lnTo>
                      <a:pt x="596" y="450"/>
                    </a:lnTo>
                    <a:lnTo>
                      <a:pt x="588" y="450"/>
                    </a:lnTo>
                    <a:lnTo>
                      <a:pt x="561" y="422"/>
                    </a:lnTo>
                    <a:lnTo>
                      <a:pt x="561" y="385"/>
                    </a:lnTo>
                    <a:lnTo>
                      <a:pt x="546" y="368"/>
                    </a:lnTo>
                    <a:lnTo>
                      <a:pt x="531" y="376"/>
                    </a:lnTo>
                    <a:lnTo>
                      <a:pt x="531" y="368"/>
                    </a:lnTo>
                    <a:lnTo>
                      <a:pt x="480" y="368"/>
                    </a:lnTo>
                    <a:lnTo>
                      <a:pt x="465" y="376"/>
                    </a:lnTo>
                    <a:lnTo>
                      <a:pt x="480" y="385"/>
                    </a:lnTo>
                    <a:lnTo>
                      <a:pt x="454" y="385"/>
                    </a:lnTo>
                    <a:lnTo>
                      <a:pt x="445" y="376"/>
                    </a:lnTo>
                    <a:lnTo>
                      <a:pt x="418" y="376"/>
                    </a:lnTo>
                    <a:lnTo>
                      <a:pt x="402" y="385"/>
                    </a:lnTo>
                    <a:lnTo>
                      <a:pt x="370" y="415"/>
                    </a:lnTo>
                    <a:lnTo>
                      <a:pt x="370" y="442"/>
                    </a:lnTo>
                    <a:lnTo>
                      <a:pt x="340" y="437"/>
                    </a:lnTo>
                    <a:lnTo>
                      <a:pt x="311" y="376"/>
                    </a:lnTo>
                    <a:lnTo>
                      <a:pt x="296" y="376"/>
                    </a:lnTo>
                    <a:lnTo>
                      <a:pt x="291" y="385"/>
                    </a:lnTo>
                    <a:lnTo>
                      <a:pt x="283" y="385"/>
                    </a:lnTo>
                    <a:lnTo>
                      <a:pt x="269" y="376"/>
                    </a:lnTo>
                    <a:lnTo>
                      <a:pt x="269" y="361"/>
                    </a:lnTo>
                    <a:lnTo>
                      <a:pt x="248" y="339"/>
                    </a:lnTo>
                    <a:lnTo>
                      <a:pt x="177" y="353"/>
                    </a:lnTo>
                    <a:lnTo>
                      <a:pt x="127" y="331"/>
                    </a:lnTo>
                    <a:lnTo>
                      <a:pt x="105" y="331"/>
                    </a:lnTo>
                    <a:lnTo>
                      <a:pt x="90" y="316"/>
                    </a:lnTo>
                    <a:lnTo>
                      <a:pt x="83" y="316"/>
                    </a:lnTo>
                    <a:lnTo>
                      <a:pt x="83" y="301"/>
                    </a:lnTo>
                    <a:lnTo>
                      <a:pt x="48" y="294"/>
                    </a:lnTo>
                    <a:lnTo>
                      <a:pt x="48" y="286"/>
                    </a:lnTo>
                    <a:lnTo>
                      <a:pt x="35" y="266"/>
                    </a:lnTo>
                    <a:lnTo>
                      <a:pt x="35" y="250"/>
                    </a:lnTo>
                    <a:lnTo>
                      <a:pt x="25" y="250"/>
                    </a:lnTo>
                    <a:lnTo>
                      <a:pt x="25" y="242"/>
                    </a:lnTo>
                    <a:lnTo>
                      <a:pt x="35" y="242"/>
                    </a:lnTo>
                    <a:lnTo>
                      <a:pt x="35" y="234"/>
                    </a:lnTo>
                    <a:lnTo>
                      <a:pt x="20" y="234"/>
                    </a:lnTo>
                    <a:lnTo>
                      <a:pt x="25" y="234"/>
                    </a:lnTo>
                    <a:lnTo>
                      <a:pt x="6" y="213"/>
                    </a:lnTo>
                    <a:lnTo>
                      <a:pt x="6" y="203"/>
                    </a:lnTo>
                    <a:lnTo>
                      <a:pt x="0" y="197"/>
                    </a:lnTo>
                    <a:lnTo>
                      <a:pt x="6" y="166"/>
                    </a:lnTo>
                    <a:lnTo>
                      <a:pt x="0" y="138"/>
                    </a:lnTo>
                    <a:lnTo>
                      <a:pt x="6" y="71"/>
                    </a:lnTo>
                    <a:lnTo>
                      <a:pt x="0" y="23"/>
                    </a:lnTo>
                    <a:lnTo>
                      <a:pt x="20" y="23"/>
                    </a:lnTo>
                    <a:lnTo>
                      <a:pt x="20" y="47"/>
                    </a:lnTo>
                    <a:lnTo>
                      <a:pt x="25" y="47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8" name="Freeform 377"/>
              <p:cNvSpPr>
                <a:spLocks/>
              </p:cNvSpPr>
              <p:nvPr/>
            </p:nvSpPr>
            <p:spPr bwMode="auto">
              <a:xfrm>
                <a:off x="0" y="1171575"/>
                <a:ext cx="109" cy="122"/>
              </a:xfrm>
              <a:custGeom>
                <a:avLst/>
                <a:gdLst>
                  <a:gd name="T0" fmla="*/ 5 w 494"/>
                  <a:gd name="T1" fmla="*/ 5 h 559"/>
                  <a:gd name="T2" fmla="*/ 5 w 494"/>
                  <a:gd name="T3" fmla="*/ 5 h 559"/>
                  <a:gd name="T4" fmla="*/ 5 w 494"/>
                  <a:gd name="T5" fmla="*/ 4 h 559"/>
                  <a:gd name="T6" fmla="*/ 4 w 494"/>
                  <a:gd name="T7" fmla="*/ 5 h 559"/>
                  <a:gd name="T8" fmla="*/ 4 w 494"/>
                  <a:gd name="T9" fmla="*/ 4 h 559"/>
                  <a:gd name="T10" fmla="*/ 4 w 494"/>
                  <a:gd name="T11" fmla="*/ 1 h 559"/>
                  <a:gd name="T12" fmla="*/ 3 w 494"/>
                  <a:gd name="T13" fmla="*/ 1 h 559"/>
                  <a:gd name="T14" fmla="*/ 3 w 494"/>
                  <a:gd name="T15" fmla="*/ 1 h 559"/>
                  <a:gd name="T16" fmla="*/ 2 w 494"/>
                  <a:gd name="T17" fmla="*/ 0 h 559"/>
                  <a:gd name="T18" fmla="*/ 2 w 494"/>
                  <a:gd name="T19" fmla="*/ 0 h 559"/>
                  <a:gd name="T20" fmla="*/ 2 w 494"/>
                  <a:gd name="T21" fmla="*/ 0 h 559"/>
                  <a:gd name="T22" fmla="*/ 1 w 494"/>
                  <a:gd name="T23" fmla="*/ 0 h 559"/>
                  <a:gd name="T24" fmla="*/ 1 w 494"/>
                  <a:gd name="T25" fmla="*/ 1 h 559"/>
                  <a:gd name="T26" fmla="*/ 0 w 494"/>
                  <a:gd name="T27" fmla="*/ 1 h 559"/>
                  <a:gd name="T28" fmla="*/ 0 w 494"/>
                  <a:gd name="T29" fmla="*/ 2 h 559"/>
                  <a:gd name="T30" fmla="*/ 1 w 494"/>
                  <a:gd name="T31" fmla="*/ 2 h 559"/>
                  <a:gd name="T32" fmla="*/ 0 w 494"/>
                  <a:gd name="T33" fmla="*/ 2 h 559"/>
                  <a:gd name="T34" fmla="*/ 0 w 494"/>
                  <a:gd name="T35" fmla="*/ 2 h 559"/>
                  <a:gd name="T36" fmla="*/ 0 w 494"/>
                  <a:gd name="T37" fmla="*/ 2 h 559"/>
                  <a:gd name="T38" fmla="*/ 0 w 494"/>
                  <a:gd name="T39" fmla="*/ 3 h 559"/>
                  <a:gd name="T40" fmla="*/ 1 w 494"/>
                  <a:gd name="T41" fmla="*/ 3 h 559"/>
                  <a:gd name="T42" fmla="*/ 1 w 494"/>
                  <a:gd name="T43" fmla="*/ 3 h 559"/>
                  <a:gd name="T44" fmla="*/ 1 w 494"/>
                  <a:gd name="T45" fmla="*/ 3 h 559"/>
                  <a:gd name="T46" fmla="*/ 0 w 494"/>
                  <a:gd name="T47" fmla="*/ 3 h 559"/>
                  <a:gd name="T48" fmla="*/ 0 w 494"/>
                  <a:gd name="T49" fmla="*/ 4 h 559"/>
                  <a:gd name="T50" fmla="*/ 1 w 494"/>
                  <a:gd name="T51" fmla="*/ 4 h 559"/>
                  <a:gd name="T52" fmla="*/ 1 w 494"/>
                  <a:gd name="T53" fmla="*/ 5 h 559"/>
                  <a:gd name="T54" fmla="*/ 1 w 494"/>
                  <a:gd name="T55" fmla="*/ 5 h 559"/>
                  <a:gd name="T56" fmla="*/ 1 w 494"/>
                  <a:gd name="T57" fmla="*/ 5 h 559"/>
                  <a:gd name="T58" fmla="*/ 1 w 494"/>
                  <a:gd name="T59" fmla="*/ 5 h 559"/>
                  <a:gd name="T60" fmla="*/ 0 w 494"/>
                  <a:gd name="T61" fmla="*/ 6 h 559"/>
                  <a:gd name="T62" fmla="*/ 1 w 494"/>
                  <a:gd name="T63" fmla="*/ 5 h 559"/>
                  <a:gd name="T64" fmla="*/ 2 w 494"/>
                  <a:gd name="T65" fmla="*/ 5 h 559"/>
                  <a:gd name="T66" fmla="*/ 2 w 494"/>
                  <a:gd name="T67" fmla="*/ 5 h 559"/>
                  <a:gd name="T68" fmla="*/ 2 w 494"/>
                  <a:gd name="T69" fmla="*/ 4 h 559"/>
                  <a:gd name="T70" fmla="*/ 2 w 494"/>
                  <a:gd name="T71" fmla="*/ 4 h 559"/>
                  <a:gd name="T72" fmla="*/ 2 w 494"/>
                  <a:gd name="T73" fmla="*/ 4 h 559"/>
                  <a:gd name="T74" fmla="*/ 2 w 494"/>
                  <a:gd name="T75" fmla="*/ 5 h 559"/>
                  <a:gd name="T76" fmla="*/ 3 w 494"/>
                  <a:gd name="T77" fmla="*/ 4 h 559"/>
                  <a:gd name="T78" fmla="*/ 3 w 494"/>
                  <a:gd name="T79" fmla="*/ 4 h 559"/>
                  <a:gd name="T80" fmla="*/ 3 w 494"/>
                  <a:gd name="T81" fmla="*/ 4 h 559"/>
                  <a:gd name="T82" fmla="*/ 4 w 494"/>
                  <a:gd name="T83" fmla="*/ 4 h 559"/>
                  <a:gd name="T84" fmla="*/ 4 w 494"/>
                  <a:gd name="T85" fmla="*/ 4 h 559"/>
                  <a:gd name="T86" fmla="*/ 5 w 494"/>
                  <a:gd name="T87" fmla="*/ 5 h 559"/>
                  <a:gd name="T88" fmla="*/ 5 w 494"/>
                  <a:gd name="T89" fmla="*/ 5 h 559"/>
                  <a:gd name="T90" fmla="*/ 5 w 494"/>
                  <a:gd name="T91" fmla="*/ 5 h 559"/>
                  <a:gd name="T92" fmla="*/ 5 w 494"/>
                  <a:gd name="T93" fmla="*/ 5 h 559"/>
                  <a:gd name="T94" fmla="*/ 5 w 494"/>
                  <a:gd name="T95" fmla="*/ 5 h 559"/>
                  <a:gd name="T96" fmla="*/ 5 w 494"/>
                  <a:gd name="T97" fmla="*/ 5 h 559"/>
                  <a:gd name="T98" fmla="*/ 5 w 494"/>
                  <a:gd name="T99" fmla="*/ 6 h 559"/>
                  <a:gd name="T100" fmla="*/ 5 w 494"/>
                  <a:gd name="T101" fmla="*/ 5 h 559"/>
                  <a:gd name="T102" fmla="*/ 5 w 494"/>
                  <a:gd name="T103" fmla="*/ 5 h 559"/>
                  <a:gd name="T104" fmla="*/ 5 w 494"/>
                  <a:gd name="T105" fmla="*/ 6 h 559"/>
                  <a:gd name="T106" fmla="*/ 5 w 494"/>
                  <a:gd name="T107" fmla="*/ 6 h 55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4"/>
                  <a:gd name="T163" fmla="*/ 0 h 559"/>
                  <a:gd name="T164" fmla="*/ 494 w 494"/>
                  <a:gd name="T165" fmla="*/ 559 h 55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4" h="559">
                    <a:moveTo>
                      <a:pt x="494" y="546"/>
                    </a:moveTo>
                    <a:lnTo>
                      <a:pt x="494" y="516"/>
                    </a:lnTo>
                    <a:lnTo>
                      <a:pt x="474" y="494"/>
                    </a:lnTo>
                    <a:lnTo>
                      <a:pt x="446" y="440"/>
                    </a:lnTo>
                    <a:lnTo>
                      <a:pt x="439" y="440"/>
                    </a:lnTo>
                    <a:lnTo>
                      <a:pt x="431" y="411"/>
                    </a:lnTo>
                    <a:lnTo>
                      <a:pt x="419" y="428"/>
                    </a:lnTo>
                    <a:lnTo>
                      <a:pt x="402" y="435"/>
                    </a:lnTo>
                    <a:lnTo>
                      <a:pt x="382" y="405"/>
                    </a:lnTo>
                    <a:lnTo>
                      <a:pt x="382" y="395"/>
                    </a:lnTo>
                    <a:lnTo>
                      <a:pt x="353" y="405"/>
                    </a:lnTo>
                    <a:lnTo>
                      <a:pt x="353" y="74"/>
                    </a:lnTo>
                    <a:lnTo>
                      <a:pt x="332" y="53"/>
                    </a:lnTo>
                    <a:lnTo>
                      <a:pt x="302" y="65"/>
                    </a:lnTo>
                    <a:lnTo>
                      <a:pt x="291" y="53"/>
                    </a:lnTo>
                    <a:lnTo>
                      <a:pt x="270" y="53"/>
                    </a:lnTo>
                    <a:lnTo>
                      <a:pt x="248" y="38"/>
                    </a:lnTo>
                    <a:lnTo>
                      <a:pt x="213" y="38"/>
                    </a:lnTo>
                    <a:lnTo>
                      <a:pt x="206" y="21"/>
                    </a:lnTo>
                    <a:lnTo>
                      <a:pt x="176" y="21"/>
                    </a:lnTo>
                    <a:lnTo>
                      <a:pt x="168" y="8"/>
                    </a:lnTo>
                    <a:lnTo>
                      <a:pt x="149" y="0"/>
                    </a:lnTo>
                    <a:lnTo>
                      <a:pt x="132" y="21"/>
                    </a:lnTo>
                    <a:lnTo>
                      <a:pt x="90" y="45"/>
                    </a:lnTo>
                    <a:lnTo>
                      <a:pt x="84" y="45"/>
                    </a:lnTo>
                    <a:lnTo>
                      <a:pt x="62" y="65"/>
                    </a:lnTo>
                    <a:lnTo>
                      <a:pt x="57" y="104"/>
                    </a:lnTo>
                    <a:lnTo>
                      <a:pt x="20" y="111"/>
                    </a:lnTo>
                    <a:lnTo>
                      <a:pt x="13" y="127"/>
                    </a:lnTo>
                    <a:lnTo>
                      <a:pt x="49" y="156"/>
                    </a:lnTo>
                    <a:lnTo>
                      <a:pt x="77" y="201"/>
                    </a:lnTo>
                    <a:lnTo>
                      <a:pt x="77" y="210"/>
                    </a:lnTo>
                    <a:lnTo>
                      <a:pt x="49" y="210"/>
                    </a:lnTo>
                    <a:lnTo>
                      <a:pt x="49" y="195"/>
                    </a:lnTo>
                    <a:lnTo>
                      <a:pt x="42" y="195"/>
                    </a:lnTo>
                    <a:lnTo>
                      <a:pt x="5" y="210"/>
                    </a:lnTo>
                    <a:lnTo>
                      <a:pt x="0" y="232"/>
                    </a:lnTo>
                    <a:lnTo>
                      <a:pt x="13" y="240"/>
                    </a:lnTo>
                    <a:lnTo>
                      <a:pt x="13" y="253"/>
                    </a:lnTo>
                    <a:lnTo>
                      <a:pt x="35" y="270"/>
                    </a:lnTo>
                    <a:lnTo>
                      <a:pt x="62" y="270"/>
                    </a:lnTo>
                    <a:lnTo>
                      <a:pt x="84" y="253"/>
                    </a:lnTo>
                    <a:lnTo>
                      <a:pt x="84" y="270"/>
                    </a:lnTo>
                    <a:lnTo>
                      <a:pt x="90" y="285"/>
                    </a:lnTo>
                    <a:lnTo>
                      <a:pt x="84" y="306"/>
                    </a:lnTo>
                    <a:lnTo>
                      <a:pt x="62" y="306"/>
                    </a:lnTo>
                    <a:lnTo>
                      <a:pt x="57" y="314"/>
                    </a:lnTo>
                    <a:lnTo>
                      <a:pt x="42" y="314"/>
                    </a:lnTo>
                    <a:lnTo>
                      <a:pt x="20" y="359"/>
                    </a:lnTo>
                    <a:lnTo>
                      <a:pt x="49" y="411"/>
                    </a:lnTo>
                    <a:lnTo>
                      <a:pt x="57" y="411"/>
                    </a:lnTo>
                    <a:lnTo>
                      <a:pt x="77" y="405"/>
                    </a:lnTo>
                    <a:lnTo>
                      <a:pt x="77" y="435"/>
                    </a:lnTo>
                    <a:lnTo>
                      <a:pt x="84" y="440"/>
                    </a:lnTo>
                    <a:lnTo>
                      <a:pt x="106" y="440"/>
                    </a:lnTo>
                    <a:lnTo>
                      <a:pt x="119" y="448"/>
                    </a:lnTo>
                    <a:lnTo>
                      <a:pt x="119" y="440"/>
                    </a:lnTo>
                    <a:lnTo>
                      <a:pt x="132" y="440"/>
                    </a:lnTo>
                    <a:lnTo>
                      <a:pt x="132" y="479"/>
                    </a:lnTo>
                    <a:lnTo>
                      <a:pt x="90" y="516"/>
                    </a:lnTo>
                    <a:lnTo>
                      <a:pt x="62" y="526"/>
                    </a:lnTo>
                    <a:lnTo>
                      <a:pt x="35" y="554"/>
                    </a:lnTo>
                    <a:lnTo>
                      <a:pt x="42" y="559"/>
                    </a:lnTo>
                    <a:lnTo>
                      <a:pt x="119" y="516"/>
                    </a:lnTo>
                    <a:lnTo>
                      <a:pt x="142" y="485"/>
                    </a:lnTo>
                    <a:lnTo>
                      <a:pt x="184" y="448"/>
                    </a:lnTo>
                    <a:lnTo>
                      <a:pt x="189" y="440"/>
                    </a:lnTo>
                    <a:lnTo>
                      <a:pt x="176" y="435"/>
                    </a:lnTo>
                    <a:lnTo>
                      <a:pt x="206" y="405"/>
                    </a:lnTo>
                    <a:lnTo>
                      <a:pt x="206" y="388"/>
                    </a:lnTo>
                    <a:lnTo>
                      <a:pt x="226" y="368"/>
                    </a:lnTo>
                    <a:lnTo>
                      <a:pt x="233" y="368"/>
                    </a:lnTo>
                    <a:lnTo>
                      <a:pt x="218" y="388"/>
                    </a:lnTo>
                    <a:lnTo>
                      <a:pt x="213" y="411"/>
                    </a:lnTo>
                    <a:lnTo>
                      <a:pt x="218" y="428"/>
                    </a:lnTo>
                    <a:lnTo>
                      <a:pt x="213" y="435"/>
                    </a:lnTo>
                    <a:lnTo>
                      <a:pt x="218" y="435"/>
                    </a:lnTo>
                    <a:lnTo>
                      <a:pt x="248" y="411"/>
                    </a:lnTo>
                    <a:lnTo>
                      <a:pt x="255" y="411"/>
                    </a:lnTo>
                    <a:lnTo>
                      <a:pt x="261" y="395"/>
                    </a:lnTo>
                    <a:lnTo>
                      <a:pt x="255" y="374"/>
                    </a:lnTo>
                    <a:lnTo>
                      <a:pt x="310" y="405"/>
                    </a:lnTo>
                    <a:lnTo>
                      <a:pt x="338" y="405"/>
                    </a:lnTo>
                    <a:lnTo>
                      <a:pt x="360" y="411"/>
                    </a:lnTo>
                    <a:lnTo>
                      <a:pt x="374" y="411"/>
                    </a:lnTo>
                    <a:lnTo>
                      <a:pt x="374" y="428"/>
                    </a:lnTo>
                    <a:lnTo>
                      <a:pt x="419" y="462"/>
                    </a:lnTo>
                    <a:lnTo>
                      <a:pt x="439" y="516"/>
                    </a:lnTo>
                    <a:lnTo>
                      <a:pt x="431" y="472"/>
                    </a:lnTo>
                    <a:lnTo>
                      <a:pt x="426" y="462"/>
                    </a:lnTo>
                    <a:lnTo>
                      <a:pt x="431" y="462"/>
                    </a:lnTo>
                    <a:lnTo>
                      <a:pt x="431" y="440"/>
                    </a:lnTo>
                    <a:lnTo>
                      <a:pt x="439" y="485"/>
                    </a:lnTo>
                    <a:lnTo>
                      <a:pt x="446" y="479"/>
                    </a:lnTo>
                    <a:lnTo>
                      <a:pt x="467" y="494"/>
                    </a:lnTo>
                    <a:lnTo>
                      <a:pt x="446" y="485"/>
                    </a:lnTo>
                    <a:lnTo>
                      <a:pt x="446" y="516"/>
                    </a:lnTo>
                    <a:lnTo>
                      <a:pt x="461" y="509"/>
                    </a:lnTo>
                    <a:lnTo>
                      <a:pt x="461" y="526"/>
                    </a:lnTo>
                    <a:lnTo>
                      <a:pt x="474" y="554"/>
                    </a:lnTo>
                    <a:lnTo>
                      <a:pt x="474" y="531"/>
                    </a:lnTo>
                    <a:lnTo>
                      <a:pt x="467" y="516"/>
                    </a:lnTo>
                    <a:lnTo>
                      <a:pt x="474" y="516"/>
                    </a:lnTo>
                    <a:lnTo>
                      <a:pt x="474" y="526"/>
                    </a:lnTo>
                    <a:lnTo>
                      <a:pt x="488" y="554"/>
                    </a:lnTo>
                    <a:lnTo>
                      <a:pt x="494" y="546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22" name="S_MEX"/>
            <p:cNvSpPr>
              <a:spLocks/>
            </p:cNvSpPr>
            <p:nvPr/>
          </p:nvSpPr>
          <p:spPr bwMode="auto">
            <a:xfrm>
              <a:off x="1417433" y="3257550"/>
              <a:ext cx="836818" cy="600075"/>
            </a:xfrm>
            <a:custGeom>
              <a:avLst/>
              <a:gdLst>
                <a:gd name="T0" fmla="*/ 1144324294 w 398"/>
                <a:gd name="T1" fmla="*/ 576701465 h 286"/>
                <a:gd name="T2" fmla="*/ 1170936083 w 398"/>
                <a:gd name="T3" fmla="*/ 779205710 h 286"/>
                <a:gd name="T4" fmla="*/ 1237465555 w 398"/>
                <a:gd name="T5" fmla="*/ 1008125832 h 286"/>
                <a:gd name="T6" fmla="*/ 1552378041 w 398"/>
                <a:gd name="T7" fmla="*/ 1008125832 h 286"/>
                <a:gd name="T8" fmla="*/ 1552378041 w 398"/>
                <a:gd name="T9" fmla="*/ 942090334 h 286"/>
                <a:gd name="T10" fmla="*/ 1738662669 w 398"/>
                <a:gd name="T11" fmla="*/ 779205710 h 286"/>
                <a:gd name="T12" fmla="*/ 1738662669 w 398"/>
                <a:gd name="T13" fmla="*/ 1030135566 h 286"/>
                <a:gd name="T14" fmla="*/ 1667695792 w 398"/>
                <a:gd name="T15" fmla="*/ 1030135566 h 286"/>
                <a:gd name="T16" fmla="*/ 1512458252 w 398"/>
                <a:gd name="T17" fmla="*/ 1074159232 h 286"/>
                <a:gd name="T18" fmla="*/ 1512458252 w 398"/>
                <a:gd name="T19" fmla="*/ 1140194992 h 286"/>
                <a:gd name="T20" fmla="*/ 1366091307 w 398"/>
                <a:gd name="T21" fmla="*/ 1140194992 h 286"/>
                <a:gd name="T22" fmla="*/ 1237465555 w 398"/>
                <a:gd name="T23" fmla="*/ 1197424498 h 286"/>
                <a:gd name="T24" fmla="*/ 949166701 w 398"/>
                <a:gd name="T25" fmla="*/ 1074159232 h 286"/>
                <a:gd name="T26" fmla="*/ 793929160 w 398"/>
                <a:gd name="T27" fmla="*/ 1030135566 h 286"/>
                <a:gd name="T28" fmla="*/ 660870216 w 398"/>
                <a:gd name="T29" fmla="*/ 871652889 h 286"/>
                <a:gd name="T30" fmla="*/ 660870216 w 398"/>
                <a:gd name="T31" fmla="*/ 739586090 h 286"/>
                <a:gd name="T32" fmla="*/ 443536263 w 398"/>
                <a:gd name="T33" fmla="*/ 501861943 h 286"/>
                <a:gd name="T34" fmla="*/ 377006791 w 398"/>
                <a:gd name="T35" fmla="*/ 378596939 h 286"/>
                <a:gd name="T36" fmla="*/ 319345810 w 398"/>
                <a:gd name="T37" fmla="*/ 334573273 h 286"/>
                <a:gd name="T38" fmla="*/ 199590588 w 398"/>
                <a:gd name="T39" fmla="*/ 105655151 h 286"/>
                <a:gd name="T40" fmla="*/ 124190487 w 398"/>
                <a:gd name="T41" fmla="*/ 171688584 h 286"/>
                <a:gd name="T42" fmla="*/ 412489176 w 398"/>
                <a:gd name="T43" fmla="*/ 607517192 h 286"/>
                <a:gd name="T44" fmla="*/ 412489176 w 398"/>
                <a:gd name="T45" fmla="*/ 708768265 h 286"/>
                <a:gd name="T46" fmla="*/ 288298723 w 398"/>
                <a:gd name="T47" fmla="*/ 532677669 h 286"/>
                <a:gd name="T48" fmla="*/ 124190487 w 398"/>
                <a:gd name="T49" fmla="*/ 409412665 h 286"/>
                <a:gd name="T50" fmla="*/ 124190487 w 398"/>
                <a:gd name="T51" fmla="*/ 378596939 h 286"/>
                <a:gd name="T52" fmla="*/ 70964803 w 398"/>
                <a:gd name="T53" fmla="*/ 198102363 h 286"/>
                <a:gd name="T54" fmla="*/ 102013996 w 398"/>
                <a:gd name="T55" fmla="*/ 0 h 286"/>
                <a:gd name="T56" fmla="*/ 629821023 w 398"/>
                <a:gd name="T57" fmla="*/ 44023682 h 286"/>
                <a:gd name="T58" fmla="*/ 731834986 w 398"/>
                <a:gd name="T59" fmla="*/ 198102363 h 286"/>
                <a:gd name="T60" fmla="*/ 829413651 w 398"/>
                <a:gd name="T61" fmla="*/ 246527975 h 286"/>
                <a:gd name="T62" fmla="*/ 918119614 w 398"/>
                <a:gd name="T63" fmla="*/ 198102363 h 286"/>
                <a:gd name="T64" fmla="*/ 1170936083 w 398"/>
                <a:gd name="T65" fmla="*/ 501861943 h 2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8"/>
                <a:gd name="T100" fmla="*/ 0 h 286"/>
                <a:gd name="T101" fmla="*/ 398 w 398"/>
                <a:gd name="T102" fmla="*/ 286 h 2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8" h="286">
                  <a:moveTo>
                    <a:pt x="264" y="114"/>
                  </a:moveTo>
                  <a:lnTo>
                    <a:pt x="258" y="131"/>
                  </a:lnTo>
                  <a:lnTo>
                    <a:pt x="258" y="168"/>
                  </a:lnTo>
                  <a:lnTo>
                    <a:pt x="264" y="177"/>
                  </a:lnTo>
                  <a:lnTo>
                    <a:pt x="264" y="183"/>
                  </a:lnTo>
                  <a:lnTo>
                    <a:pt x="279" y="229"/>
                  </a:lnTo>
                  <a:lnTo>
                    <a:pt x="308" y="234"/>
                  </a:lnTo>
                  <a:lnTo>
                    <a:pt x="350" y="229"/>
                  </a:lnTo>
                  <a:lnTo>
                    <a:pt x="341" y="229"/>
                  </a:lnTo>
                  <a:lnTo>
                    <a:pt x="350" y="214"/>
                  </a:lnTo>
                  <a:lnTo>
                    <a:pt x="355" y="183"/>
                  </a:lnTo>
                  <a:lnTo>
                    <a:pt x="392" y="177"/>
                  </a:lnTo>
                  <a:lnTo>
                    <a:pt x="398" y="183"/>
                  </a:lnTo>
                  <a:lnTo>
                    <a:pt x="392" y="234"/>
                  </a:lnTo>
                  <a:lnTo>
                    <a:pt x="383" y="229"/>
                  </a:lnTo>
                  <a:lnTo>
                    <a:pt x="376" y="234"/>
                  </a:lnTo>
                  <a:lnTo>
                    <a:pt x="350" y="234"/>
                  </a:lnTo>
                  <a:lnTo>
                    <a:pt x="341" y="244"/>
                  </a:lnTo>
                  <a:lnTo>
                    <a:pt x="355" y="259"/>
                  </a:lnTo>
                  <a:lnTo>
                    <a:pt x="341" y="259"/>
                  </a:lnTo>
                  <a:lnTo>
                    <a:pt x="335" y="286"/>
                  </a:lnTo>
                  <a:lnTo>
                    <a:pt x="308" y="259"/>
                  </a:lnTo>
                  <a:lnTo>
                    <a:pt x="293" y="259"/>
                  </a:lnTo>
                  <a:lnTo>
                    <a:pt x="279" y="272"/>
                  </a:lnTo>
                  <a:lnTo>
                    <a:pt x="258" y="259"/>
                  </a:lnTo>
                  <a:lnTo>
                    <a:pt x="214" y="244"/>
                  </a:lnTo>
                  <a:lnTo>
                    <a:pt x="207" y="234"/>
                  </a:lnTo>
                  <a:lnTo>
                    <a:pt x="179" y="234"/>
                  </a:lnTo>
                  <a:lnTo>
                    <a:pt x="165" y="214"/>
                  </a:lnTo>
                  <a:lnTo>
                    <a:pt x="149" y="198"/>
                  </a:lnTo>
                  <a:lnTo>
                    <a:pt x="165" y="183"/>
                  </a:lnTo>
                  <a:lnTo>
                    <a:pt x="149" y="168"/>
                  </a:lnTo>
                  <a:lnTo>
                    <a:pt x="122" y="121"/>
                  </a:lnTo>
                  <a:lnTo>
                    <a:pt x="100" y="114"/>
                  </a:lnTo>
                  <a:lnTo>
                    <a:pt x="100" y="108"/>
                  </a:lnTo>
                  <a:lnTo>
                    <a:pt x="85" y="86"/>
                  </a:lnTo>
                  <a:lnTo>
                    <a:pt x="85" y="76"/>
                  </a:lnTo>
                  <a:lnTo>
                    <a:pt x="72" y="76"/>
                  </a:lnTo>
                  <a:lnTo>
                    <a:pt x="50" y="24"/>
                  </a:lnTo>
                  <a:lnTo>
                    <a:pt x="45" y="24"/>
                  </a:lnTo>
                  <a:lnTo>
                    <a:pt x="23" y="10"/>
                  </a:lnTo>
                  <a:lnTo>
                    <a:pt x="28" y="39"/>
                  </a:lnTo>
                  <a:lnTo>
                    <a:pt x="85" y="138"/>
                  </a:lnTo>
                  <a:lnTo>
                    <a:pt x="93" y="138"/>
                  </a:lnTo>
                  <a:lnTo>
                    <a:pt x="100" y="155"/>
                  </a:lnTo>
                  <a:lnTo>
                    <a:pt x="93" y="161"/>
                  </a:lnTo>
                  <a:lnTo>
                    <a:pt x="56" y="131"/>
                  </a:lnTo>
                  <a:lnTo>
                    <a:pt x="65" y="121"/>
                  </a:lnTo>
                  <a:lnTo>
                    <a:pt x="56" y="108"/>
                  </a:lnTo>
                  <a:lnTo>
                    <a:pt x="28" y="93"/>
                  </a:lnTo>
                  <a:lnTo>
                    <a:pt x="23" y="76"/>
                  </a:lnTo>
                  <a:lnTo>
                    <a:pt x="28" y="86"/>
                  </a:lnTo>
                  <a:lnTo>
                    <a:pt x="45" y="61"/>
                  </a:lnTo>
                  <a:lnTo>
                    <a:pt x="16" y="45"/>
                  </a:lnTo>
                  <a:lnTo>
                    <a:pt x="0" y="0"/>
                  </a:lnTo>
                  <a:lnTo>
                    <a:pt x="23" y="0"/>
                  </a:lnTo>
                  <a:lnTo>
                    <a:pt x="72" y="24"/>
                  </a:lnTo>
                  <a:lnTo>
                    <a:pt x="142" y="10"/>
                  </a:lnTo>
                  <a:lnTo>
                    <a:pt x="165" y="32"/>
                  </a:lnTo>
                  <a:lnTo>
                    <a:pt x="165" y="45"/>
                  </a:lnTo>
                  <a:lnTo>
                    <a:pt x="179" y="56"/>
                  </a:lnTo>
                  <a:lnTo>
                    <a:pt x="187" y="56"/>
                  </a:lnTo>
                  <a:lnTo>
                    <a:pt x="192" y="45"/>
                  </a:lnTo>
                  <a:lnTo>
                    <a:pt x="207" y="45"/>
                  </a:lnTo>
                  <a:lnTo>
                    <a:pt x="234" y="108"/>
                  </a:lnTo>
                  <a:lnTo>
                    <a:pt x="264" y="11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123" name="S_CAN"/>
            <p:cNvGrpSpPr>
              <a:grpSpLocks/>
            </p:cNvGrpSpPr>
            <p:nvPr/>
          </p:nvGrpSpPr>
          <p:grpSpPr bwMode="auto">
            <a:xfrm>
              <a:off x="746015" y="0"/>
              <a:ext cx="3458545" cy="2924175"/>
              <a:chOff x="741927" y="0"/>
              <a:chExt cx="363" cy="307"/>
            </a:xfrm>
            <a:solidFill>
              <a:schemeClr val="bg1">
                <a:lumMod val="75000"/>
              </a:schemeClr>
            </a:solidFill>
          </p:grpSpPr>
          <p:sp>
            <p:nvSpPr>
              <p:cNvPr id="353" name="Freeform 352"/>
              <p:cNvSpPr>
                <a:spLocks/>
              </p:cNvSpPr>
              <p:nvPr/>
            </p:nvSpPr>
            <p:spPr bwMode="auto">
              <a:xfrm>
                <a:off x="742134" y="0"/>
                <a:ext cx="156" cy="189"/>
              </a:xfrm>
              <a:custGeom>
                <a:avLst/>
                <a:gdLst>
                  <a:gd name="T0" fmla="*/ 4 w 707"/>
                  <a:gd name="T1" fmla="*/ 9 h 861"/>
                  <a:gd name="T2" fmla="*/ 4 w 707"/>
                  <a:gd name="T3" fmla="*/ 9 h 861"/>
                  <a:gd name="T4" fmla="*/ 3 w 707"/>
                  <a:gd name="T5" fmla="*/ 9 h 861"/>
                  <a:gd name="T6" fmla="*/ 3 w 707"/>
                  <a:gd name="T7" fmla="*/ 9 h 861"/>
                  <a:gd name="T8" fmla="*/ 3 w 707"/>
                  <a:gd name="T9" fmla="*/ 9 h 861"/>
                  <a:gd name="T10" fmla="*/ 3 w 707"/>
                  <a:gd name="T11" fmla="*/ 8 h 861"/>
                  <a:gd name="T12" fmla="*/ 3 w 707"/>
                  <a:gd name="T13" fmla="*/ 8 h 861"/>
                  <a:gd name="T14" fmla="*/ 2 w 707"/>
                  <a:gd name="T15" fmla="*/ 8 h 861"/>
                  <a:gd name="T16" fmla="*/ 2 w 707"/>
                  <a:gd name="T17" fmla="*/ 8 h 861"/>
                  <a:gd name="T18" fmla="*/ 3 w 707"/>
                  <a:gd name="T19" fmla="*/ 7 h 861"/>
                  <a:gd name="T20" fmla="*/ 2 w 707"/>
                  <a:gd name="T21" fmla="*/ 7 h 861"/>
                  <a:gd name="T22" fmla="*/ 3 w 707"/>
                  <a:gd name="T23" fmla="*/ 6 h 861"/>
                  <a:gd name="T24" fmla="*/ 3 w 707"/>
                  <a:gd name="T25" fmla="*/ 6 h 861"/>
                  <a:gd name="T26" fmla="*/ 3 w 707"/>
                  <a:gd name="T27" fmla="*/ 6 h 861"/>
                  <a:gd name="T28" fmla="*/ 2 w 707"/>
                  <a:gd name="T29" fmla="*/ 5 h 861"/>
                  <a:gd name="T30" fmla="*/ 2 w 707"/>
                  <a:gd name="T31" fmla="*/ 5 h 861"/>
                  <a:gd name="T32" fmla="*/ 1 w 707"/>
                  <a:gd name="T33" fmla="*/ 5 h 861"/>
                  <a:gd name="T34" fmla="*/ 0 w 707"/>
                  <a:gd name="T35" fmla="*/ 4 h 861"/>
                  <a:gd name="T36" fmla="*/ 0 w 707"/>
                  <a:gd name="T37" fmla="*/ 4 h 861"/>
                  <a:gd name="T38" fmla="*/ 0 w 707"/>
                  <a:gd name="T39" fmla="*/ 4 h 861"/>
                  <a:gd name="T40" fmla="*/ 1 w 707"/>
                  <a:gd name="T41" fmla="*/ 2 h 861"/>
                  <a:gd name="T42" fmla="*/ 1 w 707"/>
                  <a:gd name="T43" fmla="*/ 2 h 861"/>
                  <a:gd name="T44" fmla="*/ 2 w 707"/>
                  <a:gd name="T45" fmla="*/ 1 h 861"/>
                  <a:gd name="T46" fmla="*/ 2 w 707"/>
                  <a:gd name="T47" fmla="*/ 2 h 861"/>
                  <a:gd name="T48" fmla="*/ 3 w 707"/>
                  <a:gd name="T49" fmla="*/ 1 h 861"/>
                  <a:gd name="T50" fmla="*/ 3 w 707"/>
                  <a:gd name="T51" fmla="*/ 1 h 861"/>
                  <a:gd name="T52" fmla="*/ 4 w 707"/>
                  <a:gd name="T53" fmla="*/ 1 h 861"/>
                  <a:gd name="T54" fmla="*/ 3 w 707"/>
                  <a:gd name="T55" fmla="*/ 0 h 861"/>
                  <a:gd name="T56" fmla="*/ 5 w 707"/>
                  <a:gd name="T57" fmla="*/ 0 h 861"/>
                  <a:gd name="T58" fmla="*/ 5 w 707"/>
                  <a:gd name="T59" fmla="*/ 0 h 861"/>
                  <a:gd name="T60" fmla="*/ 6 w 707"/>
                  <a:gd name="T61" fmla="*/ 1 h 861"/>
                  <a:gd name="T62" fmla="*/ 6 w 707"/>
                  <a:gd name="T63" fmla="*/ 1 h 861"/>
                  <a:gd name="T64" fmla="*/ 6 w 707"/>
                  <a:gd name="T65" fmla="*/ 1 h 861"/>
                  <a:gd name="T66" fmla="*/ 7 w 707"/>
                  <a:gd name="T67" fmla="*/ 2 h 861"/>
                  <a:gd name="T68" fmla="*/ 6 w 707"/>
                  <a:gd name="T69" fmla="*/ 2 h 861"/>
                  <a:gd name="T70" fmla="*/ 7 w 707"/>
                  <a:gd name="T71" fmla="*/ 3 h 861"/>
                  <a:gd name="T72" fmla="*/ 7 w 707"/>
                  <a:gd name="T73" fmla="*/ 3 h 861"/>
                  <a:gd name="T74" fmla="*/ 6 w 707"/>
                  <a:gd name="T75" fmla="*/ 4 h 861"/>
                  <a:gd name="T76" fmla="*/ 7 w 707"/>
                  <a:gd name="T77" fmla="*/ 4 h 861"/>
                  <a:gd name="T78" fmla="*/ 7 w 707"/>
                  <a:gd name="T79" fmla="*/ 5 h 861"/>
                  <a:gd name="T80" fmla="*/ 7 w 707"/>
                  <a:gd name="T81" fmla="*/ 5 h 861"/>
                  <a:gd name="T82" fmla="*/ 6 w 707"/>
                  <a:gd name="T83" fmla="*/ 5 h 861"/>
                  <a:gd name="T84" fmla="*/ 6 w 707"/>
                  <a:gd name="T85" fmla="*/ 6 h 861"/>
                  <a:gd name="T86" fmla="*/ 6 w 707"/>
                  <a:gd name="T87" fmla="*/ 6 h 861"/>
                  <a:gd name="T88" fmla="*/ 6 w 707"/>
                  <a:gd name="T89" fmla="*/ 7 h 861"/>
                  <a:gd name="T90" fmla="*/ 6 w 707"/>
                  <a:gd name="T91" fmla="*/ 6 h 861"/>
                  <a:gd name="T92" fmla="*/ 6 w 707"/>
                  <a:gd name="T93" fmla="*/ 7 h 861"/>
                  <a:gd name="T94" fmla="*/ 5 w 707"/>
                  <a:gd name="T95" fmla="*/ 7 h 861"/>
                  <a:gd name="T96" fmla="*/ 5 w 707"/>
                  <a:gd name="T97" fmla="*/ 7 h 861"/>
                  <a:gd name="T98" fmla="*/ 5 w 707"/>
                  <a:gd name="T99" fmla="*/ 7 h 861"/>
                  <a:gd name="T100" fmla="*/ 5 w 707"/>
                  <a:gd name="T101" fmla="*/ 8 h 861"/>
                  <a:gd name="T102" fmla="*/ 4 w 707"/>
                  <a:gd name="T103" fmla="*/ 8 h 861"/>
                  <a:gd name="T104" fmla="*/ 4 w 707"/>
                  <a:gd name="T105" fmla="*/ 8 h 861"/>
                  <a:gd name="T106" fmla="*/ 4 w 707"/>
                  <a:gd name="T107" fmla="*/ 8 h 861"/>
                  <a:gd name="T108" fmla="*/ 4 w 707"/>
                  <a:gd name="T109" fmla="*/ 8 h 861"/>
                  <a:gd name="T110" fmla="*/ 4 w 707"/>
                  <a:gd name="T111" fmla="*/ 9 h 8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07"/>
                  <a:gd name="T169" fmla="*/ 0 h 861"/>
                  <a:gd name="T170" fmla="*/ 707 w 707"/>
                  <a:gd name="T171" fmla="*/ 861 h 8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07" h="861">
                    <a:moveTo>
                      <a:pt x="365" y="809"/>
                    </a:moveTo>
                    <a:lnTo>
                      <a:pt x="367" y="809"/>
                    </a:lnTo>
                    <a:lnTo>
                      <a:pt x="325" y="859"/>
                    </a:lnTo>
                    <a:lnTo>
                      <a:pt x="327" y="859"/>
                    </a:lnTo>
                    <a:lnTo>
                      <a:pt x="323" y="861"/>
                    </a:lnTo>
                    <a:lnTo>
                      <a:pt x="323" y="858"/>
                    </a:lnTo>
                    <a:lnTo>
                      <a:pt x="320" y="861"/>
                    </a:lnTo>
                    <a:lnTo>
                      <a:pt x="322" y="851"/>
                    </a:lnTo>
                    <a:lnTo>
                      <a:pt x="312" y="854"/>
                    </a:lnTo>
                    <a:lnTo>
                      <a:pt x="318" y="851"/>
                    </a:lnTo>
                    <a:lnTo>
                      <a:pt x="313" y="851"/>
                    </a:lnTo>
                    <a:lnTo>
                      <a:pt x="315" y="849"/>
                    </a:lnTo>
                    <a:lnTo>
                      <a:pt x="290" y="854"/>
                    </a:lnTo>
                    <a:lnTo>
                      <a:pt x="297" y="849"/>
                    </a:lnTo>
                    <a:lnTo>
                      <a:pt x="280" y="843"/>
                    </a:lnTo>
                    <a:lnTo>
                      <a:pt x="288" y="839"/>
                    </a:lnTo>
                    <a:lnTo>
                      <a:pt x="250" y="792"/>
                    </a:lnTo>
                    <a:lnTo>
                      <a:pt x="265" y="775"/>
                    </a:lnTo>
                    <a:lnTo>
                      <a:pt x="258" y="774"/>
                    </a:lnTo>
                    <a:lnTo>
                      <a:pt x="266" y="772"/>
                    </a:lnTo>
                    <a:lnTo>
                      <a:pt x="243" y="782"/>
                    </a:lnTo>
                    <a:lnTo>
                      <a:pt x="241" y="757"/>
                    </a:lnTo>
                    <a:lnTo>
                      <a:pt x="240" y="760"/>
                    </a:lnTo>
                    <a:lnTo>
                      <a:pt x="231" y="748"/>
                    </a:lnTo>
                    <a:lnTo>
                      <a:pt x="228" y="742"/>
                    </a:lnTo>
                    <a:lnTo>
                      <a:pt x="233" y="737"/>
                    </a:lnTo>
                    <a:lnTo>
                      <a:pt x="231" y="728"/>
                    </a:lnTo>
                    <a:lnTo>
                      <a:pt x="256" y="688"/>
                    </a:lnTo>
                    <a:lnTo>
                      <a:pt x="253" y="679"/>
                    </a:lnTo>
                    <a:lnTo>
                      <a:pt x="250" y="678"/>
                    </a:lnTo>
                    <a:lnTo>
                      <a:pt x="251" y="681"/>
                    </a:lnTo>
                    <a:lnTo>
                      <a:pt x="256" y="669"/>
                    </a:lnTo>
                    <a:lnTo>
                      <a:pt x="214" y="616"/>
                    </a:lnTo>
                    <a:lnTo>
                      <a:pt x="260" y="626"/>
                    </a:lnTo>
                    <a:lnTo>
                      <a:pt x="253" y="619"/>
                    </a:lnTo>
                    <a:lnTo>
                      <a:pt x="245" y="606"/>
                    </a:lnTo>
                    <a:lnTo>
                      <a:pt x="241" y="602"/>
                    </a:lnTo>
                    <a:lnTo>
                      <a:pt x="248" y="597"/>
                    </a:lnTo>
                    <a:lnTo>
                      <a:pt x="238" y="602"/>
                    </a:lnTo>
                    <a:lnTo>
                      <a:pt x="245" y="592"/>
                    </a:lnTo>
                    <a:lnTo>
                      <a:pt x="233" y="594"/>
                    </a:lnTo>
                    <a:lnTo>
                      <a:pt x="246" y="585"/>
                    </a:lnTo>
                    <a:lnTo>
                      <a:pt x="233" y="579"/>
                    </a:lnTo>
                    <a:lnTo>
                      <a:pt x="204" y="594"/>
                    </a:lnTo>
                    <a:lnTo>
                      <a:pt x="208" y="530"/>
                    </a:lnTo>
                    <a:lnTo>
                      <a:pt x="198" y="518"/>
                    </a:lnTo>
                    <a:lnTo>
                      <a:pt x="199" y="520"/>
                    </a:lnTo>
                    <a:lnTo>
                      <a:pt x="181" y="470"/>
                    </a:lnTo>
                    <a:lnTo>
                      <a:pt x="144" y="431"/>
                    </a:lnTo>
                    <a:lnTo>
                      <a:pt x="67" y="427"/>
                    </a:lnTo>
                    <a:lnTo>
                      <a:pt x="77" y="439"/>
                    </a:lnTo>
                    <a:lnTo>
                      <a:pt x="40" y="417"/>
                    </a:lnTo>
                    <a:lnTo>
                      <a:pt x="55" y="405"/>
                    </a:lnTo>
                    <a:lnTo>
                      <a:pt x="37" y="390"/>
                    </a:lnTo>
                    <a:lnTo>
                      <a:pt x="84" y="380"/>
                    </a:lnTo>
                    <a:lnTo>
                      <a:pt x="74" y="363"/>
                    </a:lnTo>
                    <a:lnTo>
                      <a:pt x="34" y="365"/>
                    </a:lnTo>
                    <a:lnTo>
                      <a:pt x="39" y="358"/>
                    </a:lnTo>
                    <a:lnTo>
                      <a:pt x="27" y="360"/>
                    </a:lnTo>
                    <a:lnTo>
                      <a:pt x="0" y="338"/>
                    </a:lnTo>
                    <a:lnTo>
                      <a:pt x="49" y="296"/>
                    </a:lnTo>
                    <a:lnTo>
                      <a:pt x="67" y="262"/>
                    </a:lnTo>
                    <a:lnTo>
                      <a:pt x="106" y="236"/>
                    </a:lnTo>
                    <a:lnTo>
                      <a:pt x="60" y="227"/>
                    </a:lnTo>
                    <a:lnTo>
                      <a:pt x="109" y="174"/>
                    </a:lnTo>
                    <a:lnTo>
                      <a:pt x="117" y="142"/>
                    </a:lnTo>
                    <a:lnTo>
                      <a:pt x="142" y="123"/>
                    </a:lnTo>
                    <a:lnTo>
                      <a:pt x="178" y="158"/>
                    </a:lnTo>
                    <a:lnTo>
                      <a:pt x="189" y="126"/>
                    </a:lnTo>
                    <a:lnTo>
                      <a:pt x="208" y="91"/>
                    </a:lnTo>
                    <a:lnTo>
                      <a:pt x="225" y="124"/>
                    </a:lnTo>
                    <a:lnTo>
                      <a:pt x="218" y="148"/>
                    </a:lnTo>
                    <a:lnTo>
                      <a:pt x="260" y="138"/>
                    </a:lnTo>
                    <a:lnTo>
                      <a:pt x="248" y="121"/>
                    </a:lnTo>
                    <a:lnTo>
                      <a:pt x="265" y="125"/>
                    </a:lnTo>
                    <a:lnTo>
                      <a:pt x="248" y="79"/>
                    </a:lnTo>
                    <a:lnTo>
                      <a:pt x="285" y="86"/>
                    </a:lnTo>
                    <a:lnTo>
                      <a:pt x="309" y="112"/>
                    </a:lnTo>
                    <a:lnTo>
                      <a:pt x="307" y="92"/>
                    </a:lnTo>
                    <a:lnTo>
                      <a:pt x="308" y="59"/>
                    </a:lnTo>
                    <a:lnTo>
                      <a:pt x="350" y="83"/>
                    </a:lnTo>
                    <a:lnTo>
                      <a:pt x="352" y="61"/>
                    </a:lnTo>
                    <a:lnTo>
                      <a:pt x="374" y="88"/>
                    </a:lnTo>
                    <a:lnTo>
                      <a:pt x="310" y="36"/>
                    </a:lnTo>
                    <a:lnTo>
                      <a:pt x="387" y="61"/>
                    </a:lnTo>
                    <a:lnTo>
                      <a:pt x="412" y="14"/>
                    </a:lnTo>
                    <a:lnTo>
                      <a:pt x="441" y="4"/>
                    </a:lnTo>
                    <a:lnTo>
                      <a:pt x="473" y="0"/>
                    </a:lnTo>
                    <a:lnTo>
                      <a:pt x="501" y="8"/>
                    </a:lnTo>
                    <a:lnTo>
                      <a:pt x="487" y="30"/>
                    </a:lnTo>
                    <a:lnTo>
                      <a:pt x="495" y="38"/>
                    </a:lnTo>
                    <a:lnTo>
                      <a:pt x="548" y="32"/>
                    </a:lnTo>
                    <a:lnTo>
                      <a:pt x="533" y="63"/>
                    </a:lnTo>
                    <a:lnTo>
                      <a:pt x="561" y="63"/>
                    </a:lnTo>
                    <a:lnTo>
                      <a:pt x="590" y="73"/>
                    </a:lnTo>
                    <a:lnTo>
                      <a:pt x="539" y="108"/>
                    </a:lnTo>
                    <a:lnTo>
                      <a:pt x="523" y="116"/>
                    </a:lnTo>
                    <a:lnTo>
                      <a:pt x="549" y="128"/>
                    </a:lnTo>
                    <a:lnTo>
                      <a:pt x="581" y="115"/>
                    </a:lnTo>
                    <a:lnTo>
                      <a:pt x="585" y="174"/>
                    </a:lnTo>
                    <a:lnTo>
                      <a:pt x="613" y="142"/>
                    </a:lnTo>
                    <a:lnTo>
                      <a:pt x="653" y="142"/>
                    </a:lnTo>
                    <a:lnTo>
                      <a:pt x="707" y="147"/>
                    </a:lnTo>
                    <a:lnTo>
                      <a:pt x="631" y="176"/>
                    </a:lnTo>
                    <a:lnTo>
                      <a:pt x="600" y="210"/>
                    </a:lnTo>
                    <a:lnTo>
                      <a:pt x="631" y="206"/>
                    </a:lnTo>
                    <a:lnTo>
                      <a:pt x="660" y="212"/>
                    </a:lnTo>
                    <a:lnTo>
                      <a:pt x="615" y="256"/>
                    </a:lnTo>
                    <a:lnTo>
                      <a:pt x="642" y="237"/>
                    </a:lnTo>
                    <a:lnTo>
                      <a:pt x="618" y="289"/>
                    </a:lnTo>
                    <a:lnTo>
                      <a:pt x="628" y="281"/>
                    </a:lnTo>
                    <a:lnTo>
                      <a:pt x="625" y="286"/>
                    </a:lnTo>
                    <a:lnTo>
                      <a:pt x="623" y="284"/>
                    </a:lnTo>
                    <a:lnTo>
                      <a:pt x="605" y="326"/>
                    </a:lnTo>
                    <a:lnTo>
                      <a:pt x="600" y="362"/>
                    </a:lnTo>
                    <a:lnTo>
                      <a:pt x="627" y="365"/>
                    </a:lnTo>
                    <a:lnTo>
                      <a:pt x="608" y="362"/>
                    </a:lnTo>
                    <a:lnTo>
                      <a:pt x="615" y="367"/>
                    </a:lnTo>
                    <a:lnTo>
                      <a:pt x="610" y="369"/>
                    </a:lnTo>
                    <a:lnTo>
                      <a:pt x="610" y="427"/>
                    </a:lnTo>
                    <a:lnTo>
                      <a:pt x="605" y="421"/>
                    </a:lnTo>
                    <a:lnTo>
                      <a:pt x="620" y="429"/>
                    </a:lnTo>
                    <a:lnTo>
                      <a:pt x="622" y="466"/>
                    </a:lnTo>
                    <a:lnTo>
                      <a:pt x="591" y="454"/>
                    </a:lnTo>
                    <a:lnTo>
                      <a:pt x="627" y="496"/>
                    </a:lnTo>
                    <a:lnTo>
                      <a:pt x="593" y="490"/>
                    </a:lnTo>
                    <a:lnTo>
                      <a:pt x="610" y="527"/>
                    </a:lnTo>
                    <a:lnTo>
                      <a:pt x="558" y="521"/>
                    </a:lnTo>
                    <a:lnTo>
                      <a:pt x="536" y="538"/>
                    </a:lnTo>
                    <a:lnTo>
                      <a:pt x="558" y="542"/>
                    </a:lnTo>
                    <a:lnTo>
                      <a:pt x="538" y="553"/>
                    </a:lnTo>
                    <a:lnTo>
                      <a:pt x="553" y="574"/>
                    </a:lnTo>
                    <a:lnTo>
                      <a:pt x="586" y="599"/>
                    </a:lnTo>
                    <a:lnTo>
                      <a:pt x="596" y="592"/>
                    </a:lnTo>
                    <a:lnTo>
                      <a:pt x="598" y="622"/>
                    </a:lnTo>
                    <a:lnTo>
                      <a:pt x="586" y="612"/>
                    </a:lnTo>
                    <a:lnTo>
                      <a:pt x="586" y="622"/>
                    </a:lnTo>
                    <a:lnTo>
                      <a:pt x="528" y="582"/>
                    </a:lnTo>
                    <a:lnTo>
                      <a:pt x="551" y="600"/>
                    </a:lnTo>
                    <a:lnTo>
                      <a:pt x="513" y="622"/>
                    </a:lnTo>
                    <a:lnTo>
                      <a:pt x="541" y="626"/>
                    </a:lnTo>
                    <a:lnTo>
                      <a:pt x="516" y="634"/>
                    </a:lnTo>
                    <a:lnTo>
                      <a:pt x="591" y="631"/>
                    </a:lnTo>
                    <a:lnTo>
                      <a:pt x="491" y="683"/>
                    </a:lnTo>
                    <a:lnTo>
                      <a:pt x="494" y="688"/>
                    </a:lnTo>
                    <a:lnTo>
                      <a:pt x="489" y="686"/>
                    </a:lnTo>
                    <a:lnTo>
                      <a:pt x="489" y="690"/>
                    </a:lnTo>
                    <a:lnTo>
                      <a:pt x="479" y="685"/>
                    </a:lnTo>
                    <a:lnTo>
                      <a:pt x="481" y="685"/>
                    </a:lnTo>
                    <a:lnTo>
                      <a:pt x="472" y="679"/>
                    </a:lnTo>
                    <a:lnTo>
                      <a:pt x="471" y="674"/>
                    </a:lnTo>
                    <a:lnTo>
                      <a:pt x="451" y="725"/>
                    </a:lnTo>
                    <a:lnTo>
                      <a:pt x="449" y="721"/>
                    </a:lnTo>
                    <a:lnTo>
                      <a:pt x="441" y="733"/>
                    </a:lnTo>
                    <a:lnTo>
                      <a:pt x="429" y="742"/>
                    </a:lnTo>
                    <a:lnTo>
                      <a:pt x="417" y="738"/>
                    </a:lnTo>
                    <a:lnTo>
                      <a:pt x="414" y="742"/>
                    </a:lnTo>
                    <a:lnTo>
                      <a:pt x="416" y="745"/>
                    </a:lnTo>
                    <a:lnTo>
                      <a:pt x="417" y="733"/>
                    </a:lnTo>
                    <a:lnTo>
                      <a:pt x="407" y="732"/>
                    </a:lnTo>
                    <a:lnTo>
                      <a:pt x="399" y="750"/>
                    </a:lnTo>
                    <a:lnTo>
                      <a:pt x="372" y="762"/>
                    </a:lnTo>
                    <a:lnTo>
                      <a:pt x="367" y="780"/>
                    </a:lnTo>
                    <a:lnTo>
                      <a:pt x="377" y="792"/>
                    </a:lnTo>
                    <a:lnTo>
                      <a:pt x="367" y="790"/>
                    </a:lnTo>
                    <a:lnTo>
                      <a:pt x="365" y="802"/>
                    </a:lnTo>
                    <a:lnTo>
                      <a:pt x="369" y="807"/>
                    </a:lnTo>
                    <a:lnTo>
                      <a:pt x="360" y="806"/>
                    </a:lnTo>
                    <a:lnTo>
                      <a:pt x="365" y="809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4" name="Freeform 353"/>
              <p:cNvSpPr>
                <a:spLocks/>
              </p:cNvSpPr>
              <p:nvPr/>
            </p:nvSpPr>
            <p:spPr bwMode="auto">
              <a:xfrm>
                <a:off x="742085" y="1"/>
                <a:ext cx="81" cy="77"/>
              </a:xfrm>
              <a:custGeom>
                <a:avLst/>
                <a:gdLst>
                  <a:gd name="T0" fmla="*/ 1 w 368"/>
                  <a:gd name="T1" fmla="*/ 4 h 351"/>
                  <a:gd name="T2" fmla="*/ 1 w 368"/>
                  <a:gd name="T3" fmla="*/ 4 h 351"/>
                  <a:gd name="T4" fmla="*/ 2 w 368"/>
                  <a:gd name="T5" fmla="*/ 4 h 351"/>
                  <a:gd name="T6" fmla="*/ 2 w 368"/>
                  <a:gd name="T7" fmla="*/ 4 h 351"/>
                  <a:gd name="T8" fmla="*/ 2 w 368"/>
                  <a:gd name="T9" fmla="*/ 3 h 351"/>
                  <a:gd name="T10" fmla="*/ 2 w 368"/>
                  <a:gd name="T11" fmla="*/ 3 h 351"/>
                  <a:gd name="T12" fmla="*/ 2 w 368"/>
                  <a:gd name="T13" fmla="*/ 3 h 351"/>
                  <a:gd name="T14" fmla="*/ 2 w 368"/>
                  <a:gd name="T15" fmla="*/ 2 h 351"/>
                  <a:gd name="T16" fmla="*/ 3 w 368"/>
                  <a:gd name="T17" fmla="*/ 2 h 351"/>
                  <a:gd name="T18" fmla="*/ 3 w 368"/>
                  <a:gd name="T19" fmla="*/ 2 h 351"/>
                  <a:gd name="T20" fmla="*/ 3 w 368"/>
                  <a:gd name="T21" fmla="*/ 2 h 351"/>
                  <a:gd name="T22" fmla="*/ 4 w 368"/>
                  <a:gd name="T23" fmla="*/ 1 h 351"/>
                  <a:gd name="T24" fmla="*/ 3 w 368"/>
                  <a:gd name="T25" fmla="*/ 1 h 351"/>
                  <a:gd name="T26" fmla="*/ 4 w 368"/>
                  <a:gd name="T27" fmla="*/ 0 h 351"/>
                  <a:gd name="T28" fmla="*/ 3 w 368"/>
                  <a:gd name="T29" fmla="*/ 0 h 351"/>
                  <a:gd name="T30" fmla="*/ 3 w 368"/>
                  <a:gd name="T31" fmla="*/ 0 h 351"/>
                  <a:gd name="T32" fmla="*/ 2 w 368"/>
                  <a:gd name="T33" fmla="*/ 0 h 351"/>
                  <a:gd name="T34" fmla="*/ 1 w 368"/>
                  <a:gd name="T35" fmla="*/ 0 h 351"/>
                  <a:gd name="T36" fmla="*/ 1 w 368"/>
                  <a:gd name="T37" fmla="*/ 0 h 351"/>
                  <a:gd name="T38" fmla="*/ 1 w 368"/>
                  <a:gd name="T39" fmla="*/ 0 h 351"/>
                  <a:gd name="T40" fmla="*/ 1 w 368"/>
                  <a:gd name="T41" fmla="*/ 0 h 351"/>
                  <a:gd name="T42" fmla="*/ 1 w 368"/>
                  <a:gd name="T43" fmla="*/ 1 h 351"/>
                  <a:gd name="T44" fmla="*/ 0 w 368"/>
                  <a:gd name="T45" fmla="*/ 1 h 351"/>
                  <a:gd name="T46" fmla="*/ 0 w 368"/>
                  <a:gd name="T47" fmla="*/ 1 h 351"/>
                  <a:gd name="T48" fmla="*/ 0 w 368"/>
                  <a:gd name="T49" fmla="*/ 1 h 351"/>
                  <a:gd name="T50" fmla="*/ 0 w 368"/>
                  <a:gd name="T51" fmla="*/ 1 h 351"/>
                  <a:gd name="T52" fmla="*/ 0 w 368"/>
                  <a:gd name="T53" fmla="*/ 1 h 351"/>
                  <a:gd name="T54" fmla="*/ 1 w 368"/>
                  <a:gd name="T55" fmla="*/ 1 h 351"/>
                  <a:gd name="T56" fmla="*/ 1 w 368"/>
                  <a:gd name="T57" fmla="*/ 1 h 351"/>
                  <a:gd name="T58" fmla="*/ 1 w 368"/>
                  <a:gd name="T59" fmla="*/ 2 h 351"/>
                  <a:gd name="T60" fmla="*/ 1 w 368"/>
                  <a:gd name="T61" fmla="*/ 2 h 351"/>
                  <a:gd name="T62" fmla="*/ 1 w 368"/>
                  <a:gd name="T63" fmla="*/ 1 h 351"/>
                  <a:gd name="T64" fmla="*/ 1 w 368"/>
                  <a:gd name="T65" fmla="*/ 2 h 351"/>
                  <a:gd name="T66" fmla="*/ 2 w 368"/>
                  <a:gd name="T67" fmla="*/ 1 h 351"/>
                  <a:gd name="T68" fmla="*/ 1 w 368"/>
                  <a:gd name="T69" fmla="*/ 2 h 351"/>
                  <a:gd name="T70" fmla="*/ 1 w 368"/>
                  <a:gd name="T71" fmla="*/ 2 h 351"/>
                  <a:gd name="T72" fmla="*/ 1 w 368"/>
                  <a:gd name="T73" fmla="*/ 2 h 351"/>
                  <a:gd name="T74" fmla="*/ 0 w 368"/>
                  <a:gd name="T75" fmla="*/ 3 h 351"/>
                  <a:gd name="T76" fmla="*/ 1 w 368"/>
                  <a:gd name="T77" fmla="*/ 3 h 351"/>
                  <a:gd name="T78" fmla="*/ 1 w 368"/>
                  <a:gd name="T79" fmla="*/ 3 h 351"/>
                  <a:gd name="T80" fmla="*/ 1 w 368"/>
                  <a:gd name="T81" fmla="*/ 3 h 351"/>
                  <a:gd name="T82" fmla="*/ 1 w 368"/>
                  <a:gd name="T83" fmla="*/ 3 h 351"/>
                  <a:gd name="T84" fmla="*/ 1 w 368"/>
                  <a:gd name="T85" fmla="*/ 3 h 351"/>
                  <a:gd name="T86" fmla="*/ 0 w 368"/>
                  <a:gd name="T87" fmla="*/ 3 h 351"/>
                  <a:gd name="T88" fmla="*/ 0 w 368"/>
                  <a:gd name="T89" fmla="*/ 4 h 351"/>
                  <a:gd name="T90" fmla="*/ 0 w 368"/>
                  <a:gd name="T91" fmla="*/ 4 h 351"/>
                  <a:gd name="T92" fmla="*/ 0 w 368"/>
                  <a:gd name="T93" fmla="*/ 4 h 351"/>
                  <a:gd name="T94" fmla="*/ 1 w 368"/>
                  <a:gd name="T95" fmla="*/ 4 h 35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68"/>
                  <a:gd name="T145" fmla="*/ 0 h 351"/>
                  <a:gd name="T146" fmla="*/ 368 w 368"/>
                  <a:gd name="T147" fmla="*/ 351 h 35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68" h="351">
                    <a:moveTo>
                      <a:pt x="59" y="348"/>
                    </a:moveTo>
                    <a:lnTo>
                      <a:pt x="84" y="351"/>
                    </a:lnTo>
                    <a:lnTo>
                      <a:pt x="77" y="339"/>
                    </a:lnTo>
                    <a:lnTo>
                      <a:pt x="110" y="346"/>
                    </a:lnTo>
                    <a:lnTo>
                      <a:pt x="109" y="334"/>
                    </a:lnTo>
                    <a:lnTo>
                      <a:pt x="152" y="339"/>
                    </a:lnTo>
                    <a:lnTo>
                      <a:pt x="154" y="344"/>
                    </a:lnTo>
                    <a:lnTo>
                      <a:pt x="162" y="323"/>
                    </a:lnTo>
                    <a:lnTo>
                      <a:pt x="136" y="319"/>
                    </a:lnTo>
                    <a:lnTo>
                      <a:pt x="139" y="314"/>
                    </a:lnTo>
                    <a:lnTo>
                      <a:pt x="126" y="311"/>
                    </a:lnTo>
                    <a:lnTo>
                      <a:pt x="201" y="265"/>
                    </a:lnTo>
                    <a:lnTo>
                      <a:pt x="184" y="259"/>
                    </a:lnTo>
                    <a:lnTo>
                      <a:pt x="186" y="240"/>
                    </a:lnTo>
                    <a:lnTo>
                      <a:pt x="191" y="235"/>
                    </a:lnTo>
                    <a:lnTo>
                      <a:pt x="208" y="228"/>
                    </a:lnTo>
                    <a:lnTo>
                      <a:pt x="172" y="222"/>
                    </a:lnTo>
                    <a:lnTo>
                      <a:pt x="246" y="193"/>
                    </a:lnTo>
                    <a:lnTo>
                      <a:pt x="241" y="191"/>
                    </a:lnTo>
                    <a:lnTo>
                      <a:pt x="253" y="181"/>
                    </a:lnTo>
                    <a:lnTo>
                      <a:pt x="229" y="183"/>
                    </a:lnTo>
                    <a:lnTo>
                      <a:pt x="255" y="161"/>
                    </a:lnTo>
                    <a:lnTo>
                      <a:pt x="255" y="168"/>
                    </a:lnTo>
                    <a:lnTo>
                      <a:pt x="328" y="96"/>
                    </a:lnTo>
                    <a:lnTo>
                      <a:pt x="260" y="126"/>
                    </a:lnTo>
                    <a:lnTo>
                      <a:pt x="298" y="97"/>
                    </a:lnTo>
                    <a:lnTo>
                      <a:pt x="273" y="99"/>
                    </a:lnTo>
                    <a:lnTo>
                      <a:pt x="368" y="45"/>
                    </a:lnTo>
                    <a:lnTo>
                      <a:pt x="323" y="3"/>
                    </a:lnTo>
                    <a:lnTo>
                      <a:pt x="317" y="17"/>
                    </a:lnTo>
                    <a:lnTo>
                      <a:pt x="273" y="25"/>
                    </a:lnTo>
                    <a:lnTo>
                      <a:pt x="301" y="0"/>
                    </a:lnTo>
                    <a:lnTo>
                      <a:pt x="131" y="2"/>
                    </a:lnTo>
                    <a:lnTo>
                      <a:pt x="139" y="20"/>
                    </a:lnTo>
                    <a:lnTo>
                      <a:pt x="112" y="13"/>
                    </a:lnTo>
                    <a:lnTo>
                      <a:pt x="126" y="35"/>
                    </a:lnTo>
                    <a:lnTo>
                      <a:pt x="110" y="35"/>
                    </a:lnTo>
                    <a:lnTo>
                      <a:pt x="100" y="39"/>
                    </a:lnTo>
                    <a:lnTo>
                      <a:pt x="122" y="64"/>
                    </a:lnTo>
                    <a:lnTo>
                      <a:pt x="94" y="52"/>
                    </a:lnTo>
                    <a:lnTo>
                      <a:pt x="102" y="62"/>
                    </a:lnTo>
                    <a:lnTo>
                      <a:pt x="62" y="40"/>
                    </a:lnTo>
                    <a:lnTo>
                      <a:pt x="52" y="57"/>
                    </a:lnTo>
                    <a:lnTo>
                      <a:pt x="69" y="67"/>
                    </a:lnTo>
                    <a:lnTo>
                      <a:pt x="69" y="74"/>
                    </a:lnTo>
                    <a:lnTo>
                      <a:pt x="28" y="77"/>
                    </a:lnTo>
                    <a:lnTo>
                      <a:pt x="23" y="72"/>
                    </a:lnTo>
                    <a:lnTo>
                      <a:pt x="23" y="81"/>
                    </a:lnTo>
                    <a:lnTo>
                      <a:pt x="0" y="94"/>
                    </a:lnTo>
                    <a:lnTo>
                      <a:pt x="27" y="92"/>
                    </a:lnTo>
                    <a:lnTo>
                      <a:pt x="15" y="107"/>
                    </a:lnTo>
                    <a:lnTo>
                      <a:pt x="43" y="94"/>
                    </a:lnTo>
                    <a:lnTo>
                      <a:pt x="23" y="109"/>
                    </a:lnTo>
                    <a:lnTo>
                      <a:pt x="35" y="114"/>
                    </a:lnTo>
                    <a:lnTo>
                      <a:pt x="22" y="124"/>
                    </a:lnTo>
                    <a:lnTo>
                      <a:pt x="62" y="129"/>
                    </a:lnTo>
                    <a:lnTo>
                      <a:pt x="28" y="136"/>
                    </a:lnTo>
                    <a:lnTo>
                      <a:pt x="75" y="128"/>
                    </a:lnTo>
                    <a:lnTo>
                      <a:pt x="67" y="156"/>
                    </a:lnTo>
                    <a:lnTo>
                      <a:pt x="79" y="153"/>
                    </a:lnTo>
                    <a:lnTo>
                      <a:pt x="77" y="158"/>
                    </a:lnTo>
                    <a:lnTo>
                      <a:pt x="95" y="143"/>
                    </a:lnTo>
                    <a:lnTo>
                      <a:pt x="94" y="151"/>
                    </a:lnTo>
                    <a:lnTo>
                      <a:pt x="114" y="134"/>
                    </a:lnTo>
                    <a:lnTo>
                      <a:pt x="117" y="141"/>
                    </a:lnTo>
                    <a:lnTo>
                      <a:pt x="100" y="160"/>
                    </a:lnTo>
                    <a:lnTo>
                      <a:pt x="139" y="118"/>
                    </a:lnTo>
                    <a:lnTo>
                      <a:pt x="169" y="101"/>
                    </a:lnTo>
                    <a:lnTo>
                      <a:pt x="183" y="139"/>
                    </a:lnTo>
                    <a:lnTo>
                      <a:pt x="100" y="168"/>
                    </a:lnTo>
                    <a:lnTo>
                      <a:pt x="141" y="202"/>
                    </a:lnTo>
                    <a:lnTo>
                      <a:pt x="62" y="170"/>
                    </a:lnTo>
                    <a:lnTo>
                      <a:pt x="92" y="223"/>
                    </a:lnTo>
                    <a:lnTo>
                      <a:pt x="82" y="230"/>
                    </a:lnTo>
                    <a:lnTo>
                      <a:pt x="112" y="255"/>
                    </a:lnTo>
                    <a:lnTo>
                      <a:pt x="52" y="276"/>
                    </a:lnTo>
                    <a:lnTo>
                      <a:pt x="69" y="264"/>
                    </a:lnTo>
                    <a:lnTo>
                      <a:pt x="70" y="276"/>
                    </a:lnTo>
                    <a:lnTo>
                      <a:pt x="84" y="254"/>
                    </a:lnTo>
                    <a:lnTo>
                      <a:pt x="80" y="279"/>
                    </a:lnTo>
                    <a:lnTo>
                      <a:pt x="70" y="284"/>
                    </a:lnTo>
                    <a:lnTo>
                      <a:pt x="80" y="296"/>
                    </a:lnTo>
                    <a:lnTo>
                      <a:pt x="84" y="291"/>
                    </a:lnTo>
                    <a:lnTo>
                      <a:pt x="82" y="299"/>
                    </a:lnTo>
                    <a:lnTo>
                      <a:pt x="112" y="279"/>
                    </a:lnTo>
                    <a:lnTo>
                      <a:pt x="87" y="309"/>
                    </a:lnTo>
                    <a:lnTo>
                      <a:pt x="38" y="289"/>
                    </a:lnTo>
                    <a:lnTo>
                      <a:pt x="52" y="311"/>
                    </a:lnTo>
                    <a:lnTo>
                      <a:pt x="55" y="311"/>
                    </a:lnTo>
                    <a:lnTo>
                      <a:pt x="33" y="339"/>
                    </a:lnTo>
                    <a:lnTo>
                      <a:pt x="33" y="344"/>
                    </a:lnTo>
                    <a:lnTo>
                      <a:pt x="35" y="331"/>
                    </a:lnTo>
                    <a:lnTo>
                      <a:pt x="45" y="348"/>
                    </a:lnTo>
                    <a:lnTo>
                      <a:pt x="47" y="339"/>
                    </a:lnTo>
                    <a:lnTo>
                      <a:pt x="59" y="338"/>
                    </a:lnTo>
                    <a:lnTo>
                      <a:pt x="59" y="348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5" name="Freeform 354"/>
              <p:cNvSpPr>
                <a:spLocks/>
              </p:cNvSpPr>
              <p:nvPr/>
            </p:nvSpPr>
            <p:spPr bwMode="auto">
              <a:xfrm>
                <a:off x="742073" y="25"/>
                <a:ext cx="28" cy="36"/>
              </a:xfrm>
              <a:custGeom>
                <a:avLst/>
                <a:gdLst>
                  <a:gd name="T0" fmla="*/ 0 w 125"/>
                  <a:gd name="T1" fmla="*/ 0 h 165"/>
                  <a:gd name="T2" fmla="*/ 0 w 125"/>
                  <a:gd name="T3" fmla="*/ 0 h 165"/>
                  <a:gd name="T4" fmla="*/ 0 w 125"/>
                  <a:gd name="T5" fmla="*/ 0 h 165"/>
                  <a:gd name="T6" fmla="*/ 0 w 125"/>
                  <a:gd name="T7" fmla="*/ 0 h 165"/>
                  <a:gd name="T8" fmla="*/ 0 w 125"/>
                  <a:gd name="T9" fmla="*/ 0 h 165"/>
                  <a:gd name="T10" fmla="*/ 1 w 125"/>
                  <a:gd name="T11" fmla="*/ 1 h 165"/>
                  <a:gd name="T12" fmla="*/ 1 w 125"/>
                  <a:gd name="T13" fmla="*/ 0 h 165"/>
                  <a:gd name="T14" fmla="*/ 1 w 125"/>
                  <a:gd name="T15" fmla="*/ 1 h 165"/>
                  <a:gd name="T16" fmla="*/ 1 w 125"/>
                  <a:gd name="T17" fmla="*/ 1 h 165"/>
                  <a:gd name="T18" fmla="*/ 1 w 125"/>
                  <a:gd name="T19" fmla="*/ 2 h 165"/>
                  <a:gd name="T20" fmla="*/ 1 w 125"/>
                  <a:gd name="T21" fmla="*/ 1 h 165"/>
                  <a:gd name="T22" fmla="*/ 1 w 125"/>
                  <a:gd name="T23" fmla="*/ 2 h 165"/>
                  <a:gd name="T24" fmla="*/ 1 w 125"/>
                  <a:gd name="T25" fmla="*/ 2 h 165"/>
                  <a:gd name="T26" fmla="*/ 1 w 125"/>
                  <a:gd name="T27" fmla="*/ 2 h 165"/>
                  <a:gd name="T28" fmla="*/ 1 w 125"/>
                  <a:gd name="T29" fmla="*/ 2 h 165"/>
                  <a:gd name="T30" fmla="*/ 1 w 125"/>
                  <a:gd name="T31" fmla="*/ 2 h 165"/>
                  <a:gd name="T32" fmla="*/ 1 w 125"/>
                  <a:gd name="T33" fmla="*/ 2 h 165"/>
                  <a:gd name="T34" fmla="*/ 1 w 125"/>
                  <a:gd name="T35" fmla="*/ 2 h 165"/>
                  <a:gd name="T36" fmla="*/ 0 w 125"/>
                  <a:gd name="T37" fmla="*/ 2 h 165"/>
                  <a:gd name="T38" fmla="*/ 1 w 125"/>
                  <a:gd name="T39" fmla="*/ 2 h 165"/>
                  <a:gd name="T40" fmla="*/ 0 w 125"/>
                  <a:gd name="T41" fmla="*/ 1 h 165"/>
                  <a:gd name="T42" fmla="*/ 0 w 125"/>
                  <a:gd name="T43" fmla="*/ 1 h 165"/>
                  <a:gd name="T44" fmla="*/ 0 w 125"/>
                  <a:gd name="T45" fmla="*/ 1 h 165"/>
                  <a:gd name="T46" fmla="*/ 0 w 125"/>
                  <a:gd name="T47" fmla="*/ 1 h 165"/>
                  <a:gd name="T48" fmla="*/ 0 w 125"/>
                  <a:gd name="T49" fmla="*/ 1 h 165"/>
                  <a:gd name="T50" fmla="*/ 0 w 125"/>
                  <a:gd name="T51" fmla="*/ 1 h 165"/>
                  <a:gd name="T52" fmla="*/ 0 w 125"/>
                  <a:gd name="T53" fmla="*/ 1 h 165"/>
                  <a:gd name="T54" fmla="*/ 0 w 125"/>
                  <a:gd name="T55" fmla="*/ 1 h 165"/>
                  <a:gd name="T56" fmla="*/ 0 w 125"/>
                  <a:gd name="T57" fmla="*/ 1 h 165"/>
                  <a:gd name="T58" fmla="*/ 0 w 125"/>
                  <a:gd name="T59" fmla="*/ 1 h 165"/>
                  <a:gd name="T60" fmla="*/ 0 w 125"/>
                  <a:gd name="T61" fmla="*/ 0 h 16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25"/>
                  <a:gd name="T94" fmla="*/ 0 h 165"/>
                  <a:gd name="T95" fmla="*/ 125 w 125"/>
                  <a:gd name="T96" fmla="*/ 165 h 16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25" h="165">
                    <a:moveTo>
                      <a:pt x="11" y="42"/>
                    </a:moveTo>
                    <a:lnTo>
                      <a:pt x="31" y="45"/>
                    </a:lnTo>
                    <a:lnTo>
                      <a:pt x="18" y="17"/>
                    </a:lnTo>
                    <a:lnTo>
                      <a:pt x="43" y="10"/>
                    </a:lnTo>
                    <a:lnTo>
                      <a:pt x="20" y="0"/>
                    </a:lnTo>
                    <a:lnTo>
                      <a:pt x="97" y="67"/>
                    </a:lnTo>
                    <a:lnTo>
                      <a:pt x="93" y="50"/>
                    </a:lnTo>
                    <a:lnTo>
                      <a:pt x="120" y="99"/>
                    </a:lnTo>
                    <a:lnTo>
                      <a:pt x="125" y="92"/>
                    </a:lnTo>
                    <a:lnTo>
                      <a:pt x="102" y="139"/>
                    </a:lnTo>
                    <a:lnTo>
                      <a:pt x="97" y="119"/>
                    </a:lnTo>
                    <a:lnTo>
                      <a:pt x="97" y="149"/>
                    </a:lnTo>
                    <a:lnTo>
                      <a:pt x="88" y="141"/>
                    </a:lnTo>
                    <a:lnTo>
                      <a:pt x="90" y="163"/>
                    </a:lnTo>
                    <a:lnTo>
                      <a:pt x="73" y="143"/>
                    </a:lnTo>
                    <a:lnTo>
                      <a:pt x="82" y="165"/>
                    </a:lnTo>
                    <a:lnTo>
                      <a:pt x="67" y="158"/>
                    </a:lnTo>
                    <a:lnTo>
                      <a:pt x="73" y="165"/>
                    </a:lnTo>
                    <a:lnTo>
                      <a:pt x="40" y="148"/>
                    </a:lnTo>
                    <a:lnTo>
                      <a:pt x="55" y="146"/>
                    </a:lnTo>
                    <a:lnTo>
                      <a:pt x="30" y="124"/>
                    </a:lnTo>
                    <a:lnTo>
                      <a:pt x="40" y="101"/>
                    </a:lnTo>
                    <a:lnTo>
                      <a:pt x="30" y="109"/>
                    </a:lnTo>
                    <a:lnTo>
                      <a:pt x="33" y="104"/>
                    </a:lnTo>
                    <a:lnTo>
                      <a:pt x="28" y="89"/>
                    </a:lnTo>
                    <a:lnTo>
                      <a:pt x="0" y="65"/>
                    </a:lnTo>
                    <a:lnTo>
                      <a:pt x="25" y="75"/>
                    </a:lnTo>
                    <a:lnTo>
                      <a:pt x="31" y="65"/>
                    </a:lnTo>
                    <a:lnTo>
                      <a:pt x="0" y="54"/>
                    </a:lnTo>
                    <a:lnTo>
                      <a:pt x="16" y="54"/>
                    </a:lnTo>
                    <a:lnTo>
                      <a:pt x="11" y="42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6" name="Freeform 355"/>
              <p:cNvSpPr>
                <a:spLocks/>
              </p:cNvSpPr>
              <p:nvPr/>
            </p:nvSpPr>
            <p:spPr bwMode="auto">
              <a:xfrm>
                <a:off x="742036" y="76"/>
                <a:ext cx="14" cy="16"/>
              </a:xfrm>
              <a:custGeom>
                <a:avLst/>
                <a:gdLst>
                  <a:gd name="T0" fmla="*/ 0 w 64"/>
                  <a:gd name="T1" fmla="*/ 1 h 74"/>
                  <a:gd name="T2" fmla="*/ 0 w 64"/>
                  <a:gd name="T3" fmla="*/ 0 h 74"/>
                  <a:gd name="T4" fmla="*/ 0 w 64"/>
                  <a:gd name="T5" fmla="*/ 0 h 74"/>
                  <a:gd name="T6" fmla="*/ 0 w 64"/>
                  <a:gd name="T7" fmla="*/ 0 h 74"/>
                  <a:gd name="T8" fmla="*/ 0 w 64"/>
                  <a:gd name="T9" fmla="*/ 0 h 74"/>
                  <a:gd name="T10" fmla="*/ 0 w 64"/>
                  <a:gd name="T11" fmla="*/ 0 h 74"/>
                  <a:gd name="T12" fmla="*/ 0 w 64"/>
                  <a:gd name="T13" fmla="*/ 0 h 74"/>
                  <a:gd name="T14" fmla="*/ 0 w 64"/>
                  <a:gd name="T15" fmla="*/ 0 h 74"/>
                  <a:gd name="T16" fmla="*/ 0 w 64"/>
                  <a:gd name="T17" fmla="*/ 0 h 74"/>
                  <a:gd name="T18" fmla="*/ 1 w 64"/>
                  <a:gd name="T19" fmla="*/ 0 h 74"/>
                  <a:gd name="T20" fmla="*/ 0 w 64"/>
                  <a:gd name="T21" fmla="*/ 1 h 7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4"/>
                  <a:gd name="T34" fmla="*/ 0 h 74"/>
                  <a:gd name="T35" fmla="*/ 64 w 64"/>
                  <a:gd name="T36" fmla="*/ 74 h 7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4" h="74">
                    <a:moveTo>
                      <a:pt x="27" y="74"/>
                    </a:moveTo>
                    <a:lnTo>
                      <a:pt x="0" y="35"/>
                    </a:lnTo>
                    <a:lnTo>
                      <a:pt x="25" y="38"/>
                    </a:lnTo>
                    <a:lnTo>
                      <a:pt x="27" y="27"/>
                    </a:lnTo>
                    <a:lnTo>
                      <a:pt x="10" y="15"/>
                    </a:lnTo>
                    <a:lnTo>
                      <a:pt x="18" y="17"/>
                    </a:lnTo>
                    <a:lnTo>
                      <a:pt x="12" y="7"/>
                    </a:lnTo>
                    <a:lnTo>
                      <a:pt x="20" y="0"/>
                    </a:lnTo>
                    <a:lnTo>
                      <a:pt x="44" y="37"/>
                    </a:lnTo>
                    <a:lnTo>
                      <a:pt x="64" y="42"/>
                    </a:lnTo>
                    <a:lnTo>
                      <a:pt x="27" y="74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7" name="Freeform 356"/>
              <p:cNvSpPr>
                <a:spLocks/>
              </p:cNvSpPr>
              <p:nvPr/>
            </p:nvSpPr>
            <p:spPr bwMode="auto">
              <a:xfrm>
                <a:off x="742055" y="66"/>
                <a:ext cx="14" cy="15"/>
              </a:xfrm>
              <a:custGeom>
                <a:avLst/>
                <a:gdLst>
                  <a:gd name="T0" fmla="*/ 1 w 64"/>
                  <a:gd name="T1" fmla="*/ 0 h 69"/>
                  <a:gd name="T2" fmla="*/ 1 w 64"/>
                  <a:gd name="T3" fmla="*/ 0 h 69"/>
                  <a:gd name="T4" fmla="*/ 1 w 64"/>
                  <a:gd name="T5" fmla="*/ 0 h 69"/>
                  <a:gd name="T6" fmla="*/ 1 w 64"/>
                  <a:gd name="T7" fmla="*/ 1 h 69"/>
                  <a:gd name="T8" fmla="*/ 1 w 64"/>
                  <a:gd name="T9" fmla="*/ 1 h 69"/>
                  <a:gd name="T10" fmla="*/ 0 w 64"/>
                  <a:gd name="T11" fmla="*/ 1 h 69"/>
                  <a:gd name="T12" fmla="*/ 0 w 64"/>
                  <a:gd name="T13" fmla="*/ 1 h 69"/>
                  <a:gd name="T14" fmla="*/ 0 w 64"/>
                  <a:gd name="T15" fmla="*/ 0 h 69"/>
                  <a:gd name="T16" fmla="*/ 0 w 64"/>
                  <a:gd name="T17" fmla="*/ 0 h 69"/>
                  <a:gd name="T18" fmla="*/ 0 w 64"/>
                  <a:gd name="T19" fmla="*/ 0 h 69"/>
                  <a:gd name="T20" fmla="*/ 0 w 64"/>
                  <a:gd name="T21" fmla="*/ 0 h 69"/>
                  <a:gd name="T22" fmla="*/ 0 w 64"/>
                  <a:gd name="T23" fmla="*/ 0 h 69"/>
                  <a:gd name="T24" fmla="*/ 0 w 64"/>
                  <a:gd name="T25" fmla="*/ 0 h 69"/>
                  <a:gd name="T26" fmla="*/ 1 w 64"/>
                  <a:gd name="T27" fmla="*/ 0 h 6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4"/>
                  <a:gd name="T43" fmla="*/ 0 h 69"/>
                  <a:gd name="T44" fmla="*/ 64 w 64"/>
                  <a:gd name="T45" fmla="*/ 69 h 6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4" h="69">
                    <a:moveTo>
                      <a:pt x="62" y="28"/>
                    </a:moveTo>
                    <a:lnTo>
                      <a:pt x="64" y="52"/>
                    </a:lnTo>
                    <a:lnTo>
                      <a:pt x="59" y="43"/>
                    </a:lnTo>
                    <a:lnTo>
                      <a:pt x="61" y="62"/>
                    </a:lnTo>
                    <a:lnTo>
                      <a:pt x="55" y="60"/>
                    </a:lnTo>
                    <a:lnTo>
                      <a:pt x="39" y="64"/>
                    </a:lnTo>
                    <a:lnTo>
                      <a:pt x="30" y="69"/>
                    </a:lnTo>
                    <a:lnTo>
                      <a:pt x="0" y="43"/>
                    </a:lnTo>
                    <a:lnTo>
                      <a:pt x="19" y="37"/>
                    </a:lnTo>
                    <a:lnTo>
                      <a:pt x="12" y="10"/>
                    </a:lnTo>
                    <a:lnTo>
                      <a:pt x="37" y="28"/>
                    </a:lnTo>
                    <a:lnTo>
                      <a:pt x="20" y="8"/>
                    </a:lnTo>
                    <a:lnTo>
                      <a:pt x="49" y="0"/>
                    </a:lnTo>
                    <a:lnTo>
                      <a:pt x="62" y="28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8" name="Freeform 357"/>
              <p:cNvSpPr>
                <a:spLocks/>
              </p:cNvSpPr>
              <p:nvPr/>
            </p:nvSpPr>
            <p:spPr bwMode="auto">
              <a:xfrm>
                <a:off x="742068" y="54"/>
                <a:ext cx="8" cy="9"/>
              </a:xfrm>
              <a:custGeom>
                <a:avLst/>
                <a:gdLst>
                  <a:gd name="T0" fmla="*/ 0 w 39"/>
                  <a:gd name="T1" fmla="*/ 0 h 42"/>
                  <a:gd name="T2" fmla="*/ 0 w 39"/>
                  <a:gd name="T3" fmla="*/ 0 h 42"/>
                  <a:gd name="T4" fmla="*/ 0 w 39"/>
                  <a:gd name="T5" fmla="*/ 0 h 42"/>
                  <a:gd name="T6" fmla="*/ 0 60000 65536"/>
                  <a:gd name="T7" fmla="*/ 0 60000 65536"/>
                  <a:gd name="T8" fmla="*/ 0 60000 65536"/>
                  <a:gd name="T9" fmla="*/ 0 w 39"/>
                  <a:gd name="T10" fmla="*/ 0 h 42"/>
                  <a:gd name="T11" fmla="*/ 39 w 39"/>
                  <a:gd name="T12" fmla="*/ 42 h 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9" h="42">
                    <a:moveTo>
                      <a:pt x="39" y="42"/>
                    </a:moveTo>
                    <a:lnTo>
                      <a:pt x="0" y="0"/>
                    </a:lnTo>
                    <a:lnTo>
                      <a:pt x="39" y="42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9" name="Freeform 358"/>
              <p:cNvSpPr>
                <a:spLocks/>
              </p:cNvSpPr>
              <p:nvPr/>
            </p:nvSpPr>
            <p:spPr bwMode="auto">
              <a:xfrm>
                <a:off x="742049" y="53"/>
                <a:ext cx="15" cy="11"/>
              </a:xfrm>
              <a:custGeom>
                <a:avLst/>
                <a:gdLst>
                  <a:gd name="T0" fmla="*/ 1 w 67"/>
                  <a:gd name="T1" fmla="*/ 0 h 51"/>
                  <a:gd name="T2" fmla="*/ 1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1 w 67"/>
                  <a:gd name="T19" fmla="*/ 0 h 5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7"/>
                  <a:gd name="T31" fmla="*/ 0 h 51"/>
                  <a:gd name="T32" fmla="*/ 67 w 67"/>
                  <a:gd name="T33" fmla="*/ 51 h 5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7" h="51">
                    <a:moveTo>
                      <a:pt x="61" y="10"/>
                    </a:moveTo>
                    <a:lnTo>
                      <a:pt x="67" y="51"/>
                    </a:lnTo>
                    <a:lnTo>
                      <a:pt x="0" y="20"/>
                    </a:lnTo>
                    <a:lnTo>
                      <a:pt x="19" y="17"/>
                    </a:lnTo>
                    <a:lnTo>
                      <a:pt x="12" y="17"/>
                    </a:lnTo>
                    <a:lnTo>
                      <a:pt x="19" y="9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22" y="0"/>
                    </a:lnTo>
                    <a:lnTo>
                      <a:pt x="61" y="1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0" name="Freeform 359"/>
              <p:cNvSpPr>
                <a:spLocks/>
              </p:cNvSpPr>
              <p:nvPr/>
            </p:nvSpPr>
            <p:spPr bwMode="auto">
              <a:xfrm>
                <a:off x="742047" y="65"/>
                <a:ext cx="4" cy="5"/>
              </a:xfrm>
              <a:custGeom>
                <a:avLst/>
                <a:gdLst>
                  <a:gd name="T0" fmla="*/ 0 w 18"/>
                  <a:gd name="T1" fmla="*/ 0 h 23"/>
                  <a:gd name="T2" fmla="*/ 0 w 18"/>
                  <a:gd name="T3" fmla="*/ 0 h 23"/>
                  <a:gd name="T4" fmla="*/ 0 w 18"/>
                  <a:gd name="T5" fmla="*/ 0 h 23"/>
                  <a:gd name="T6" fmla="*/ 0 w 18"/>
                  <a:gd name="T7" fmla="*/ 0 h 2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23"/>
                  <a:gd name="T14" fmla="*/ 18 w 18"/>
                  <a:gd name="T15" fmla="*/ 23 h 2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23">
                    <a:moveTo>
                      <a:pt x="11" y="6"/>
                    </a:moveTo>
                    <a:lnTo>
                      <a:pt x="18" y="23"/>
                    </a:lnTo>
                    <a:lnTo>
                      <a:pt x="0" y="0"/>
                    </a:lnTo>
                    <a:lnTo>
                      <a:pt x="11" y="6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1" name="Freeform 360"/>
              <p:cNvSpPr>
                <a:spLocks/>
              </p:cNvSpPr>
              <p:nvPr/>
            </p:nvSpPr>
            <p:spPr bwMode="auto">
              <a:xfrm>
                <a:off x="742015" y="72"/>
                <a:ext cx="30" cy="20"/>
              </a:xfrm>
              <a:custGeom>
                <a:avLst/>
                <a:gdLst>
                  <a:gd name="T0" fmla="*/ 1 w 134"/>
                  <a:gd name="T1" fmla="*/ 0 h 95"/>
                  <a:gd name="T2" fmla="*/ 1 w 134"/>
                  <a:gd name="T3" fmla="*/ 0 h 95"/>
                  <a:gd name="T4" fmla="*/ 1 w 134"/>
                  <a:gd name="T5" fmla="*/ 0 h 95"/>
                  <a:gd name="T6" fmla="*/ 1 w 134"/>
                  <a:gd name="T7" fmla="*/ 0 h 95"/>
                  <a:gd name="T8" fmla="*/ 2 w 134"/>
                  <a:gd name="T9" fmla="*/ 0 h 95"/>
                  <a:gd name="T10" fmla="*/ 1 w 134"/>
                  <a:gd name="T11" fmla="*/ 1 h 95"/>
                  <a:gd name="T12" fmla="*/ 0 w 134"/>
                  <a:gd name="T13" fmla="*/ 1 h 95"/>
                  <a:gd name="T14" fmla="*/ 1 w 134"/>
                  <a:gd name="T15" fmla="*/ 1 h 95"/>
                  <a:gd name="T16" fmla="*/ 0 w 134"/>
                  <a:gd name="T17" fmla="*/ 1 h 95"/>
                  <a:gd name="T18" fmla="*/ 1 w 134"/>
                  <a:gd name="T19" fmla="*/ 1 h 95"/>
                  <a:gd name="T20" fmla="*/ 0 w 134"/>
                  <a:gd name="T21" fmla="*/ 1 h 95"/>
                  <a:gd name="T22" fmla="*/ 0 w 134"/>
                  <a:gd name="T23" fmla="*/ 1 h 95"/>
                  <a:gd name="T24" fmla="*/ 0 w 134"/>
                  <a:gd name="T25" fmla="*/ 0 h 95"/>
                  <a:gd name="T26" fmla="*/ 0 w 134"/>
                  <a:gd name="T27" fmla="*/ 0 h 95"/>
                  <a:gd name="T28" fmla="*/ 1 w 134"/>
                  <a:gd name="T29" fmla="*/ 0 h 95"/>
                  <a:gd name="T30" fmla="*/ 1 w 134"/>
                  <a:gd name="T31" fmla="*/ 0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34"/>
                  <a:gd name="T49" fmla="*/ 0 h 95"/>
                  <a:gd name="T50" fmla="*/ 134 w 134"/>
                  <a:gd name="T51" fmla="*/ 95 h 9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34" h="95">
                    <a:moveTo>
                      <a:pt x="92" y="15"/>
                    </a:moveTo>
                    <a:lnTo>
                      <a:pt x="107" y="0"/>
                    </a:lnTo>
                    <a:lnTo>
                      <a:pt x="118" y="45"/>
                    </a:lnTo>
                    <a:lnTo>
                      <a:pt x="131" y="48"/>
                    </a:lnTo>
                    <a:lnTo>
                      <a:pt x="134" y="33"/>
                    </a:lnTo>
                    <a:lnTo>
                      <a:pt x="109" y="72"/>
                    </a:lnTo>
                    <a:lnTo>
                      <a:pt x="49" y="95"/>
                    </a:lnTo>
                    <a:lnTo>
                      <a:pt x="81" y="65"/>
                    </a:lnTo>
                    <a:lnTo>
                      <a:pt x="45" y="75"/>
                    </a:lnTo>
                    <a:lnTo>
                      <a:pt x="52" y="58"/>
                    </a:lnTo>
                    <a:lnTo>
                      <a:pt x="37" y="63"/>
                    </a:lnTo>
                    <a:lnTo>
                      <a:pt x="0" y="67"/>
                    </a:lnTo>
                    <a:lnTo>
                      <a:pt x="30" y="47"/>
                    </a:lnTo>
                    <a:lnTo>
                      <a:pt x="5" y="53"/>
                    </a:lnTo>
                    <a:lnTo>
                      <a:pt x="104" y="53"/>
                    </a:lnTo>
                    <a:lnTo>
                      <a:pt x="92" y="15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2" name="Freeform 361"/>
              <p:cNvSpPr>
                <a:spLocks/>
              </p:cNvSpPr>
              <p:nvPr/>
            </p:nvSpPr>
            <p:spPr bwMode="auto">
              <a:xfrm>
                <a:off x="742002" y="67"/>
                <a:ext cx="15" cy="14"/>
              </a:xfrm>
              <a:custGeom>
                <a:avLst/>
                <a:gdLst>
                  <a:gd name="T0" fmla="*/ 0 w 70"/>
                  <a:gd name="T1" fmla="*/ 0 h 64"/>
                  <a:gd name="T2" fmla="*/ 1 w 70"/>
                  <a:gd name="T3" fmla="*/ 0 h 64"/>
                  <a:gd name="T4" fmla="*/ 1 w 70"/>
                  <a:gd name="T5" fmla="*/ 0 h 64"/>
                  <a:gd name="T6" fmla="*/ 1 w 70"/>
                  <a:gd name="T7" fmla="*/ 0 h 64"/>
                  <a:gd name="T8" fmla="*/ 1 w 70"/>
                  <a:gd name="T9" fmla="*/ 0 h 64"/>
                  <a:gd name="T10" fmla="*/ 1 w 70"/>
                  <a:gd name="T11" fmla="*/ 0 h 64"/>
                  <a:gd name="T12" fmla="*/ 1 w 70"/>
                  <a:gd name="T13" fmla="*/ 0 h 64"/>
                  <a:gd name="T14" fmla="*/ 0 w 70"/>
                  <a:gd name="T15" fmla="*/ 1 h 64"/>
                  <a:gd name="T16" fmla="*/ 0 w 70"/>
                  <a:gd name="T17" fmla="*/ 0 h 64"/>
                  <a:gd name="T18" fmla="*/ 0 w 70"/>
                  <a:gd name="T19" fmla="*/ 1 h 64"/>
                  <a:gd name="T20" fmla="*/ 0 w 70"/>
                  <a:gd name="T21" fmla="*/ 0 h 64"/>
                  <a:gd name="T22" fmla="*/ 0 w 70"/>
                  <a:gd name="T23" fmla="*/ 1 h 64"/>
                  <a:gd name="T24" fmla="*/ 0 w 70"/>
                  <a:gd name="T25" fmla="*/ 0 h 6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0"/>
                  <a:gd name="T40" fmla="*/ 0 h 64"/>
                  <a:gd name="T41" fmla="*/ 70 w 70"/>
                  <a:gd name="T42" fmla="*/ 64 h 6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0" h="64">
                    <a:moveTo>
                      <a:pt x="33" y="19"/>
                    </a:moveTo>
                    <a:lnTo>
                      <a:pt x="58" y="4"/>
                    </a:lnTo>
                    <a:lnTo>
                      <a:pt x="58" y="9"/>
                    </a:lnTo>
                    <a:lnTo>
                      <a:pt x="70" y="5"/>
                    </a:lnTo>
                    <a:lnTo>
                      <a:pt x="67" y="0"/>
                    </a:lnTo>
                    <a:lnTo>
                      <a:pt x="60" y="44"/>
                    </a:lnTo>
                    <a:lnTo>
                      <a:pt x="60" y="27"/>
                    </a:lnTo>
                    <a:lnTo>
                      <a:pt x="30" y="64"/>
                    </a:lnTo>
                    <a:lnTo>
                      <a:pt x="25" y="49"/>
                    </a:lnTo>
                    <a:lnTo>
                      <a:pt x="5" y="59"/>
                    </a:lnTo>
                    <a:lnTo>
                      <a:pt x="5" y="51"/>
                    </a:lnTo>
                    <a:lnTo>
                      <a:pt x="0" y="54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3" name="Freeform 362"/>
              <p:cNvSpPr>
                <a:spLocks/>
              </p:cNvSpPr>
              <p:nvPr/>
            </p:nvSpPr>
            <p:spPr bwMode="auto">
              <a:xfrm>
                <a:off x="742030" y="62"/>
                <a:ext cx="6" cy="2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w 27"/>
                  <a:gd name="T9" fmla="*/ 0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2"/>
                  <a:gd name="T17" fmla="*/ 27 w 27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2">
                    <a:moveTo>
                      <a:pt x="0" y="0"/>
                    </a:moveTo>
                    <a:lnTo>
                      <a:pt x="27" y="2"/>
                    </a:lnTo>
                    <a:lnTo>
                      <a:pt x="7" y="10"/>
                    </a:lnTo>
                    <a:lnTo>
                      <a:pt x="22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4" name="Freeform 363"/>
              <p:cNvSpPr>
                <a:spLocks/>
              </p:cNvSpPr>
              <p:nvPr/>
            </p:nvSpPr>
            <p:spPr bwMode="auto">
              <a:xfrm>
                <a:off x="742027" y="56"/>
                <a:ext cx="10" cy="3"/>
              </a:xfrm>
              <a:custGeom>
                <a:avLst/>
                <a:gdLst>
                  <a:gd name="T0" fmla="*/ 0 w 46"/>
                  <a:gd name="T1" fmla="*/ 0 h 15"/>
                  <a:gd name="T2" fmla="*/ 0 w 46"/>
                  <a:gd name="T3" fmla="*/ 0 h 15"/>
                  <a:gd name="T4" fmla="*/ 0 w 46"/>
                  <a:gd name="T5" fmla="*/ 0 h 15"/>
                  <a:gd name="T6" fmla="*/ 0 w 46"/>
                  <a:gd name="T7" fmla="*/ 0 h 1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"/>
                  <a:gd name="T13" fmla="*/ 0 h 15"/>
                  <a:gd name="T14" fmla="*/ 46 w 46"/>
                  <a:gd name="T15" fmla="*/ 15 h 1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" h="15">
                    <a:moveTo>
                      <a:pt x="41" y="0"/>
                    </a:moveTo>
                    <a:lnTo>
                      <a:pt x="46" y="14"/>
                    </a:lnTo>
                    <a:lnTo>
                      <a:pt x="0" y="15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5" name="Freeform 364"/>
              <p:cNvSpPr>
                <a:spLocks/>
              </p:cNvSpPr>
              <p:nvPr/>
            </p:nvSpPr>
            <p:spPr bwMode="auto">
              <a:xfrm>
                <a:off x="742065" y="41"/>
                <a:ext cx="2" cy="5"/>
              </a:xfrm>
              <a:custGeom>
                <a:avLst/>
                <a:gdLst>
                  <a:gd name="T0" fmla="*/ 0 w 9"/>
                  <a:gd name="T1" fmla="*/ 0 h 23"/>
                  <a:gd name="T2" fmla="*/ 0 w 9"/>
                  <a:gd name="T3" fmla="*/ 0 h 23"/>
                  <a:gd name="T4" fmla="*/ 0 w 9"/>
                  <a:gd name="T5" fmla="*/ 0 h 23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23"/>
                  <a:gd name="T11" fmla="*/ 9 w 9"/>
                  <a:gd name="T12" fmla="*/ 23 h 2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23">
                    <a:moveTo>
                      <a:pt x="0" y="0"/>
                    </a:moveTo>
                    <a:lnTo>
                      <a:pt x="9" y="2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6" name="Freeform 365"/>
              <p:cNvSpPr>
                <a:spLocks/>
              </p:cNvSpPr>
              <p:nvPr/>
            </p:nvSpPr>
            <p:spPr bwMode="auto">
              <a:xfrm>
                <a:off x="742073" y="65"/>
                <a:ext cx="3" cy="1"/>
              </a:xfrm>
              <a:custGeom>
                <a:avLst/>
                <a:gdLst>
                  <a:gd name="T0" fmla="*/ 0 w 12"/>
                  <a:gd name="T1" fmla="*/ 0 h 6"/>
                  <a:gd name="T2" fmla="*/ 0 w 12"/>
                  <a:gd name="T3" fmla="*/ 0 h 6"/>
                  <a:gd name="T4" fmla="*/ 0 w 12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2"/>
                  <a:gd name="T10" fmla="*/ 0 h 6"/>
                  <a:gd name="T11" fmla="*/ 12 w 1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" h="6">
                    <a:moveTo>
                      <a:pt x="12" y="0"/>
                    </a:moveTo>
                    <a:lnTo>
                      <a:pt x="0" y="6"/>
                    </a:lnTo>
                    <a:lnTo>
                      <a:pt x="12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7" name="Freeform 366"/>
              <p:cNvSpPr>
                <a:spLocks/>
              </p:cNvSpPr>
              <p:nvPr/>
            </p:nvSpPr>
            <p:spPr bwMode="auto">
              <a:xfrm>
                <a:off x="742071" y="70"/>
                <a:ext cx="43" cy="23"/>
              </a:xfrm>
              <a:custGeom>
                <a:avLst/>
                <a:gdLst>
                  <a:gd name="T0" fmla="*/ 0 w 196"/>
                  <a:gd name="T1" fmla="*/ 0 h 108"/>
                  <a:gd name="T2" fmla="*/ 0 w 196"/>
                  <a:gd name="T3" fmla="*/ 0 h 108"/>
                  <a:gd name="T4" fmla="*/ 0 w 196"/>
                  <a:gd name="T5" fmla="*/ 0 h 108"/>
                  <a:gd name="T6" fmla="*/ 0 w 196"/>
                  <a:gd name="T7" fmla="*/ 0 h 108"/>
                  <a:gd name="T8" fmla="*/ 1 w 196"/>
                  <a:gd name="T9" fmla="*/ 1 h 108"/>
                  <a:gd name="T10" fmla="*/ 1 w 196"/>
                  <a:gd name="T11" fmla="*/ 1 h 108"/>
                  <a:gd name="T12" fmla="*/ 1 w 196"/>
                  <a:gd name="T13" fmla="*/ 1 h 108"/>
                  <a:gd name="T14" fmla="*/ 1 w 196"/>
                  <a:gd name="T15" fmla="*/ 1 h 108"/>
                  <a:gd name="T16" fmla="*/ 1 w 196"/>
                  <a:gd name="T17" fmla="*/ 1 h 108"/>
                  <a:gd name="T18" fmla="*/ 1 w 196"/>
                  <a:gd name="T19" fmla="*/ 1 h 108"/>
                  <a:gd name="T20" fmla="*/ 1 w 196"/>
                  <a:gd name="T21" fmla="*/ 1 h 108"/>
                  <a:gd name="T22" fmla="*/ 1 w 196"/>
                  <a:gd name="T23" fmla="*/ 1 h 108"/>
                  <a:gd name="T24" fmla="*/ 2 w 196"/>
                  <a:gd name="T25" fmla="*/ 1 h 108"/>
                  <a:gd name="T26" fmla="*/ 2 w 196"/>
                  <a:gd name="T27" fmla="*/ 1 h 108"/>
                  <a:gd name="T28" fmla="*/ 2 w 196"/>
                  <a:gd name="T29" fmla="*/ 1 h 108"/>
                  <a:gd name="T30" fmla="*/ 1 w 196"/>
                  <a:gd name="T31" fmla="*/ 1 h 108"/>
                  <a:gd name="T32" fmla="*/ 2 w 196"/>
                  <a:gd name="T33" fmla="*/ 1 h 108"/>
                  <a:gd name="T34" fmla="*/ 1 w 196"/>
                  <a:gd name="T35" fmla="*/ 1 h 108"/>
                  <a:gd name="T36" fmla="*/ 1 w 196"/>
                  <a:gd name="T37" fmla="*/ 1 h 108"/>
                  <a:gd name="T38" fmla="*/ 1 w 196"/>
                  <a:gd name="T39" fmla="*/ 1 h 108"/>
                  <a:gd name="T40" fmla="*/ 1 w 196"/>
                  <a:gd name="T41" fmla="*/ 1 h 108"/>
                  <a:gd name="T42" fmla="*/ 1 w 196"/>
                  <a:gd name="T43" fmla="*/ 1 h 108"/>
                  <a:gd name="T44" fmla="*/ 1 w 196"/>
                  <a:gd name="T45" fmla="*/ 0 h 108"/>
                  <a:gd name="T46" fmla="*/ 0 w 196"/>
                  <a:gd name="T47" fmla="*/ 0 h 10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96"/>
                  <a:gd name="T73" fmla="*/ 0 h 108"/>
                  <a:gd name="T74" fmla="*/ 196 w 196"/>
                  <a:gd name="T75" fmla="*/ 108 h 10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96" h="108">
                    <a:moveTo>
                      <a:pt x="24" y="0"/>
                    </a:moveTo>
                    <a:lnTo>
                      <a:pt x="0" y="4"/>
                    </a:lnTo>
                    <a:lnTo>
                      <a:pt x="7" y="12"/>
                    </a:lnTo>
                    <a:lnTo>
                      <a:pt x="0" y="9"/>
                    </a:lnTo>
                    <a:lnTo>
                      <a:pt x="66" y="101"/>
                    </a:lnTo>
                    <a:lnTo>
                      <a:pt x="71" y="94"/>
                    </a:lnTo>
                    <a:lnTo>
                      <a:pt x="72" y="101"/>
                    </a:lnTo>
                    <a:lnTo>
                      <a:pt x="72" y="96"/>
                    </a:lnTo>
                    <a:lnTo>
                      <a:pt x="91" y="94"/>
                    </a:lnTo>
                    <a:lnTo>
                      <a:pt x="94" y="99"/>
                    </a:lnTo>
                    <a:lnTo>
                      <a:pt x="128" y="103"/>
                    </a:lnTo>
                    <a:lnTo>
                      <a:pt x="131" y="108"/>
                    </a:lnTo>
                    <a:lnTo>
                      <a:pt x="141" y="106"/>
                    </a:lnTo>
                    <a:lnTo>
                      <a:pt x="143" y="98"/>
                    </a:lnTo>
                    <a:lnTo>
                      <a:pt x="196" y="61"/>
                    </a:lnTo>
                    <a:lnTo>
                      <a:pt x="128" y="66"/>
                    </a:lnTo>
                    <a:lnTo>
                      <a:pt x="136" y="72"/>
                    </a:lnTo>
                    <a:lnTo>
                      <a:pt x="121" y="74"/>
                    </a:lnTo>
                    <a:lnTo>
                      <a:pt x="109" y="69"/>
                    </a:lnTo>
                    <a:lnTo>
                      <a:pt x="97" y="61"/>
                    </a:lnTo>
                    <a:lnTo>
                      <a:pt x="94" y="71"/>
                    </a:lnTo>
                    <a:lnTo>
                      <a:pt x="67" y="56"/>
                    </a:lnTo>
                    <a:lnTo>
                      <a:pt x="77" y="46"/>
                    </a:lnTo>
                    <a:lnTo>
                      <a:pt x="24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8" name="Freeform 367"/>
              <p:cNvSpPr>
                <a:spLocks/>
              </p:cNvSpPr>
              <p:nvPr/>
            </p:nvSpPr>
            <p:spPr bwMode="auto">
              <a:xfrm>
                <a:off x="742073" y="74"/>
                <a:ext cx="7" cy="9"/>
              </a:xfrm>
              <a:custGeom>
                <a:avLst/>
                <a:gdLst>
                  <a:gd name="T0" fmla="*/ 0 w 32"/>
                  <a:gd name="T1" fmla="*/ 0 h 42"/>
                  <a:gd name="T2" fmla="*/ 0 w 32"/>
                  <a:gd name="T3" fmla="*/ 0 h 42"/>
                  <a:gd name="T4" fmla="*/ 0 w 32"/>
                  <a:gd name="T5" fmla="*/ 0 h 42"/>
                  <a:gd name="T6" fmla="*/ 0 w 32"/>
                  <a:gd name="T7" fmla="*/ 0 h 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"/>
                  <a:gd name="T13" fmla="*/ 0 h 42"/>
                  <a:gd name="T14" fmla="*/ 32 w 32"/>
                  <a:gd name="T15" fmla="*/ 42 h 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" h="42">
                    <a:moveTo>
                      <a:pt x="15" y="0"/>
                    </a:moveTo>
                    <a:lnTo>
                      <a:pt x="32" y="42"/>
                    </a:lnTo>
                    <a:lnTo>
                      <a:pt x="0" y="32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9" name="Freeform 368"/>
              <p:cNvSpPr>
                <a:spLocks/>
              </p:cNvSpPr>
              <p:nvPr/>
            </p:nvSpPr>
            <p:spPr bwMode="auto">
              <a:xfrm>
                <a:off x="742054" y="74"/>
                <a:ext cx="12" cy="17"/>
              </a:xfrm>
              <a:custGeom>
                <a:avLst/>
                <a:gdLst>
                  <a:gd name="T0" fmla="*/ 0 w 56"/>
                  <a:gd name="T1" fmla="*/ 0 h 77"/>
                  <a:gd name="T2" fmla="*/ 1 w 56"/>
                  <a:gd name="T3" fmla="*/ 0 h 77"/>
                  <a:gd name="T4" fmla="*/ 0 w 56"/>
                  <a:gd name="T5" fmla="*/ 1 h 77"/>
                  <a:gd name="T6" fmla="*/ 0 w 56"/>
                  <a:gd name="T7" fmla="*/ 0 h 7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6"/>
                  <a:gd name="T13" fmla="*/ 0 h 77"/>
                  <a:gd name="T14" fmla="*/ 56 w 56"/>
                  <a:gd name="T15" fmla="*/ 77 h 7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6" h="77">
                    <a:moveTo>
                      <a:pt x="2" y="0"/>
                    </a:moveTo>
                    <a:lnTo>
                      <a:pt x="56" y="6"/>
                    </a:lnTo>
                    <a:lnTo>
                      <a:pt x="0" y="77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0" name="Freeform 369"/>
              <p:cNvSpPr>
                <a:spLocks/>
              </p:cNvSpPr>
              <p:nvPr/>
            </p:nvSpPr>
            <p:spPr bwMode="auto">
              <a:xfrm>
                <a:off x="741992" y="97"/>
                <a:ext cx="55" cy="51"/>
              </a:xfrm>
              <a:custGeom>
                <a:avLst/>
                <a:gdLst>
                  <a:gd name="T0" fmla="*/ 0 w 249"/>
                  <a:gd name="T1" fmla="*/ 1 h 232"/>
                  <a:gd name="T2" fmla="*/ 0 w 249"/>
                  <a:gd name="T3" fmla="*/ 1 h 232"/>
                  <a:gd name="T4" fmla="*/ 0 w 249"/>
                  <a:gd name="T5" fmla="*/ 1 h 232"/>
                  <a:gd name="T6" fmla="*/ 0 w 249"/>
                  <a:gd name="T7" fmla="*/ 2 h 232"/>
                  <a:gd name="T8" fmla="*/ 1 w 249"/>
                  <a:gd name="T9" fmla="*/ 2 h 232"/>
                  <a:gd name="T10" fmla="*/ 1 w 249"/>
                  <a:gd name="T11" fmla="*/ 2 h 232"/>
                  <a:gd name="T12" fmla="*/ 1 w 249"/>
                  <a:gd name="T13" fmla="*/ 2 h 232"/>
                  <a:gd name="T14" fmla="*/ 0 w 249"/>
                  <a:gd name="T15" fmla="*/ 2 h 232"/>
                  <a:gd name="T16" fmla="*/ 0 w 249"/>
                  <a:gd name="T17" fmla="*/ 2 h 232"/>
                  <a:gd name="T18" fmla="*/ 0 w 249"/>
                  <a:gd name="T19" fmla="*/ 2 h 232"/>
                  <a:gd name="T20" fmla="*/ 1 w 249"/>
                  <a:gd name="T21" fmla="*/ 2 h 232"/>
                  <a:gd name="T22" fmla="*/ 1 w 249"/>
                  <a:gd name="T23" fmla="*/ 2 h 232"/>
                  <a:gd name="T24" fmla="*/ 1 w 249"/>
                  <a:gd name="T25" fmla="*/ 2 h 232"/>
                  <a:gd name="T26" fmla="*/ 2 w 249"/>
                  <a:gd name="T27" fmla="*/ 2 h 232"/>
                  <a:gd name="T28" fmla="*/ 2 w 249"/>
                  <a:gd name="T29" fmla="*/ 2 h 232"/>
                  <a:gd name="T30" fmla="*/ 2 w 249"/>
                  <a:gd name="T31" fmla="*/ 2 h 232"/>
                  <a:gd name="T32" fmla="*/ 2 w 249"/>
                  <a:gd name="T33" fmla="*/ 2 h 232"/>
                  <a:gd name="T34" fmla="*/ 2 w 249"/>
                  <a:gd name="T35" fmla="*/ 2 h 232"/>
                  <a:gd name="T36" fmla="*/ 2 w 249"/>
                  <a:gd name="T37" fmla="*/ 2 h 232"/>
                  <a:gd name="T38" fmla="*/ 3 w 249"/>
                  <a:gd name="T39" fmla="*/ 2 h 232"/>
                  <a:gd name="T40" fmla="*/ 3 w 249"/>
                  <a:gd name="T41" fmla="*/ 2 h 232"/>
                  <a:gd name="T42" fmla="*/ 2 w 249"/>
                  <a:gd name="T43" fmla="*/ 1 h 232"/>
                  <a:gd name="T44" fmla="*/ 2 w 249"/>
                  <a:gd name="T45" fmla="*/ 1 h 232"/>
                  <a:gd name="T46" fmla="*/ 2 w 249"/>
                  <a:gd name="T47" fmla="*/ 1 h 232"/>
                  <a:gd name="T48" fmla="*/ 2 w 249"/>
                  <a:gd name="T49" fmla="*/ 0 h 232"/>
                  <a:gd name="T50" fmla="*/ 2 w 249"/>
                  <a:gd name="T51" fmla="*/ 0 h 232"/>
                  <a:gd name="T52" fmla="*/ 2 w 249"/>
                  <a:gd name="T53" fmla="*/ 0 h 232"/>
                  <a:gd name="T54" fmla="*/ 2 w 249"/>
                  <a:gd name="T55" fmla="*/ 0 h 232"/>
                  <a:gd name="T56" fmla="*/ 1 w 249"/>
                  <a:gd name="T57" fmla="*/ 0 h 232"/>
                  <a:gd name="T58" fmla="*/ 1 w 249"/>
                  <a:gd name="T59" fmla="*/ 0 h 232"/>
                  <a:gd name="T60" fmla="*/ 1 w 249"/>
                  <a:gd name="T61" fmla="*/ 0 h 232"/>
                  <a:gd name="T62" fmla="*/ 1 w 249"/>
                  <a:gd name="T63" fmla="*/ 0 h 232"/>
                  <a:gd name="T64" fmla="*/ 1 w 249"/>
                  <a:gd name="T65" fmla="*/ 0 h 232"/>
                  <a:gd name="T66" fmla="*/ 0 w 249"/>
                  <a:gd name="T67" fmla="*/ 0 h 232"/>
                  <a:gd name="T68" fmla="*/ 0 w 249"/>
                  <a:gd name="T69" fmla="*/ 1 h 232"/>
                  <a:gd name="T70" fmla="*/ 0 w 249"/>
                  <a:gd name="T71" fmla="*/ 1 h 232"/>
                  <a:gd name="T72" fmla="*/ 0 w 249"/>
                  <a:gd name="T73" fmla="*/ 1 h 232"/>
                  <a:gd name="T74" fmla="*/ 0 w 249"/>
                  <a:gd name="T75" fmla="*/ 1 h 232"/>
                  <a:gd name="T76" fmla="*/ 0 w 249"/>
                  <a:gd name="T77" fmla="*/ 1 h 232"/>
                  <a:gd name="T78" fmla="*/ 0 w 249"/>
                  <a:gd name="T79" fmla="*/ 1 h 23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49"/>
                  <a:gd name="T121" fmla="*/ 0 h 232"/>
                  <a:gd name="T122" fmla="*/ 249 w 249"/>
                  <a:gd name="T123" fmla="*/ 232 h 23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49" h="232">
                    <a:moveTo>
                      <a:pt x="0" y="103"/>
                    </a:moveTo>
                    <a:lnTo>
                      <a:pt x="13" y="110"/>
                    </a:lnTo>
                    <a:lnTo>
                      <a:pt x="6" y="133"/>
                    </a:lnTo>
                    <a:lnTo>
                      <a:pt x="27" y="140"/>
                    </a:lnTo>
                    <a:lnTo>
                      <a:pt x="70" y="140"/>
                    </a:lnTo>
                    <a:lnTo>
                      <a:pt x="83" y="157"/>
                    </a:lnTo>
                    <a:lnTo>
                      <a:pt x="70" y="165"/>
                    </a:lnTo>
                    <a:lnTo>
                      <a:pt x="27" y="165"/>
                    </a:lnTo>
                    <a:lnTo>
                      <a:pt x="33" y="194"/>
                    </a:lnTo>
                    <a:lnTo>
                      <a:pt x="48" y="200"/>
                    </a:lnTo>
                    <a:lnTo>
                      <a:pt x="70" y="200"/>
                    </a:lnTo>
                    <a:lnTo>
                      <a:pt x="78" y="232"/>
                    </a:lnTo>
                    <a:lnTo>
                      <a:pt x="120" y="224"/>
                    </a:lnTo>
                    <a:lnTo>
                      <a:pt x="162" y="200"/>
                    </a:lnTo>
                    <a:lnTo>
                      <a:pt x="169" y="194"/>
                    </a:lnTo>
                    <a:lnTo>
                      <a:pt x="206" y="224"/>
                    </a:lnTo>
                    <a:lnTo>
                      <a:pt x="219" y="215"/>
                    </a:lnTo>
                    <a:lnTo>
                      <a:pt x="234" y="200"/>
                    </a:lnTo>
                    <a:lnTo>
                      <a:pt x="234" y="187"/>
                    </a:lnTo>
                    <a:lnTo>
                      <a:pt x="241" y="187"/>
                    </a:lnTo>
                    <a:lnTo>
                      <a:pt x="249" y="165"/>
                    </a:lnTo>
                    <a:lnTo>
                      <a:pt x="192" y="133"/>
                    </a:lnTo>
                    <a:lnTo>
                      <a:pt x="192" y="103"/>
                    </a:lnTo>
                    <a:lnTo>
                      <a:pt x="176" y="59"/>
                    </a:lnTo>
                    <a:lnTo>
                      <a:pt x="197" y="14"/>
                    </a:lnTo>
                    <a:lnTo>
                      <a:pt x="192" y="0"/>
                    </a:lnTo>
                    <a:lnTo>
                      <a:pt x="162" y="0"/>
                    </a:lnTo>
                    <a:lnTo>
                      <a:pt x="149" y="44"/>
                    </a:lnTo>
                    <a:lnTo>
                      <a:pt x="127" y="37"/>
                    </a:lnTo>
                    <a:lnTo>
                      <a:pt x="112" y="37"/>
                    </a:lnTo>
                    <a:lnTo>
                      <a:pt x="92" y="29"/>
                    </a:lnTo>
                    <a:lnTo>
                      <a:pt x="78" y="44"/>
                    </a:lnTo>
                    <a:lnTo>
                      <a:pt x="70" y="22"/>
                    </a:lnTo>
                    <a:lnTo>
                      <a:pt x="48" y="22"/>
                    </a:lnTo>
                    <a:lnTo>
                      <a:pt x="6" y="59"/>
                    </a:lnTo>
                    <a:lnTo>
                      <a:pt x="6" y="68"/>
                    </a:lnTo>
                    <a:lnTo>
                      <a:pt x="0" y="89"/>
                    </a:lnTo>
                    <a:lnTo>
                      <a:pt x="0" y="103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1" name="Freeform 370"/>
              <p:cNvSpPr>
                <a:spLocks/>
              </p:cNvSpPr>
              <p:nvPr/>
            </p:nvSpPr>
            <p:spPr bwMode="auto">
              <a:xfrm>
                <a:off x="742078" y="96"/>
                <a:ext cx="85" cy="104"/>
              </a:xfrm>
              <a:custGeom>
                <a:avLst/>
                <a:gdLst>
                  <a:gd name="T0" fmla="*/ 0 w 387"/>
                  <a:gd name="T1" fmla="*/ 2 h 476"/>
                  <a:gd name="T2" fmla="*/ 1 w 387"/>
                  <a:gd name="T3" fmla="*/ 2 h 476"/>
                  <a:gd name="T4" fmla="*/ 2 w 387"/>
                  <a:gd name="T5" fmla="*/ 2 h 476"/>
                  <a:gd name="T6" fmla="*/ 2 w 387"/>
                  <a:gd name="T7" fmla="*/ 2 h 476"/>
                  <a:gd name="T8" fmla="*/ 2 w 387"/>
                  <a:gd name="T9" fmla="*/ 2 h 476"/>
                  <a:gd name="T10" fmla="*/ 2 w 387"/>
                  <a:gd name="T11" fmla="*/ 3 h 476"/>
                  <a:gd name="T12" fmla="*/ 2 w 387"/>
                  <a:gd name="T13" fmla="*/ 3 h 476"/>
                  <a:gd name="T14" fmla="*/ 2 w 387"/>
                  <a:gd name="T15" fmla="*/ 4 h 476"/>
                  <a:gd name="T16" fmla="*/ 2 w 387"/>
                  <a:gd name="T17" fmla="*/ 4 h 476"/>
                  <a:gd name="T18" fmla="*/ 2 w 387"/>
                  <a:gd name="T19" fmla="*/ 4 h 476"/>
                  <a:gd name="T20" fmla="*/ 2 w 387"/>
                  <a:gd name="T21" fmla="*/ 4 h 476"/>
                  <a:gd name="T22" fmla="*/ 2 w 387"/>
                  <a:gd name="T23" fmla="*/ 4 h 476"/>
                  <a:gd name="T24" fmla="*/ 3 w 387"/>
                  <a:gd name="T25" fmla="*/ 5 h 476"/>
                  <a:gd name="T26" fmla="*/ 4 w 387"/>
                  <a:gd name="T27" fmla="*/ 5 h 476"/>
                  <a:gd name="T28" fmla="*/ 3 w 387"/>
                  <a:gd name="T29" fmla="*/ 5 h 476"/>
                  <a:gd name="T30" fmla="*/ 4 w 387"/>
                  <a:gd name="T31" fmla="*/ 5 h 476"/>
                  <a:gd name="T32" fmla="*/ 4 w 387"/>
                  <a:gd name="T33" fmla="*/ 4 h 476"/>
                  <a:gd name="T34" fmla="*/ 4 w 387"/>
                  <a:gd name="T35" fmla="*/ 4 h 476"/>
                  <a:gd name="T36" fmla="*/ 3 w 387"/>
                  <a:gd name="T37" fmla="*/ 4 h 476"/>
                  <a:gd name="T38" fmla="*/ 4 w 387"/>
                  <a:gd name="T39" fmla="*/ 4 h 476"/>
                  <a:gd name="T40" fmla="*/ 4 w 387"/>
                  <a:gd name="T41" fmla="*/ 4 h 476"/>
                  <a:gd name="T42" fmla="*/ 4 w 387"/>
                  <a:gd name="T43" fmla="*/ 4 h 476"/>
                  <a:gd name="T44" fmla="*/ 4 w 387"/>
                  <a:gd name="T45" fmla="*/ 3 h 476"/>
                  <a:gd name="T46" fmla="*/ 3 w 387"/>
                  <a:gd name="T47" fmla="*/ 3 h 476"/>
                  <a:gd name="T48" fmla="*/ 3 w 387"/>
                  <a:gd name="T49" fmla="*/ 2 h 476"/>
                  <a:gd name="T50" fmla="*/ 3 w 387"/>
                  <a:gd name="T51" fmla="*/ 2 h 476"/>
                  <a:gd name="T52" fmla="*/ 3 w 387"/>
                  <a:gd name="T53" fmla="*/ 2 h 476"/>
                  <a:gd name="T54" fmla="*/ 2 w 387"/>
                  <a:gd name="T55" fmla="*/ 1 h 476"/>
                  <a:gd name="T56" fmla="*/ 2 w 387"/>
                  <a:gd name="T57" fmla="*/ 1 h 476"/>
                  <a:gd name="T58" fmla="*/ 2 w 387"/>
                  <a:gd name="T59" fmla="*/ 1 h 476"/>
                  <a:gd name="T60" fmla="*/ 1 w 387"/>
                  <a:gd name="T61" fmla="*/ 1 h 476"/>
                  <a:gd name="T62" fmla="*/ 1 w 387"/>
                  <a:gd name="T63" fmla="*/ 0 h 476"/>
                  <a:gd name="T64" fmla="*/ 1 w 387"/>
                  <a:gd name="T65" fmla="*/ 0 h 476"/>
                  <a:gd name="T66" fmla="*/ 1 w 387"/>
                  <a:gd name="T67" fmla="*/ 1 h 476"/>
                  <a:gd name="T68" fmla="*/ 0 w 387"/>
                  <a:gd name="T69" fmla="*/ 1 h 476"/>
                  <a:gd name="T70" fmla="*/ 1 w 387"/>
                  <a:gd name="T71" fmla="*/ 0 h 476"/>
                  <a:gd name="T72" fmla="*/ 0 w 387"/>
                  <a:gd name="T73" fmla="*/ 1 h 476"/>
                  <a:gd name="T74" fmla="*/ 0 w 387"/>
                  <a:gd name="T75" fmla="*/ 1 h 47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87"/>
                  <a:gd name="T115" fmla="*/ 0 h 476"/>
                  <a:gd name="T116" fmla="*/ 387 w 387"/>
                  <a:gd name="T117" fmla="*/ 476 h 47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87" h="476">
                    <a:moveTo>
                      <a:pt x="0" y="104"/>
                    </a:moveTo>
                    <a:lnTo>
                      <a:pt x="39" y="166"/>
                    </a:lnTo>
                    <a:lnTo>
                      <a:pt x="109" y="188"/>
                    </a:lnTo>
                    <a:lnTo>
                      <a:pt x="118" y="188"/>
                    </a:lnTo>
                    <a:lnTo>
                      <a:pt x="138" y="197"/>
                    </a:lnTo>
                    <a:lnTo>
                      <a:pt x="151" y="197"/>
                    </a:lnTo>
                    <a:lnTo>
                      <a:pt x="160" y="166"/>
                    </a:lnTo>
                    <a:lnTo>
                      <a:pt x="166" y="188"/>
                    </a:lnTo>
                    <a:lnTo>
                      <a:pt x="195" y="210"/>
                    </a:lnTo>
                    <a:lnTo>
                      <a:pt x="180" y="234"/>
                    </a:lnTo>
                    <a:lnTo>
                      <a:pt x="201" y="225"/>
                    </a:lnTo>
                    <a:lnTo>
                      <a:pt x="208" y="242"/>
                    </a:lnTo>
                    <a:lnTo>
                      <a:pt x="223" y="257"/>
                    </a:lnTo>
                    <a:lnTo>
                      <a:pt x="237" y="286"/>
                    </a:lnTo>
                    <a:lnTo>
                      <a:pt x="208" y="333"/>
                    </a:lnTo>
                    <a:lnTo>
                      <a:pt x="217" y="355"/>
                    </a:lnTo>
                    <a:lnTo>
                      <a:pt x="208" y="363"/>
                    </a:lnTo>
                    <a:lnTo>
                      <a:pt x="166" y="355"/>
                    </a:lnTo>
                    <a:lnTo>
                      <a:pt x="166" y="370"/>
                    </a:lnTo>
                    <a:lnTo>
                      <a:pt x="160" y="370"/>
                    </a:lnTo>
                    <a:lnTo>
                      <a:pt x="160" y="400"/>
                    </a:lnTo>
                    <a:lnTo>
                      <a:pt x="180" y="400"/>
                    </a:lnTo>
                    <a:lnTo>
                      <a:pt x="195" y="393"/>
                    </a:lnTo>
                    <a:lnTo>
                      <a:pt x="208" y="393"/>
                    </a:lnTo>
                    <a:lnTo>
                      <a:pt x="247" y="418"/>
                    </a:lnTo>
                    <a:lnTo>
                      <a:pt x="247" y="429"/>
                    </a:lnTo>
                    <a:lnTo>
                      <a:pt x="294" y="467"/>
                    </a:lnTo>
                    <a:lnTo>
                      <a:pt x="322" y="476"/>
                    </a:lnTo>
                    <a:lnTo>
                      <a:pt x="322" y="467"/>
                    </a:lnTo>
                    <a:lnTo>
                      <a:pt x="289" y="429"/>
                    </a:lnTo>
                    <a:lnTo>
                      <a:pt x="289" y="410"/>
                    </a:lnTo>
                    <a:lnTo>
                      <a:pt x="330" y="445"/>
                    </a:lnTo>
                    <a:lnTo>
                      <a:pt x="346" y="445"/>
                    </a:lnTo>
                    <a:lnTo>
                      <a:pt x="346" y="418"/>
                    </a:lnTo>
                    <a:lnTo>
                      <a:pt x="337" y="410"/>
                    </a:lnTo>
                    <a:lnTo>
                      <a:pt x="337" y="393"/>
                    </a:lnTo>
                    <a:lnTo>
                      <a:pt x="310" y="363"/>
                    </a:lnTo>
                    <a:lnTo>
                      <a:pt x="300" y="346"/>
                    </a:lnTo>
                    <a:lnTo>
                      <a:pt x="310" y="326"/>
                    </a:lnTo>
                    <a:lnTo>
                      <a:pt x="330" y="346"/>
                    </a:lnTo>
                    <a:lnTo>
                      <a:pt x="337" y="363"/>
                    </a:lnTo>
                    <a:lnTo>
                      <a:pt x="352" y="370"/>
                    </a:lnTo>
                    <a:lnTo>
                      <a:pt x="352" y="355"/>
                    </a:lnTo>
                    <a:lnTo>
                      <a:pt x="374" y="355"/>
                    </a:lnTo>
                    <a:lnTo>
                      <a:pt x="387" y="318"/>
                    </a:lnTo>
                    <a:lnTo>
                      <a:pt x="337" y="257"/>
                    </a:lnTo>
                    <a:lnTo>
                      <a:pt x="310" y="257"/>
                    </a:lnTo>
                    <a:lnTo>
                      <a:pt x="294" y="242"/>
                    </a:lnTo>
                    <a:lnTo>
                      <a:pt x="294" y="225"/>
                    </a:lnTo>
                    <a:lnTo>
                      <a:pt x="310" y="210"/>
                    </a:lnTo>
                    <a:lnTo>
                      <a:pt x="294" y="197"/>
                    </a:lnTo>
                    <a:lnTo>
                      <a:pt x="300" y="188"/>
                    </a:lnTo>
                    <a:lnTo>
                      <a:pt x="294" y="158"/>
                    </a:lnTo>
                    <a:lnTo>
                      <a:pt x="267" y="149"/>
                    </a:lnTo>
                    <a:lnTo>
                      <a:pt x="252" y="119"/>
                    </a:lnTo>
                    <a:lnTo>
                      <a:pt x="217" y="104"/>
                    </a:lnTo>
                    <a:lnTo>
                      <a:pt x="208" y="69"/>
                    </a:lnTo>
                    <a:lnTo>
                      <a:pt x="195" y="69"/>
                    </a:lnTo>
                    <a:lnTo>
                      <a:pt x="166" y="54"/>
                    </a:lnTo>
                    <a:lnTo>
                      <a:pt x="151" y="69"/>
                    </a:lnTo>
                    <a:lnTo>
                      <a:pt x="131" y="69"/>
                    </a:lnTo>
                    <a:lnTo>
                      <a:pt x="118" y="86"/>
                    </a:lnTo>
                    <a:lnTo>
                      <a:pt x="124" y="54"/>
                    </a:lnTo>
                    <a:lnTo>
                      <a:pt x="118" y="39"/>
                    </a:lnTo>
                    <a:lnTo>
                      <a:pt x="118" y="0"/>
                    </a:lnTo>
                    <a:lnTo>
                      <a:pt x="96" y="0"/>
                    </a:lnTo>
                    <a:lnTo>
                      <a:pt x="66" y="47"/>
                    </a:lnTo>
                    <a:lnTo>
                      <a:pt x="59" y="86"/>
                    </a:lnTo>
                    <a:lnTo>
                      <a:pt x="66" y="112"/>
                    </a:lnTo>
                    <a:lnTo>
                      <a:pt x="46" y="101"/>
                    </a:lnTo>
                    <a:lnTo>
                      <a:pt x="46" y="47"/>
                    </a:lnTo>
                    <a:lnTo>
                      <a:pt x="81" y="0"/>
                    </a:lnTo>
                    <a:lnTo>
                      <a:pt x="39" y="0"/>
                    </a:lnTo>
                    <a:lnTo>
                      <a:pt x="0" y="76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2" name="Freeform 371"/>
              <p:cNvSpPr>
                <a:spLocks/>
              </p:cNvSpPr>
              <p:nvPr/>
            </p:nvSpPr>
            <p:spPr bwMode="auto">
              <a:xfrm>
                <a:off x="741927" y="92"/>
                <a:ext cx="253" cy="215"/>
              </a:xfrm>
              <a:custGeom>
                <a:avLst/>
                <a:gdLst>
                  <a:gd name="T0" fmla="*/ 8 w 1151"/>
                  <a:gd name="T1" fmla="*/ 10 h 980"/>
                  <a:gd name="T2" fmla="*/ 9 w 1151"/>
                  <a:gd name="T3" fmla="*/ 10 h 980"/>
                  <a:gd name="T4" fmla="*/ 9 w 1151"/>
                  <a:gd name="T5" fmla="*/ 9 h 980"/>
                  <a:gd name="T6" fmla="*/ 8 w 1151"/>
                  <a:gd name="T7" fmla="*/ 9 h 980"/>
                  <a:gd name="T8" fmla="*/ 7 w 1151"/>
                  <a:gd name="T9" fmla="*/ 9 h 980"/>
                  <a:gd name="T10" fmla="*/ 7 w 1151"/>
                  <a:gd name="T11" fmla="*/ 9 h 980"/>
                  <a:gd name="T12" fmla="*/ 2 w 1151"/>
                  <a:gd name="T13" fmla="*/ 7 h 980"/>
                  <a:gd name="T14" fmla="*/ 1 w 1151"/>
                  <a:gd name="T15" fmla="*/ 6 h 980"/>
                  <a:gd name="T16" fmla="*/ 0 w 1151"/>
                  <a:gd name="T17" fmla="*/ 6 h 980"/>
                  <a:gd name="T18" fmla="*/ 0 w 1151"/>
                  <a:gd name="T19" fmla="*/ 2 h 980"/>
                  <a:gd name="T20" fmla="*/ 1 w 1151"/>
                  <a:gd name="T21" fmla="*/ 2 h 980"/>
                  <a:gd name="T22" fmla="*/ 2 w 1151"/>
                  <a:gd name="T23" fmla="*/ 2 h 980"/>
                  <a:gd name="T24" fmla="*/ 2 w 1151"/>
                  <a:gd name="T25" fmla="*/ 2 h 980"/>
                  <a:gd name="T26" fmla="*/ 3 w 1151"/>
                  <a:gd name="T27" fmla="*/ 2 h 980"/>
                  <a:gd name="T28" fmla="*/ 3 w 1151"/>
                  <a:gd name="T29" fmla="*/ 2 h 980"/>
                  <a:gd name="T30" fmla="*/ 4 w 1151"/>
                  <a:gd name="T31" fmla="*/ 3 h 980"/>
                  <a:gd name="T32" fmla="*/ 5 w 1151"/>
                  <a:gd name="T33" fmla="*/ 3 h 980"/>
                  <a:gd name="T34" fmla="*/ 5 w 1151"/>
                  <a:gd name="T35" fmla="*/ 3 h 980"/>
                  <a:gd name="T36" fmla="*/ 6 w 1151"/>
                  <a:gd name="T37" fmla="*/ 3 h 980"/>
                  <a:gd name="T38" fmla="*/ 6 w 1151"/>
                  <a:gd name="T39" fmla="*/ 2 h 980"/>
                  <a:gd name="T40" fmla="*/ 6 w 1151"/>
                  <a:gd name="T41" fmla="*/ 3 h 980"/>
                  <a:gd name="T42" fmla="*/ 6 w 1151"/>
                  <a:gd name="T43" fmla="*/ 2 h 980"/>
                  <a:gd name="T44" fmla="*/ 7 w 1151"/>
                  <a:gd name="T45" fmla="*/ 0 h 980"/>
                  <a:gd name="T46" fmla="*/ 7 w 1151"/>
                  <a:gd name="T47" fmla="*/ 1 h 980"/>
                  <a:gd name="T48" fmla="*/ 7 w 1151"/>
                  <a:gd name="T49" fmla="*/ 2 h 980"/>
                  <a:gd name="T50" fmla="*/ 7 w 1151"/>
                  <a:gd name="T51" fmla="*/ 2 h 980"/>
                  <a:gd name="T52" fmla="*/ 8 w 1151"/>
                  <a:gd name="T53" fmla="*/ 3 h 980"/>
                  <a:gd name="T54" fmla="*/ 8 w 1151"/>
                  <a:gd name="T55" fmla="*/ 2 h 980"/>
                  <a:gd name="T56" fmla="*/ 9 w 1151"/>
                  <a:gd name="T57" fmla="*/ 3 h 980"/>
                  <a:gd name="T58" fmla="*/ 9 w 1151"/>
                  <a:gd name="T59" fmla="*/ 3 h 980"/>
                  <a:gd name="T60" fmla="*/ 8 w 1151"/>
                  <a:gd name="T61" fmla="*/ 4 h 980"/>
                  <a:gd name="T62" fmla="*/ 7 w 1151"/>
                  <a:gd name="T63" fmla="*/ 4 h 980"/>
                  <a:gd name="T64" fmla="*/ 7 w 1151"/>
                  <a:gd name="T65" fmla="*/ 5 h 980"/>
                  <a:gd name="T66" fmla="*/ 7 w 1151"/>
                  <a:gd name="T67" fmla="*/ 6 h 980"/>
                  <a:gd name="T68" fmla="*/ 7 w 1151"/>
                  <a:gd name="T69" fmla="*/ 7 h 980"/>
                  <a:gd name="T70" fmla="*/ 8 w 1151"/>
                  <a:gd name="T71" fmla="*/ 7 h 980"/>
                  <a:gd name="T72" fmla="*/ 9 w 1151"/>
                  <a:gd name="T73" fmla="*/ 8 h 980"/>
                  <a:gd name="T74" fmla="*/ 9 w 1151"/>
                  <a:gd name="T75" fmla="*/ 6 h 980"/>
                  <a:gd name="T76" fmla="*/ 9 w 1151"/>
                  <a:gd name="T77" fmla="*/ 6 h 980"/>
                  <a:gd name="T78" fmla="*/ 9 w 1151"/>
                  <a:gd name="T79" fmla="*/ 5 h 980"/>
                  <a:gd name="T80" fmla="*/ 10 w 1151"/>
                  <a:gd name="T81" fmla="*/ 5 h 980"/>
                  <a:gd name="T82" fmla="*/ 10 w 1151"/>
                  <a:gd name="T83" fmla="*/ 6 h 980"/>
                  <a:gd name="T84" fmla="*/ 11 w 1151"/>
                  <a:gd name="T85" fmla="*/ 6 h 980"/>
                  <a:gd name="T86" fmla="*/ 11 w 1151"/>
                  <a:gd name="T87" fmla="*/ 7 h 980"/>
                  <a:gd name="T88" fmla="*/ 12 w 1151"/>
                  <a:gd name="T89" fmla="*/ 7 h 980"/>
                  <a:gd name="T90" fmla="*/ 12 w 1151"/>
                  <a:gd name="T91" fmla="*/ 8 h 980"/>
                  <a:gd name="T92" fmla="*/ 12 w 1151"/>
                  <a:gd name="T93" fmla="*/ 8 h 980"/>
                  <a:gd name="T94" fmla="*/ 11 w 1151"/>
                  <a:gd name="T95" fmla="*/ 8 h 980"/>
                  <a:gd name="T96" fmla="*/ 10 w 1151"/>
                  <a:gd name="T97" fmla="*/ 9 h 980"/>
                  <a:gd name="T98" fmla="*/ 11 w 1151"/>
                  <a:gd name="T99" fmla="*/ 9 h 980"/>
                  <a:gd name="T100" fmla="*/ 11 w 1151"/>
                  <a:gd name="T101" fmla="*/ 9 h 980"/>
                  <a:gd name="T102" fmla="*/ 11 w 1151"/>
                  <a:gd name="T103" fmla="*/ 9 h 980"/>
                  <a:gd name="T104" fmla="*/ 11 w 1151"/>
                  <a:gd name="T105" fmla="*/ 9 h 980"/>
                  <a:gd name="T106" fmla="*/ 11 w 1151"/>
                  <a:gd name="T107" fmla="*/ 10 h 980"/>
                  <a:gd name="T108" fmla="*/ 11 w 1151"/>
                  <a:gd name="T109" fmla="*/ 9 h 980"/>
                  <a:gd name="T110" fmla="*/ 10 w 1151"/>
                  <a:gd name="T111" fmla="*/ 9 h 980"/>
                  <a:gd name="T112" fmla="*/ 10 w 1151"/>
                  <a:gd name="T113" fmla="*/ 10 h 980"/>
                  <a:gd name="T114" fmla="*/ 9 w 1151"/>
                  <a:gd name="T115" fmla="*/ 10 h 98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151"/>
                  <a:gd name="T175" fmla="*/ 0 h 980"/>
                  <a:gd name="T176" fmla="*/ 1151 w 1151"/>
                  <a:gd name="T177" fmla="*/ 980 h 98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151" h="980">
                    <a:moveTo>
                      <a:pt x="836" y="933"/>
                    </a:moveTo>
                    <a:lnTo>
                      <a:pt x="836" y="949"/>
                    </a:lnTo>
                    <a:lnTo>
                      <a:pt x="803" y="956"/>
                    </a:lnTo>
                    <a:lnTo>
                      <a:pt x="796" y="971"/>
                    </a:lnTo>
                    <a:lnTo>
                      <a:pt x="775" y="980"/>
                    </a:lnTo>
                    <a:lnTo>
                      <a:pt x="796" y="949"/>
                    </a:lnTo>
                    <a:lnTo>
                      <a:pt x="783" y="949"/>
                    </a:lnTo>
                    <a:lnTo>
                      <a:pt x="803" y="941"/>
                    </a:lnTo>
                    <a:lnTo>
                      <a:pt x="803" y="904"/>
                    </a:lnTo>
                    <a:lnTo>
                      <a:pt x="816" y="926"/>
                    </a:lnTo>
                    <a:lnTo>
                      <a:pt x="825" y="911"/>
                    </a:lnTo>
                    <a:lnTo>
                      <a:pt x="810" y="897"/>
                    </a:lnTo>
                    <a:lnTo>
                      <a:pt x="768" y="879"/>
                    </a:lnTo>
                    <a:lnTo>
                      <a:pt x="761" y="874"/>
                    </a:lnTo>
                    <a:lnTo>
                      <a:pt x="753" y="850"/>
                    </a:lnTo>
                    <a:lnTo>
                      <a:pt x="746" y="850"/>
                    </a:lnTo>
                    <a:lnTo>
                      <a:pt x="731" y="828"/>
                    </a:lnTo>
                    <a:lnTo>
                      <a:pt x="718" y="822"/>
                    </a:lnTo>
                    <a:lnTo>
                      <a:pt x="687" y="850"/>
                    </a:lnTo>
                    <a:lnTo>
                      <a:pt x="667" y="850"/>
                    </a:lnTo>
                    <a:lnTo>
                      <a:pt x="646" y="828"/>
                    </a:lnTo>
                    <a:lnTo>
                      <a:pt x="634" y="828"/>
                    </a:lnTo>
                    <a:lnTo>
                      <a:pt x="624" y="813"/>
                    </a:lnTo>
                    <a:lnTo>
                      <a:pt x="619" y="822"/>
                    </a:lnTo>
                    <a:lnTo>
                      <a:pt x="240" y="822"/>
                    </a:lnTo>
                    <a:lnTo>
                      <a:pt x="178" y="775"/>
                    </a:lnTo>
                    <a:lnTo>
                      <a:pt x="170" y="746"/>
                    </a:lnTo>
                    <a:lnTo>
                      <a:pt x="135" y="709"/>
                    </a:lnTo>
                    <a:lnTo>
                      <a:pt x="141" y="699"/>
                    </a:lnTo>
                    <a:lnTo>
                      <a:pt x="141" y="655"/>
                    </a:lnTo>
                    <a:lnTo>
                      <a:pt x="119" y="632"/>
                    </a:lnTo>
                    <a:lnTo>
                      <a:pt x="93" y="580"/>
                    </a:lnTo>
                    <a:lnTo>
                      <a:pt x="86" y="580"/>
                    </a:lnTo>
                    <a:lnTo>
                      <a:pt x="78" y="549"/>
                    </a:lnTo>
                    <a:lnTo>
                      <a:pt x="64" y="565"/>
                    </a:lnTo>
                    <a:lnTo>
                      <a:pt x="47" y="573"/>
                    </a:lnTo>
                    <a:lnTo>
                      <a:pt x="27" y="543"/>
                    </a:lnTo>
                    <a:lnTo>
                      <a:pt x="27" y="534"/>
                    </a:lnTo>
                    <a:lnTo>
                      <a:pt x="0" y="543"/>
                    </a:lnTo>
                    <a:lnTo>
                      <a:pt x="0" y="210"/>
                    </a:lnTo>
                    <a:lnTo>
                      <a:pt x="21" y="210"/>
                    </a:lnTo>
                    <a:lnTo>
                      <a:pt x="71" y="247"/>
                    </a:lnTo>
                    <a:lnTo>
                      <a:pt x="71" y="223"/>
                    </a:lnTo>
                    <a:lnTo>
                      <a:pt x="78" y="217"/>
                    </a:lnTo>
                    <a:lnTo>
                      <a:pt x="93" y="210"/>
                    </a:lnTo>
                    <a:lnTo>
                      <a:pt x="106" y="217"/>
                    </a:lnTo>
                    <a:lnTo>
                      <a:pt x="156" y="180"/>
                    </a:lnTo>
                    <a:lnTo>
                      <a:pt x="156" y="201"/>
                    </a:lnTo>
                    <a:lnTo>
                      <a:pt x="170" y="201"/>
                    </a:lnTo>
                    <a:lnTo>
                      <a:pt x="178" y="171"/>
                    </a:lnTo>
                    <a:lnTo>
                      <a:pt x="200" y="188"/>
                    </a:lnTo>
                    <a:lnTo>
                      <a:pt x="200" y="210"/>
                    </a:lnTo>
                    <a:lnTo>
                      <a:pt x="215" y="217"/>
                    </a:lnTo>
                    <a:lnTo>
                      <a:pt x="222" y="201"/>
                    </a:lnTo>
                    <a:lnTo>
                      <a:pt x="222" y="217"/>
                    </a:lnTo>
                    <a:lnTo>
                      <a:pt x="240" y="217"/>
                    </a:lnTo>
                    <a:lnTo>
                      <a:pt x="240" y="201"/>
                    </a:lnTo>
                    <a:lnTo>
                      <a:pt x="262" y="201"/>
                    </a:lnTo>
                    <a:lnTo>
                      <a:pt x="300" y="223"/>
                    </a:lnTo>
                    <a:lnTo>
                      <a:pt x="312" y="238"/>
                    </a:lnTo>
                    <a:lnTo>
                      <a:pt x="334" y="238"/>
                    </a:lnTo>
                    <a:lnTo>
                      <a:pt x="354" y="247"/>
                    </a:lnTo>
                    <a:lnTo>
                      <a:pt x="354" y="264"/>
                    </a:lnTo>
                    <a:lnTo>
                      <a:pt x="349" y="270"/>
                    </a:lnTo>
                    <a:lnTo>
                      <a:pt x="349" y="284"/>
                    </a:lnTo>
                    <a:lnTo>
                      <a:pt x="377" y="292"/>
                    </a:lnTo>
                    <a:lnTo>
                      <a:pt x="419" y="270"/>
                    </a:lnTo>
                    <a:lnTo>
                      <a:pt x="448" y="292"/>
                    </a:lnTo>
                    <a:lnTo>
                      <a:pt x="448" y="270"/>
                    </a:lnTo>
                    <a:lnTo>
                      <a:pt x="433" y="264"/>
                    </a:lnTo>
                    <a:lnTo>
                      <a:pt x="475" y="238"/>
                    </a:lnTo>
                    <a:lnTo>
                      <a:pt x="491" y="264"/>
                    </a:lnTo>
                    <a:lnTo>
                      <a:pt x="555" y="292"/>
                    </a:lnTo>
                    <a:lnTo>
                      <a:pt x="577" y="292"/>
                    </a:lnTo>
                    <a:lnTo>
                      <a:pt x="577" y="264"/>
                    </a:lnTo>
                    <a:lnTo>
                      <a:pt x="584" y="254"/>
                    </a:lnTo>
                    <a:lnTo>
                      <a:pt x="555" y="238"/>
                    </a:lnTo>
                    <a:lnTo>
                      <a:pt x="577" y="223"/>
                    </a:lnTo>
                    <a:lnTo>
                      <a:pt x="584" y="201"/>
                    </a:lnTo>
                    <a:lnTo>
                      <a:pt x="597" y="223"/>
                    </a:lnTo>
                    <a:lnTo>
                      <a:pt x="619" y="247"/>
                    </a:lnTo>
                    <a:lnTo>
                      <a:pt x="597" y="264"/>
                    </a:lnTo>
                    <a:lnTo>
                      <a:pt x="597" y="284"/>
                    </a:lnTo>
                    <a:lnTo>
                      <a:pt x="604" y="292"/>
                    </a:lnTo>
                    <a:lnTo>
                      <a:pt x="634" y="254"/>
                    </a:lnTo>
                    <a:lnTo>
                      <a:pt x="624" y="238"/>
                    </a:lnTo>
                    <a:lnTo>
                      <a:pt x="634" y="217"/>
                    </a:lnTo>
                    <a:lnTo>
                      <a:pt x="597" y="180"/>
                    </a:lnTo>
                    <a:lnTo>
                      <a:pt x="604" y="126"/>
                    </a:lnTo>
                    <a:lnTo>
                      <a:pt x="624" y="117"/>
                    </a:lnTo>
                    <a:lnTo>
                      <a:pt x="619" y="6"/>
                    </a:lnTo>
                    <a:lnTo>
                      <a:pt x="646" y="0"/>
                    </a:lnTo>
                    <a:lnTo>
                      <a:pt x="676" y="6"/>
                    </a:lnTo>
                    <a:lnTo>
                      <a:pt x="681" y="15"/>
                    </a:lnTo>
                    <a:lnTo>
                      <a:pt x="661" y="67"/>
                    </a:lnTo>
                    <a:lnTo>
                      <a:pt x="646" y="67"/>
                    </a:lnTo>
                    <a:lnTo>
                      <a:pt x="634" y="82"/>
                    </a:lnTo>
                    <a:lnTo>
                      <a:pt x="639" y="99"/>
                    </a:lnTo>
                    <a:lnTo>
                      <a:pt x="634" y="114"/>
                    </a:lnTo>
                    <a:lnTo>
                      <a:pt x="667" y="188"/>
                    </a:lnTo>
                    <a:lnTo>
                      <a:pt x="661" y="210"/>
                    </a:lnTo>
                    <a:lnTo>
                      <a:pt x="667" y="217"/>
                    </a:lnTo>
                    <a:lnTo>
                      <a:pt x="687" y="254"/>
                    </a:lnTo>
                    <a:lnTo>
                      <a:pt x="702" y="223"/>
                    </a:lnTo>
                    <a:lnTo>
                      <a:pt x="718" y="247"/>
                    </a:lnTo>
                    <a:lnTo>
                      <a:pt x="709" y="284"/>
                    </a:lnTo>
                    <a:lnTo>
                      <a:pt x="726" y="299"/>
                    </a:lnTo>
                    <a:lnTo>
                      <a:pt x="731" y="299"/>
                    </a:lnTo>
                    <a:lnTo>
                      <a:pt x="731" y="284"/>
                    </a:lnTo>
                    <a:lnTo>
                      <a:pt x="753" y="270"/>
                    </a:lnTo>
                    <a:lnTo>
                      <a:pt x="753" y="201"/>
                    </a:lnTo>
                    <a:lnTo>
                      <a:pt x="768" y="201"/>
                    </a:lnTo>
                    <a:lnTo>
                      <a:pt x="783" y="210"/>
                    </a:lnTo>
                    <a:lnTo>
                      <a:pt x="783" y="223"/>
                    </a:lnTo>
                    <a:lnTo>
                      <a:pt x="803" y="223"/>
                    </a:lnTo>
                    <a:lnTo>
                      <a:pt x="803" y="254"/>
                    </a:lnTo>
                    <a:lnTo>
                      <a:pt x="783" y="264"/>
                    </a:lnTo>
                    <a:lnTo>
                      <a:pt x="783" y="284"/>
                    </a:lnTo>
                    <a:lnTo>
                      <a:pt x="803" y="292"/>
                    </a:lnTo>
                    <a:lnTo>
                      <a:pt x="803" y="307"/>
                    </a:lnTo>
                    <a:lnTo>
                      <a:pt x="768" y="344"/>
                    </a:lnTo>
                    <a:lnTo>
                      <a:pt x="753" y="338"/>
                    </a:lnTo>
                    <a:lnTo>
                      <a:pt x="753" y="331"/>
                    </a:lnTo>
                    <a:lnTo>
                      <a:pt x="731" y="331"/>
                    </a:lnTo>
                    <a:lnTo>
                      <a:pt x="746" y="344"/>
                    </a:lnTo>
                    <a:lnTo>
                      <a:pt x="726" y="366"/>
                    </a:lnTo>
                    <a:lnTo>
                      <a:pt x="726" y="383"/>
                    </a:lnTo>
                    <a:lnTo>
                      <a:pt x="709" y="422"/>
                    </a:lnTo>
                    <a:lnTo>
                      <a:pt x="687" y="422"/>
                    </a:lnTo>
                    <a:lnTo>
                      <a:pt x="676" y="442"/>
                    </a:lnTo>
                    <a:lnTo>
                      <a:pt x="681" y="457"/>
                    </a:lnTo>
                    <a:lnTo>
                      <a:pt x="661" y="465"/>
                    </a:lnTo>
                    <a:lnTo>
                      <a:pt x="661" y="487"/>
                    </a:lnTo>
                    <a:lnTo>
                      <a:pt x="646" y="487"/>
                    </a:lnTo>
                    <a:lnTo>
                      <a:pt x="624" y="543"/>
                    </a:lnTo>
                    <a:lnTo>
                      <a:pt x="624" y="573"/>
                    </a:lnTo>
                    <a:lnTo>
                      <a:pt x="634" y="580"/>
                    </a:lnTo>
                    <a:lnTo>
                      <a:pt x="646" y="580"/>
                    </a:lnTo>
                    <a:lnTo>
                      <a:pt x="661" y="632"/>
                    </a:lnTo>
                    <a:lnTo>
                      <a:pt x="676" y="625"/>
                    </a:lnTo>
                    <a:lnTo>
                      <a:pt x="702" y="632"/>
                    </a:lnTo>
                    <a:lnTo>
                      <a:pt x="718" y="655"/>
                    </a:lnTo>
                    <a:lnTo>
                      <a:pt x="753" y="670"/>
                    </a:lnTo>
                    <a:lnTo>
                      <a:pt x="783" y="670"/>
                    </a:lnTo>
                    <a:lnTo>
                      <a:pt x="796" y="686"/>
                    </a:lnTo>
                    <a:lnTo>
                      <a:pt x="796" y="739"/>
                    </a:lnTo>
                    <a:lnTo>
                      <a:pt x="825" y="775"/>
                    </a:lnTo>
                    <a:lnTo>
                      <a:pt x="847" y="753"/>
                    </a:lnTo>
                    <a:lnTo>
                      <a:pt x="825" y="692"/>
                    </a:lnTo>
                    <a:lnTo>
                      <a:pt x="847" y="686"/>
                    </a:lnTo>
                    <a:lnTo>
                      <a:pt x="858" y="655"/>
                    </a:lnTo>
                    <a:lnTo>
                      <a:pt x="853" y="600"/>
                    </a:lnTo>
                    <a:lnTo>
                      <a:pt x="836" y="580"/>
                    </a:lnTo>
                    <a:lnTo>
                      <a:pt x="847" y="573"/>
                    </a:lnTo>
                    <a:lnTo>
                      <a:pt x="853" y="573"/>
                    </a:lnTo>
                    <a:lnTo>
                      <a:pt x="853" y="534"/>
                    </a:lnTo>
                    <a:lnTo>
                      <a:pt x="847" y="524"/>
                    </a:lnTo>
                    <a:lnTo>
                      <a:pt x="853" y="497"/>
                    </a:lnTo>
                    <a:lnTo>
                      <a:pt x="847" y="487"/>
                    </a:lnTo>
                    <a:lnTo>
                      <a:pt x="847" y="480"/>
                    </a:lnTo>
                    <a:lnTo>
                      <a:pt x="853" y="465"/>
                    </a:lnTo>
                    <a:lnTo>
                      <a:pt x="880" y="480"/>
                    </a:lnTo>
                    <a:lnTo>
                      <a:pt x="900" y="465"/>
                    </a:lnTo>
                    <a:lnTo>
                      <a:pt x="937" y="497"/>
                    </a:lnTo>
                    <a:lnTo>
                      <a:pt x="930" y="504"/>
                    </a:lnTo>
                    <a:lnTo>
                      <a:pt x="937" y="512"/>
                    </a:lnTo>
                    <a:lnTo>
                      <a:pt x="966" y="512"/>
                    </a:lnTo>
                    <a:lnTo>
                      <a:pt x="966" y="573"/>
                    </a:lnTo>
                    <a:lnTo>
                      <a:pt x="986" y="600"/>
                    </a:lnTo>
                    <a:lnTo>
                      <a:pt x="1022" y="565"/>
                    </a:lnTo>
                    <a:lnTo>
                      <a:pt x="1016" y="549"/>
                    </a:lnTo>
                    <a:lnTo>
                      <a:pt x="1022" y="534"/>
                    </a:lnTo>
                    <a:lnTo>
                      <a:pt x="1073" y="625"/>
                    </a:lnTo>
                    <a:lnTo>
                      <a:pt x="1064" y="632"/>
                    </a:lnTo>
                    <a:lnTo>
                      <a:pt x="1064" y="655"/>
                    </a:lnTo>
                    <a:lnTo>
                      <a:pt x="1079" y="664"/>
                    </a:lnTo>
                    <a:lnTo>
                      <a:pt x="1079" y="670"/>
                    </a:lnTo>
                    <a:lnTo>
                      <a:pt x="1101" y="686"/>
                    </a:lnTo>
                    <a:lnTo>
                      <a:pt x="1108" y="686"/>
                    </a:lnTo>
                    <a:lnTo>
                      <a:pt x="1123" y="692"/>
                    </a:lnTo>
                    <a:lnTo>
                      <a:pt x="1108" y="699"/>
                    </a:lnTo>
                    <a:lnTo>
                      <a:pt x="1123" y="699"/>
                    </a:lnTo>
                    <a:lnTo>
                      <a:pt x="1123" y="723"/>
                    </a:lnTo>
                    <a:lnTo>
                      <a:pt x="1136" y="723"/>
                    </a:lnTo>
                    <a:lnTo>
                      <a:pt x="1145" y="731"/>
                    </a:lnTo>
                    <a:lnTo>
                      <a:pt x="1145" y="739"/>
                    </a:lnTo>
                    <a:lnTo>
                      <a:pt x="1151" y="753"/>
                    </a:lnTo>
                    <a:lnTo>
                      <a:pt x="1136" y="766"/>
                    </a:lnTo>
                    <a:lnTo>
                      <a:pt x="1108" y="775"/>
                    </a:lnTo>
                    <a:lnTo>
                      <a:pt x="1095" y="805"/>
                    </a:lnTo>
                    <a:lnTo>
                      <a:pt x="1064" y="805"/>
                    </a:lnTo>
                    <a:lnTo>
                      <a:pt x="1036" y="790"/>
                    </a:lnTo>
                    <a:lnTo>
                      <a:pt x="996" y="805"/>
                    </a:lnTo>
                    <a:lnTo>
                      <a:pt x="986" y="822"/>
                    </a:lnTo>
                    <a:lnTo>
                      <a:pt x="981" y="822"/>
                    </a:lnTo>
                    <a:lnTo>
                      <a:pt x="966" y="828"/>
                    </a:lnTo>
                    <a:lnTo>
                      <a:pt x="937" y="865"/>
                    </a:lnTo>
                    <a:lnTo>
                      <a:pt x="944" y="865"/>
                    </a:lnTo>
                    <a:lnTo>
                      <a:pt x="974" y="835"/>
                    </a:lnTo>
                    <a:lnTo>
                      <a:pt x="996" y="822"/>
                    </a:lnTo>
                    <a:lnTo>
                      <a:pt x="1031" y="822"/>
                    </a:lnTo>
                    <a:lnTo>
                      <a:pt x="1031" y="835"/>
                    </a:lnTo>
                    <a:lnTo>
                      <a:pt x="1016" y="850"/>
                    </a:lnTo>
                    <a:lnTo>
                      <a:pt x="1007" y="850"/>
                    </a:lnTo>
                    <a:lnTo>
                      <a:pt x="1016" y="857"/>
                    </a:lnTo>
                    <a:lnTo>
                      <a:pt x="1022" y="850"/>
                    </a:lnTo>
                    <a:lnTo>
                      <a:pt x="1022" y="874"/>
                    </a:lnTo>
                    <a:lnTo>
                      <a:pt x="1049" y="897"/>
                    </a:lnTo>
                    <a:lnTo>
                      <a:pt x="1064" y="897"/>
                    </a:lnTo>
                    <a:lnTo>
                      <a:pt x="1064" y="879"/>
                    </a:lnTo>
                    <a:lnTo>
                      <a:pt x="1079" y="865"/>
                    </a:lnTo>
                    <a:lnTo>
                      <a:pt x="1079" y="879"/>
                    </a:lnTo>
                    <a:lnTo>
                      <a:pt x="1095" y="879"/>
                    </a:lnTo>
                    <a:lnTo>
                      <a:pt x="1073" y="904"/>
                    </a:lnTo>
                    <a:lnTo>
                      <a:pt x="1031" y="926"/>
                    </a:lnTo>
                    <a:lnTo>
                      <a:pt x="1016" y="941"/>
                    </a:lnTo>
                    <a:lnTo>
                      <a:pt x="1007" y="926"/>
                    </a:lnTo>
                    <a:lnTo>
                      <a:pt x="1031" y="904"/>
                    </a:lnTo>
                    <a:lnTo>
                      <a:pt x="1022" y="904"/>
                    </a:lnTo>
                    <a:lnTo>
                      <a:pt x="1022" y="897"/>
                    </a:lnTo>
                    <a:lnTo>
                      <a:pt x="1007" y="904"/>
                    </a:lnTo>
                    <a:lnTo>
                      <a:pt x="996" y="904"/>
                    </a:lnTo>
                    <a:lnTo>
                      <a:pt x="986" y="897"/>
                    </a:lnTo>
                    <a:lnTo>
                      <a:pt x="981" y="857"/>
                    </a:lnTo>
                    <a:lnTo>
                      <a:pt x="974" y="865"/>
                    </a:lnTo>
                    <a:lnTo>
                      <a:pt x="966" y="857"/>
                    </a:lnTo>
                    <a:lnTo>
                      <a:pt x="944" y="904"/>
                    </a:lnTo>
                    <a:lnTo>
                      <a:pt x="930" y="911"/>
                    </a:lnTo>
                    <a:lnTo>
                      <a:pt x="887" y="911"/>
                    </a:lnTo>
                    <a:lnTo>
                      <a:pt x="858" y="933"/>
                    </a:lnTo>
                    <a:lnTo>
                      <a:pt x="836" y="933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3" name="Freeform 372"/>
              <p:cNvSpPr>
                <a:spLocks/>
              </p:cNvSpPr>
              <p:nvPr/>
            </p:nvSpPr>
            <p:spPr bwMode="auto">
              <a:xfrm>
                <a:off x="742169" y="260"/>
                <a:ext cx="19" cy="23"/>
              </a:xfrm>
              <a:custGeom>
                <a:avLst/>
                <a:gdLst>
                  <a:gd name="T0" fmla="*/ 0 w 86"/>
                  <a:gd name="T1" fmla="*/ 1 h 107"/>
                  <a:gd name="T2" fmla="*/ 0 w 86"/>
                  <a:gd name="T3" fmla="*/ 1 h 107"/>
                  <a:gd name="T4" fmla="*/ 0 w 86"/>
                  <a:gd name="T5" fmla="*/ 1 h 107"/>
                  <a:gd name="T6" fmla="*/ 0 w 86"/>
                  <a:gd name="T7" fmla="*/ 1 h 107"/>
                  <a:gd name="T8" fmla="*/ 1 w 86"/>
                  <a:gd name="T9" fmla="*/ 1 h 107"/>
                  <a:gd name="T10" fmla="*/ 1 w 86"/>
                  <a:gd name="T11" fmla="*/ 1 h 107"/>
                  <a:gd name="T12" fmla="*/ 1 w 86"/>
                  <a:gd name="T13" fmla="*/ 1 h 107"/>
                  <a:gd name="T14" fmla="*/ 1 w 86"/>
                  <a:gd name="T15" fmla="*/ 1 h 107"/>
                  <a:gd name="T16" fmla="*/ 1 w 86"/>
                  <a:gd name="T17" fmla="*/ 1 h 107"/>
                  <a:gd name="T18" fmla="*/ 1 w 86"/>
                  <a:gd name="T19" fmla="*/ 1 h 107"/>
                  <a:gd name="T20" fmla="*/ 1 w 86"/>
                  <a:gd name="T21" fmla="*/ 1 h 107"/>
                  <a:gd name="T22" fmla="*/ 1 w 86"/>
                  <a:gd name="T23" fmla="*/ 1 h 107"/>
                  <a:gd name="T24" fmla="*/ 1 w 86"/>
                  <a:gd name="T25" fmla="*/ 1 h 107"/>
                  <a:gd name="T26" fmla="*/ 0 w 86"/>
                  <a:gd name="T27" fmla="*/ 1 h 107"/>
                  <a:gd name="T28" fmla="*/ 0 w 86"/>
                  <a:gd name="T29" fmla="*/ 0 h 107"/>
                  <a:gd name="T30" fmla="*/ 0 w 86"/>
                  <a:gd name="T31" fmla="*/ 0 h 107"/>
                  <a:gd name="T32" fmla="*/ 0 w 86"/>
                  <a:gd name="T33" fmla="*/ 0 h 107"/>
                  <a:gd name="T34" fmla="*/ 0 w 86"/>
                  <a:gd name="T35" fmla="*/ 0 h 107"/>
                  <a:gd name="T36" fmla="*/ 0 w 86"/>
                  <a:gd name="T37" fmla="*/ 0 h 107"/>
                  <a:gd name="T38" fmla="*/ 0 w 86"/>
                  <a:gd name="T39" fmla="*/ 1 h 107"/>
                  <a:gd name="T40" fmla="*/ 0 w 86"/>
                  <a:gd name="T41" fmla="*/ 1 h 107"/>
                  <a:gd name="T42" fmla="*/ 0 w 86"/>
                  <a:gd name="T43" fmla="*/ 1 h 107"/>
                  <a:gd name="T44" fmla="*/ 0 w 86"/>
                  <a:gd name="T45" fmla="*/ 1 h 107"/>
                  <a:gd name="T46" fmla="*/ 0 w 86"/>
                  <a:gd name="T47" fmla="*/ 1 h 10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86"/>
                  <a:gd name="T73" fmla="*/ 0 h 107"/>
                  <a:gd name="T74" fmla="*/ 86 w 86"/>
                  <a:gd name="T75" fmla="*/ 107 h 10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86" h="107">
                    <a:moveTo>
                      <a:pt x="0" y="85"/>
                    </a:moveTo>
                    <a:lnTo>
                      <a:pt x="0" y="92"/>
                    </a:lnTo>
                    <a:lnTo>
                      <a:pt x="49" y="92"/>
                    </a:lnTo>
                    <a:lnTo>
                      <a:pt x="49" y="99"/>
                    </a:lnTo>
                    <a:lnTo>
                      <a:pt x="57" y="92"/>
                    </a:lnTo>
                    <a:lnTo>
                      <a:pt x="79" y="99"/>
                    </a:lnTo>
                    <a:lnTo>
                      <a:pt x="79" y="107"/>
                    </a:lnTo>
                    <a:lnTo>
                      <a:pt x="86" y="107"/>
                    </a:lnTo>
                    <a:lnTo>
                      <a:pt x="86" y="92"/>
                    </a:lnTo>
                    <a:lnTo>
                      <a:pt x="66" y="85"/>
                    </a:lnTo>
                    <a:lnTo>
                      <a:pt x="79" y="70"/>
                    </a:lnTo>
                    <a:lnTo>
                      <a:pt x="66" y="63"/>
                    </a:lnTo>
                    <a:lnTo>
                      <a:pt x="79" y="55"/>
                    </a:lnTo>
                    <a:lnTo>
                      <a:pt x="49" y="55"/>
                    </a:lnTo>
                    <a:lnTo>
                      <a:pt x="45" y="47"/>
                    </a:lnTo>
                    <a:lnTo>
                      <a:pt x="49" y="38"/>
                    </a:lnTo>
                    <a:lnTo>
                      <a:pt x="45" y="38"/>
                    </a:lnTo>
                    <a:lnTo>
                      <a:pt x="49" y="0"/>
                    </a:lnTo>
                    <a:lnTo>
                      <a:pt x="34" y="10"/>
                    </a:lnTo>
                    <a:lnTo>
                      <a:pt x="7" y="63"/>
                    </a:lnTo>
                    <a:lnTo>
                      <a:pt x="7" y="7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4" name="Freeform 373"/>
              <p:cNvSpPr>
                <a:spLocks/>
              </p:cNvSpPr>
              <p:nvPr/>
            </p:nvSpPr>
            <p:spPr bwMode="auto">
              <a:xfrm>
                <a:off x="742086" y="168"/>
                <a:ext cx="20" cy="24"/>
              </a:xfrm>
              <a:custGeom>
                <a:avLst/>
                <a:gdLst>
                  <a:gd name="T0" fmla="*/ 0 w 90"/>
                  <a:gd name="T1" fmla="*/ 1 h 108"/>
                  <a:gd name="T2" fmla="*/ 0 w 90"/>
                  <a:gd name="T3" fmla="*/ 1 h 108"/>
                  <a:gd name="T4" fmla="*/ 0 w 90"/>
                  <a:gd name="T5" fmla="*/ 1 h 108"/>
                  <a:gd name="T6" fmla="*/ 0 w 90"/>
                  <a:gd name="T7" fmla="*/ 1 h 108"/>
                  <a:gd name="T8" fmla="*/ 0 w 90"/>
                  <a:gd name="T9" fmla="*/ 1 h 108"/>
                  <a:gd name="T10" fmla="*/ 1 w 90"/>
                  <a:gd name="T11" fmla="*/ 1 h 108"/>
                  <a:gd name="T12" fmla="*/ 1 w 90"/>
                  <a:gd name="T13" fmla="*/ 1 h 108"/>
                  <a:gd name="T14" fmla="*/ 1 w 90"/>
                  <a:gd name="T15" fmla="*/ 1 h 108"/>
                  <a:gd name="T16" fmla="*/ 1 w 90"/>
                  <a:gd name="T17" fmla="*/ 1 h 108"/>
                  <a:gd name="T18" fmla="*/ 0 w 90"/>
                  <a:gd name="T19" fmla="*/ 0 h 108"/>
                  <a:gd name="T20" fmla="*/ 0 w 90"/>
                  <a:gd name="T21" fmla="*/ 0 h 108"/>
                  <a:gd name="T22" fmla="*/ 0 w 90"/>
                  <a:gd name="T23" fmla="*/ 0 h 108"/>
                  <a:gd name="T24" fmla="*/ 0 w 90"/>
                  <a:gd name="T25" fmla="*/ 0 h 108"/>
                  <a:gd name="T26" fmla="*/ 0 w 90"/>
                  <a:gd name="T27" fmla="*/ 1 h 108"/>
                  <a:gd name="T28" fmla="*/ 0 w 90"/>
                  <a:gd name="T29" fmla="*/ 1 h 108"/>
                  <a:gd name="T30" fmla="*/ 0 w 90"/>
                  <a:gd name="T31" fmla="*/ 1 h 108"/>
                  <a:gd name="T32" fmla="*/ 0 w 90"/>
                  <a:gd name="T33" fmla="*/ 1 h 10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0"/>
                  <a:gd name="T52" fmla="*/ 0 h 108"/>
                  <a:gd name="T53" fmla="*/ 90 w 90"/>
                  <a:gd name="T54" fmla="*/ 108 h 10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5" name="Freeform 374"/>
              <p:cNvSpPr>
                <a:spLocks/>
              </p:cNvSpPr>
              <p:nvPr/>
            </p:nvSpPr>
            <p:spPr bwMode="auto">
              <a:xfrm>
                <a:off x="742115" y="150"/>
                <a:ext cx="7" cy="10"/>
              </a:xfrm>
              <a:custGeom>
                <a:avLst/>
                <a:gdLst>
                  <a:gd name="T0" fmla="*/ 0 w 30"/>
                  <a:gd name="T1" fmla="*/ 0 h 45"/>
                  <a:gd name="T2" fmla="*/ 0 w 30"/>
                  <a:gd name="T3" fmla="*/ 0 h 45"/>
                  <a:gd name="T4" fmla="*/ 0 w 30"/>
                  <a:gd name="T5" fmla="*/ 0 h 45"/>
                  <a:gd name="T6" fmla="*/ 0 w 30"/>
                  <a:gd name="T7" fmla="*/ 0 h 45"/>
                  <a:gd name="T8" fmla="*/ 0 w 30"/>
                  <a:gd name="T9" fmla="*/ 0 h 45"/>
                  <a:gd name="T10" fmla="*/ 0 w 30"/>
                  <a:gd name="T11" fmla="*/ 0 h 45"/>
                  <a:gd name="T12" fmla="*/ 0 w 30"/>
                  <a:gd name="T13" fmla="*/ 0 h 45"/>
                  <a:gd name="T14" fmla="*/ 0 w 30"/>
                  <a:gd name="T15" fmla="*/ 0 h 45"/>
                  <a:gd name="T16" fmla="*/ 0 w 30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"/>
                  <a:gd name="T28" fmla="*/ 0 h 45"/>
                  <a:gd name="T29" fmla="*/ 30 w 30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" h="45">
                    <a:moveTo>
                      <a:pt x="0" y="28"/>
                    </a:moveTo>
                    <a:lnTo>
                      <a:pt x="0" y="45"/>
                    </a:lnTo>
                    <a:lnTo>
                      <a:pt x="23" y="37"/>
                    </a:lnTo>
                    <a:lnTo>
                      <a:pt x="30" y="28"/>
                    </a:lnTo>
                    <a:lnTo>
                      <a:pt x="30" y="0"/>
                    </a:lnTo>
                    <a:lnTo>
                      <a:pt x="8" y="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6" name="Freeform 375"/>
              <p:cNvSpPr>
                <a:spLocks/>
              </p:cNvSpPr>
              <p:nvPr/>
            </p:nvSpPr>
            <p:spPr bwMode="auto">
              <a:xfrm>
                <a:off x="742086" y="168"/>
                <a:ext cx="20" cy="24"/>
              </a:xfrm>
              <a:custGeom>
                <a:avLst/>
                <a:gdLst>
                  <a:gd name="T0" fmla="*/ 0 w 90"/>
                  <a:gd name="T1" fmla="*/ 1 h 108"/>
                  <a:gd name="T2" fmla="*/ 0 w 90"/>
                  <a:gd name="T3" fmla="*/ 1 h 108"/>
                  <a:gd name="T4" fmla="*/ 0 w 90"/>
                  <a:gd name="T5" fmla="*/ 1 h 108"/>
                  <a:gd name="T6" fmla="*/ 0 w 90"/>
                  <a:gd name="T7" fmla="*/ 1 h 108"/>
                  <a:gd name="T8" fmla="*/ 0 w 90"/>
                  <a:gd name="T9" fmla="*/ 1 h 108"/>
                  <a:gd name="T10" fmla="*/ 1 w 90"/>
                  <a:gd name="T11" fmla="*/ 1 h 108"/>
                  <a:gd name="T12" fmla="*/ 1 w 90"/>
                  <a:gd name="T13" fmla="*/ 1 h 108"/>
                  <a:gd name="T14" fmla="*/ 1 w 90"/>
                  <a:gd name="T15" fmla="*/ 1 h 108"/>
                  <a:gd name="T16" fmla="*/ 1 w 90"/>
                  <a:gd name="T17" fmla="*/ 1 h 108"/>
                  <a:gd name="T18" fmla="*/ 0 w 90"/>
                  <a:gd name="T19" fmla="*/ 0 h 108"/>
                  <a:gd name="T20" fmla="*/ 0 w 90"/>
                  <a:gd name="T21" fmla="*/ 0 h 108"/>
                  <a:gd name="T22" fmla="*/ 0 w 90"/>
                  <a:gd name="T23" fmla="*/ 0 h 108"/>
                  <a:gd name="T24" fmla="*/ 0 w 90"/>
                  <a:gd name="T25" fmla="*/ 0 h 108"/>
                  <a:gd name="T26" fmla="*/ 0 w 90"/>
                  <a:gd name="T27" fmla="*/ 1 h 108"/>
                  <a:gd name="T28" fmla="*/ 0 w 90"/>
                  <a:gd name="T29" fmla="*/ 1 h 108"/>
                  <a:gd name="T30" fmla="*/ 0 w 90"/>
                  <a:gd name="T31" fmla="*/ 1 h 108"/>
                  <a:gd name="T32" fmla="*/ 0 w 90"/>
                  <a:gd name="T33" fmla="*/ 1 h 10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0"/>
                  <a:gd name="T52" fmla="*/ 0 h 108"/>
                  <a:gd name="T53" fmla="*/ 90 w 90"/>
                  <a:gd name="T54" fmla="*/ 108 h 10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24" name="S_CHL"/>
            <p:cNvGrpSpPr>
              <a:grpSpLocks/>
            </p:cNvGrpSpPr>
            <p:nvPr/>
          </p:nvGrpSpPr>
          <p:grpSpPr bwMode="auto">
            <a:xfrm>
              <a:off x="2588155" y="4848225"/>
              <a:ext cx="218246" cy="1476375"/>
              <a:chOff x="2588155" y="4848225"/>
              <a:chExt cx="23" cy="155"/>
            </a:xfrm>
            <a:solidFill>
              <a:schemeClr val="bg1">
                <a:lumMod val="75000"/>
              </a:schemeClr>
            </a:solidFill>
          </p:grpSpPr>
          <p:sp>
            <p:nvSpPr>
              <p:cNvPr id="351" name="Freeform 350"/>
              <p:cNvSpPr>
                <a:spLocks/>
              </p:cNvSpPr>
              <p:nvPr/>
            </p:nvSpPr>
            <p:spPr bwMode="auto">
              <a:xfrm>
                <a:off x="2588155" y="4848225"/>
                <a:ext cx="23" cy="145"/>
              </a:xfrm>
              <a:custGeom>
                <a:avLst/>
                <a:gdLst>
                  <a:gd name="T0" fmla="*/ 4 w 107"/>
                  <a:gd name="T1" fmla="*/ 0 h 661"/>
                  <a:gd name="T2" fmla="*/ 5 w 107"/>
                  <a:gd name="T3" fmla="*/ 4 h 661"/>
                  <a:gd name="T4" fmla="*/ 5 w 107"/>
                  <a:gd name="T5" fmla="*/ 5 h 661"/>
                  <a:gd name="T6" fmla="*/ 5 w 107"/>
                  <a:gd name="T7" fmla="*/ 7 h 661"/>
                  <a:gd name="T8" fmla="*/ 3 w 107"/>
                  <a:gd name="T9" fmla="*/ 12 h 661"/>
                  <a:gd name="T10" fmla="*/ 3 w 107"/>
                  <a:gd name="T11" fmla="*/ 14 h 661"/>
                  <a:gd name="T12" fmla="*/ 3 w 107"/>
                  <a:gd name="T13" fmla="*/ 16 h 661"/>
                  <a:gd name="T14" fmla="*/ 2 w 107"/>
                  <a:gd name="T15" fmla="*/ 22 h 661"/>
                  <a:gd name="T16" fmla="*/ 2 w 107"/>
                  <a:gd name="T17" fmla="*/ 24 h 661"/>
                  <a:gd name="T18" fmla="*/ 2 w 107"/>
                  <a:gd name="T19" fmla="*/ 26 h 661"/>
                  <a:gd name="T20" fmla="*/ 1 w 107"/>
                  <a:gd name="T21" fmla="*/ 29 h 661"/>
                  <a:gd name="T22" fmla="*/ 2 w 107"/>
                  <a:gd name="T23" fmla="*/ 30 h 661"/>
                  <a:gd name="T24" fmla="*/ 4 w 107"/>
                  <a:gd name="T25" fmla="*/ 30 h 661"/>
                  <a:gd name="T26" fmla="*/ 4 w 107"/>
                  <a:gd name="T27" fmla="*/ 31 h 661"/>
                  <a:gd name="T28" fmla="*/ 3 w 107"/>
                  <a:gd name="T29" fmla="*/ 32 h 661"/>
                  <a:gd name="T30" fmla="*/ 2 w 107"/>
                  <a:gd name="T31" fmla="*/ 31 h 661"/>
                  <a:gd name="T32" fmla="*/ 3 w 107"/>
                  <a:gd name="T33" fmla="*/ 31 h 661"/>
                  <a:gd name="T34" fmla="*/ 1 w 107"/>
                  <a:gd name="T35" fmla="*/ 31 h 661"/>
                  <a:gd name="T36" fmla="*/ 1 w 107"/>
                  <a:gd name="T37" fmla="*/ 31 h 661"/>
                  <a:gd name="T38" fmla="*/ 0 w 107"/>
                  <a:gd name="T39" fmla="*/ 31 h 661"/>
                  <a:gd name="T40" fmla="*/ 0 w 107"/>
                  <a:gd name="T41" fmla="*/ 30 h 661"/>
                  <a:gd name="T42" fmla="*/ 0 w 107"/>
                  <a:gd name="T43" fmla="*/ 29 h 661"/>
                  <a:gd name="T44" fmla="*/ 0 w 107"/>
                  <a:gd name="T45" fmla="*/ 30 h 661"/>
                  <a:gd name="T46" fmla="*/ 0 w 107"/>
                  <a:gd name="T47" fmla="*/ 28 h 661"/>
                  <a:gd name="T48" fmla="*/ 0 w 107"/>
                  <a:gd name="T49" fmla="*/ 27 h 661"/>
                  <a:gd name="T50" fmla="*/ 0 w 107"/>
                  <a:gd name="T51" fmla="*/ 26 h 661"/>
                  <a:gd name="T52" fmla="*/ 0 w 107"/>
                  <a:gd name="T53" fmla="*/ 26 h 661"/>
                  <a:gd name="T54" fmla="*/ 0 w 107"/>
                  <a:gd name="T55" fmla="*/ 24 h 661"/>
                  <a:gd name="T56" fmla="*/ 0 w 107"/>
                  <a:gd name="T57" fmla="*/ 23 h 661"/>
                  <a:gd name="T58" fmla="*/ 0 w 107"/>
                  <a:gd name="T59" fmla="*/ 22 h 661"/>
                  <a:gd name="T60" fmla="*/ 1 w 107"/>
                  <a:gd name="T61" fmla="*/ 22 h 661"/>
                  <a:gd name="T62" fmla="*/ 2 w 107"/>
                  <a:gd name="T63" fmla="*/ 20 h 661"/>
                  <a:gd name="T64" fmla="*/ 1 w 107"/>
                  <a:gd name="T65" fmla="*/ 19 h 661"/>
                  <a:gd name="T66" fmla="*/ 1 w 107"/>
                  <a:gd name="T67" fmla="*/ 17 h 661"/>
                  <a:gd name="T68" fmla="*/ 1 w 107"/>
                  <a:gd name="T69" fmla="*/ 16 h 661"/>
                  <a:gd name="T70" fmla="*/ 2 w 107"/>
                  <a:gd name="T71" fmla="*/ 10 h 661"/>
                  <a:gd name="T72" fmla="*/ 3 w 107"/>
                  <a:gd name="T73" fmla="*/ 4 h 661"/>
                  <a:gd name="T74" fmla="*/ 3 w 107"/>
                  <a:gd name="T75" fmla="*/ 0 h 661"/>
                  <a:gd name="T76" fmla="*/ 3 w 107"/>
                  <a:gd name="T77" fmla="*/ 0 h 66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07"/>
                  <a:gd name="T118" fmla="*/ 0 h 661"/>
                  <a:gd name="T119" fmla="*/ 107 w 107"/>
                  <a:gd name="T120" fmla="*/ 661 h 66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07" h="661">
                    <a:moveTo>
                      <a:pt x="63" y="7"/>
                    </a:moveTo>
                    <a:lnTo>
                      <a:pt x="85" y="0"/>
                    </a:lnTo>
                    <a:lnTo>
                      <a:pt x="94" y="22"/>
                    </a:lnTo>
                    <a:lnTo>
                      <a:pt x="99" y="83"/>
                    </a:lnTo>
                    <a:lnTo>
                      <a:pt x="107" y="83"/>
                    </a:lnTo>
                    <a:lnTo>
                      <a:pt x="107" y="98"/>
                    </a:lnTo>
                    <a:lnTo>
                      <a:pt x="94" y="103"/>
                    </a:lnTo>
                    <a:lnTo>
                      <a:pt x="99" y="135"/>
                    </a:lnTo>
                    <a:lnTo>
                      <a:pt x="63" y="217"/>
                    </a:lnTo>
                    <a:lnTo>
                      <a:pt x="72" y="256"/>
                    </a:lnTo>
                    <a:lnTo>
                      <a:pt x="63" y="286"/>
                    </a:lnTo>
                    <a:lnTo>
                      <a:pt x="63" y="299"/>
                    </a:lnTo>
                    <a:lnTo>
                      <a:pt x="57" y="308"/>
                    </a:lnTo>
                    <a:lnTo>
                      <a:pt x="57" y="343"/>
                    </a:lnTo>
                    <a:lnTo>
                      <a:pt x="52" y="368"/>
                    </a:lnTo>
                    <a:lnTo>
                      <a:pt x="52" y="457"/>
                    </a:lnTo>
                    <a:lnTo>
                      <a:pt x="57" y="457"/>
                    </a:lnTo>
                    <a:lnTo>
                      <a:pt x="52" y="501"/>
                    </a:lnTo>
                    <a:lnTo>
                      <a:pt x="42" y="526"/>
                    </a:lnTo>
                    <a:lnTo>
                      <a:pt x="42" y="540"/>
                    </a:lnTo>
                    <a:lnTo>
                      <a:pt x="28" y="572"/>
                    </a:lnTo>
                    <a:lnTo>
                      <a:pt x="28" y="594"/>
                    </a:lnTo>
                    <a:lnTo>
                      <a:pt x="42" y="585"/>
                    </a:lnTo>
                    <a:lnTo>
                      <a:pt x="42" y="617"/>
                    </a:lnTo>
                    <a:lnTo>
                      <a:pt x="52" y="622"/>
                    </a:lnTo>
                    <a:lnTo>
                      <a:pt x="94" y="622"/>
                    </a:lnTo>
                    <a:lnTo>
                      <a:pt x="94" y="639"/>
                    </a:lnTo>
                    <a:lnTo>
                      <a:pt x="85" y="639"/>
                    </a:lnTo>
                    <a:lnTo>
                      <a:pt x="63" y="646"/>
                    </a:lnTo>
                    <a:lnTo>
                      <a:pt x="63" y="661"/>
                    </a:lnTo>
                    <a:lnTo>
                      <a:pt x="57" y="661"/>
                    </a:lnTo>
                    <a:lnTo>
                      <a:pt x="52" y="654"/>
                    </a:lnTo>
                    <a:lnTo>
                      <a:pt x="57" y="654"/>
                    </a:lnTo>
                    <a:lnTo>
                      <a:pt x="57" y="646"/>
                    </a:lnTo>
                    <a:lnTo>
                      <a:pt x="42" y="654"/>
                    </a:lnTo>
                    <a:lnTo>
                      <a:pt x="28" y="646"/>
                    </a:lnTo>
                    <a:lnTo>
                      <a:pt x="28" y="639"/>
                    </a:lnTo>
                    <a:lnTo>
                      <a:pt x="20" y="639"/>
                    </a:lnTo>
                    <a:lnTo>
                      <a:pt x="11" y="622"/>
                    </a:lnTo>
                    <a:lnTo>
                      <a:pt x="11" y="639"/>
                    </a:lnTo>
                    <a:lnTo>
                      <a:pt x="6" y="622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94"/>
                    </a:lnTo>
                    <a:lnTo>
                      <a:pt x="11" y="610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78"/>
                    </a:lnTo>
                    <a:lnTo>
                      <a:pt x="6" y="578"/>
                    </a:lnTo>
                    <a:lnTo>
                      <a:pt x="0" y="572"/>
                    </a:lnTo>
                    <a:lnTo>
                      <a:pt x="0" y="563"/>
                    </a:lnTo>
                    <a:lnTo>
                      <a:pt x="6" y="533"/>
                    </a:lnTo>
                    <a:lnTo>
                      <a:pt x="6" y="526"/>
                    </a:lnTo>
                    <a:lnTo>
                      <a:pt x="11" y="540"/>
                    </a:lnTo>
                    <a:lnTo>
                      <a:pt x="20" y="518"/>
                    </a:lnTo>
                    <a:lnTo>
                      <a:pt x="6" y="501"/>
                    </a:lnTo>
                    <a:lnTo>
                      <a:pt x="0" y="501"/>
                    </a:lnTo>
                    <a:lnTo>
                      <a:pt x="6" y="488"/>
                    </a:lnTo>
                    <a:lnTo>
                      <a:pt x="11" y="488"/>
                    </a:lnTo>
                    <a:lnTo>
                      <a:pt x="11" y="457"/>
                    </a:lnTo>
                    <a:lnTo>
                      <a:pt x="20" y="451"/>
                    </a:lnTo>
                    <a:lnTo>
                      <a:pt x="20" y="464"/>
                    </a:lnTo>
                    <a:lnTo>
                      <a:pt x="42" y="412"/>
                    </a:lnTo>
                    <a:lnTo>
                      <a:pt x="42" y="405"/>
                    </a:lnTo>
                    <a:lnTo>
                      <a:pt x="28" y="405"/>
                    </a:lnTo>
                    <a:lnTo>
                      <a:pt x="20" y="399"/>
                    </a:lnTo>
                    <a:lnTo>
                      <a:pt x="20" y="368"/>
                    </a:lnTo>
                    <a:lnTo>
                      <a:pt x="28" y="353"/>
                    </a:lnTo>
                    <a:lnTo>
                      <a:pt x="20" y="331"/>
                    </a:lnTo>
                    <a:lnTo>
                      <a:pt x="28" y="323"/>
                    </a:lnTo>
                    <a:lnTo>
                      <a:pt x="57" y="232"/>
                    </a:lnTo>
                    <a:lnTo>
                      <a:pt x="52" y="210"/>
                    </a:lnTo>
                    <a:lnTo>
                      <a:pt x="57" y="195"/>
                    </a:lnTo>
                    <a:lnTo>
                      <a:pt x="63" y="83"/>
                    </a:lnTo>
                    <a:lnTo>
                      <a:pt x="72" y="52"/>
                    </a:lnTo>
                    <a:lnTo>
                      <a:pt x="63" y="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2" name="Freeform 351"/>
              <p:cNvSpPr>
                <a:spLocks/>
              </p:cNvSpPr>
              <p:nvPr/>
            </p:nvSpPr>
            <p:spPr bwMode="auto">
              <a:xfrm>
                <a:off x="2588159" y="4848365"/>
                <a:ext cx="15" cy="15"/>
              </a:xfrm>
              <a:custGeom>
                <a:avLst/>
                <a:gdLst>
                  <a:gd name="T0" fmla="*/ 3 w 70"/>
                  <a:gd name="T1" fmla="*/ 3 h 67"/>
                  <a:gd name="T2" fmla="*/ 3 w 70"/>
                  <a:gd name="T3" fmla="*/ 0 h 67"/>
                  <a:gd name="T4" fmla="*/ 2 w 70"/>
                  <a:gd name="T5" fmla="*/ 0 h 67"/>
                  <a:gd name="T6" fmla="*/ 2 w 70"/>
                  <a:gd name="T7" fmla="*/ 1 h 67"/>
                  <a:gd name="T8" fmla="*/ 2 w 70"/>
                  <a:gd name="T9" fmla="*/ 2 h 67"/>
                  <a:gd name="T10" fmla="*/ 2 w 70"/>
                  <a:gd name="T11" fmla="*/ 2 h 67"/>
                  <a:gd name="T12" fmla="*/ 0 w 70"/>
                  <a:gd name="T13" fmla="*/ 1 h 67"/>
                  <a:gd name="T14" fmla="*/ 0 w 70"/>
                  <a:gd name="T15" fmla="*/ 1 h 67"/>
                  <a:gd name="T16" fmla="*/ 0 w 70"/>
                  <a:gd name="T17" fmla="*/ 2 h 67"/>
                  <a:gd name="T18" fmla="*/ 1 w 70"/>
                  <a:gd name="T19" fmla="*/ 2 h 67"/>
                  <a:gd name="T20" fmla="*/ 1 w 70"/>
                  <a:gd name="T21" fmla="*/ 2 h 67"/>
                  <a:gd name="T22" fmla="*/ 1 w 70"/>
                  <a:gd name="T23" fmla="*/ 2 h 67"/>
                  <a:gd name="T24" fmla="*/ 1 w 70"/>
                  <a:gd name="T25" fmla="*/ 3 h 67"/>
                  <a:gd name="T26" fmla="*/ 2 w 70"/>
                  <a:gd name="T27" fmla="*/ 3 h 67"/>
                  <a:gd name="T28" fmla="*/ 2 w 70"/>
                  <a:gd name="T29" fmla="*/ 3 h 67"/>
                  <a:gd name="T30" fmla="*/ 3 w 70"/>
                  <a:gd name="T31" fmla="*/ 3 h 67"/>
                  <a:gd name="T32" fmla="*/ 3 w 70"/>
                  <a:gd name="T33" fmla="*/ 3 h 67"/>
                  <a:gd name="T34" fmla="*/ 3 w 70"/>
                  <a:gd name="T35" fmla="*/ 3 h 67"/>
                  <a:gd name="T36" fmla="*/ 3 w 70"/>
                  <a:gd name="T37" fmla="*/ 3 h 6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0"/>
                  <a:gd name="T58" fmla="*/ 0 h 67"/>
                  <a:gd name="T59" fmla="*/ 70 w 70"/>
                  <a:gd name="T60" fmla="*/ 67 h 6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0" h="67">
                    <a:moveTo>
                      <a:pt x="70" y="52"/>
                    </a:moveTo>
                    <a:lnTo>
                      <a:pt x="70" y="0"/>
                    </a:lnTo>
                    <a:lnTo>
                      <a:pt x="50" y="8"/>
                    </a:lnTo>
                    <a:lnTo>
                      <a:pt x="50" y="22"/>
                    </a:lnTo>
                    <a:lnTo>
                      <a:pt x="42" y="30"/>
                    </a:lnTo>
                    <a:lnTo>
                      <a:pt x="35" y="30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7" y="30"/>
                    </a:lnTo>
                    <a:lnTo>
                      <a:pt x="20" y="30"/>
                    </a:lnTo>
                    <a:lnTo>
                      <a:pt x="20" y="45"/>
                    </a:lnTo>
                    <a:lnTo>
                      <a:pt x="30" y="45"/>
                    </a:lnTo>
                    <a:lnTo>
                      <a:pt x="30" y="52"/>
                    </a:lnTo>
                    <a:lnTo>
                      <a:pt x="42" y="60"/>
                    </a:lnTo>
                    <a:lnTo>
                      <a:pt x="50" y="60"/>
                    </a:lnTo>
                    <a:lnTo>
                      <a:pt x="62" y="67"/>
                    </a:lnTo>
                    <a:lnTo>
                      <a:pt x="70" y="5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25" name="S_ARG"/>
            <p:cNvSpPr>
              <a:spLocks/>
            </p:cNvSpPr>
            <p:nvPr/>
          </p:nvSpPr>
          <p:spPr bwMode="auto">
            <a:xfrm>
              <a:off x="2645088" y="4972050"/>
              <a:ext cx="561637" cy="1181100"/>
            </a:xfrm>
            <a:custGeom>
              <a:avLst/>
              <a:gdLst>
                <a:gd name="T0" fmla="*/ 2147483647 w 268"/>
                <a:gd name="T1" fmla="*/ 2147483647 h 565"/>
                <a:gd name="T2" fmla="*/ 2147483647 w 268"/>
                <a:gd name="T3" fmla="*/ 2147483647 h 565"/>
                <a:gd name="T4" fmla="*/ 2147483647 w 268"/>
                <a:gd name="T5" fmla="*/ 2147483647 h 565"/>
                <a:gd name="T6" fmla="*/ 2147483647 w 268"/>
                <a:gd name="T7" fmla="*/ 2147483647 h 565"/>
                <a:gd name="T8" fmla="*/ 2147483647 w 268"/>
                <a:gd name="T9" fmla="*/ 2147483647 h 565"/>
                <a:gd name="T10" fmla="*/ 2147483647 w 268"/>
                <a:gd name="T11" fmla="*/ 2147483647 h 565"/>
                <a:gd name="T12" fmla="*/ 2147483647 w 268"/>
                <a:gd name="T13" fmla="*/ 2147483647 h 565"/>
                <a:gd name="T14" fmla="*/ 2147483647 w 268"/>
                <a:gd name="T15" fmla="*/ 0 h 565"/>
                <a:gd name="T16" fmla="*/ 2147483647 w 268"/>
                <a:gd name="T17" fmla="*/ 0 h 565"/>
                <a:gd name="T18" fmla="*/ 2147483647 w 268"/>
                <a:gd name="T19" fmla="*/ 2147483647 h 565"/>
                <a:gd name="T20" fmla="*/ 2147483647 w 268"/>
                <a:gd name="T21" fmla="*/ 2147483647 h 565"/>
                <a:gd name="T22" fmla="*/ 2147483647 w 268"/>
                <a:gd name="T23" fmla="*/ 2147483647 h 565"/>
                <a:gd name="T24" fmla="*/ 2147483647 w 268"/>
                <a:gd name="T25" fmla="*/ 2147483647 h 565"/>
                <a:gd name="T26" fmla="*/ 2147483647 w 268"/>
                <a:gd name="T27" fmla="*/ 2147483647 h 565"/>
                <a:gd name="T28" fmla="*/ 2147483647 w 268"/>
                <a:gd name="T29" fmla="*/ 2147483647 h 565"/>
                <a:gd name="T30" fmla="*/ 2147483647 w 268"/>
                <a:gd name="T31" fmla="*/ 2147483647 h 565"/>
                <a:gd name="T32" fmla="*/ 0 w 268"/>
                <a:gd name="T33" fmla="*/ 2147483647 h 565"/>
                <a:gd name="T34" fmla="*/ 2147483647 w 268"/>
                <a:gd name="T35" fmla="*/ 2147483647 h 565"/>
                <a:gd name="T36" fmla="*/ 2147483647 w 268"/>
                <a:gd name="T37" fmla="*/ 2147483647 h 565"/>
                <a:gd name="T38" fmla="*/ 2147483647 w 268"/>
                <a:gd name="T39" fmla="*/ 2147483647 h 565"/>
                <a:gd name="T40" fmla="*/ 2147483647 w 268"/>
                <a:gd name="T41" fmla="*/ 2147483647 h 565"/>
                <a:gd name="T42" fmla="*/ 2147483647 w 268"/>
                <a:gd name="T43" fmla="*/ 2147483647 h 565"/>
                <a:gd name="T44" fmla="*/ 2147483647 w 268"/>
                <a:gd name="T45" fmla="*/ 2147483647 h 565"/>
                <a:gd name="T46" fmla="*/ 2147483647 w 268"/>
                <a:gd name="T47" fmla="*/ 2147483647 h 565"/>
                <a:gd name="T48" fmla="*/ 2147483647 w 268"/>
                <a:gd name="T49" fmla="*/ 2147483647 h 565"/>
                <a:gd name="T50" fmla="*/ 2147483647 w 268"/>
                <a:gd name="T51" fmla="*/ 2147483647 h 565"/>
                <a:gd name="T52" fmla="*/ 2147483647 w 268"/>
                <a:gd name="T53" fmla="*/ 2147483647 h 565"/>
                <a:gd name="T54" fmla="*/ 2147483647 w 268"/>
                <a:gd name="T55" fmla="*/ 2147483647 h 565"/>
                <a:gd name="T56" fmla="*/ 2147483647 w 268"/>
                <a:gd name="T57" fmla="*/ 2147483647 h 565"/>
                <a:gd name="T58" fmla="*/ 2147483647 w 268"/>
                <a:gd name="T59" fmla="*/ 2147483647 h 565"/>
                <a:gd name="T60" fmla="*/ 2147483647 w 268"/>
                <a:gd name="T61" fmla="*/ 2147483647 h 565"/>
                <a:gd name="T62" fmla="*/ 2147483647 w 268"/>
                <a:gd name="T63" fmla="*/ 2147483647 h 565"/>
                <a:gd name="T64" fmla="*/ 2147483647 w 268"/>
                <a:gd name="T65" fmla="*/ 2147483647 h 565"/>
                <a:gd name="T66" fmla="*/ 2147483647 w 268"/>
                <a:gd name="T67" fmla="*/ 2147483647 h 565"/>
                <a:gd name="T68" fmla="*/ 2147483647 w 268"/>
                <a:gd name="T69" fmla="*/ 2147483647 h 56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68"/>
                <a:gd name="T106" fmla="*/ 0 h 565"/>
                <a:gd name="T107" fmla="*/ 268 w 268"/>
                <a:gd name="T108" fmla="*/ 565 h 56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68" h="565">
                  <a:moveTo>
                    <a:pt x="196" y="204"/>
                  </a:moveTo>
                  <a:lnTo>
                    <a:pt x="211" y="143"/>
                  </a:lnTo>
                  <a:lnTo>
                    <a:pt x="246" y="96"/>
                  </a:lnTo>
                  <a:lnTo>
                    <a:pt x="268" y="81"/>
                  </a:lnTo>
                  <a:lnTo>
                    <a:pt x="255" y="61"/>
                  </a:lnTo>
                  <a:lnTo>
                    <a:pt x="246" y="61"/>
                  </a:lnTo>
                  <a:lnTo>
                    <a:pt x="246" y="74"/>
                  </a:lnTo>
                  <a:lnTo>
                    <a:pt x="233" y="81"/>
                  </a:lnTo>
                  <a:lnTo>
                    <a:pt x="224" y="96"/>
                  </a:lnTo>
                  <a:lnTo>
                    <a:pt x="196" y="81"/>
                  </a:lnTo>
                  <a:lnTo>
                    <a:pt x="204" y="69"/>
                  </a:lnTo>
                  <a:lnTo>
                    <a:pt x="204" y="61"/>
                  </a:lnTo>
                  <a:lnTo>
                    <a:pt x="191" y="39"/>
                  </a:lnTo>
                  <a:lnTo>
                    <a:pt x="161" y="39"/>
                  </a:lnTo>
                  <a:lnTo>
                    <a:pt x="147" y="16"/>
                  </a:lnTo>
                  <a:lnTo>
                    <a:pt x="126" y="0"/>
                  </a:lnTo>
                  <a:lnTo>
                    <a:pt x="121" y="16"/>
                  </a:lnTo>
                  <a:lnTo>
                    <a:pt x="99" y="0"/>
                  </a:lnTo>
                  <a:lnTo>
                    <a:pt x="77" y="24"/>
                  </a:lnTo>
                  <a:lnTo>
                    <a:pt x="77" y="39"/>
                  </a:lnTo>
                  <a:lnTo>
                    <a:pt x="62" y="42"/>
                  </a:lnTo>
                  <a:lnTo>
                    <a:pt x="70" y="74"/>
                  </a:lnTo>
                  <a:lnTo>
                    <a:pt x="33" y="158"/>
                  </a:lnTo>
                  <a:lnTo>
                    <a:pt x="43" y="197"/>
                  </a:lnTo>
                  <a:lnTo>
                    <a:pt x="33" y="227"/>
                  </a:lnTo>
                  <a:lnTo>
                    <a:pt x="33" y="241"/>
                  </a:lnTo>
                  <a:lnTo>
                    <a:pt x="27" y="249"/>
                  </a:lnTo>
                  <a:lnTo>
                    <a:pt x="22" y="400"/>
                  </a:lnTo>
                  <a:lnTo>
                    <a:pt x="27" y="400"/>
                  </a:lnTo>
                  <a:lnTo>
                    <a:pt x="22" y="444"/>
                  </a:lnTo>
                  <a:lnTo>
                    <a:pt x="12" y="469"/>
                  </a:lnTo>
                  <a:lnTo>
                    <a:pt x="12" y="484"/>
                  </a:lnTo>
                  <a:lnTo>
                    <a:pt x="0" y="515"/>
                  </a:lnTo>
                  <a:lnTo>
                    <a:pt x="0" y="537"/>
                  </a:lnTo>
                  <a:lnTo>
                    <a:pt x="12" y="530"/>
                  </a:lnTo>
                  <a:lnTo>
                    <a:pt x="12" y="560"/>
                  </a:lnTo>
                  <a:lnTo>
                    <a:pt x="22" y="565"/>
                  </a:lnTo>
                  <a:lnTo>
                    <a:pt x="62" y="565"/>
                  </a:lnTo>
                  <a:lnTo>
                    <a:pt x="55" y="537"/>
                  </a:lnTo>
                  <a:lnTo>
                    <a:pt x="70" y="521"/>
                  </a:lnTo>
                  <a:lnTo>
                    <a:pt x="77" y="491"/>
                  </a:lnTo>
                  <a:lnTo>
                    <a:pt x="105" y="476"/>
                  </a:lnTo>
                  <a:lnTo>
                    <a:pt x="105" y="463"/>
                  </a:lnTo>
                  <a:lnTo>
                    <a:pt x="99" y="463"/>
                  </a:lnTo>
                  <a:lnTo>
                    <a:pt x="77" y="439"/>
                  </a:lnTo>
                  <a:lnTo>
                    <a:pt x="77" y="431"/>
                  </a:lnTo>
                  <a:lnTo>
                    <a:pt x="85" y="416"/>
                  </a:lnTo>
                  <a:lnTo>
                    <a:pt x="105" y="407"/>
                  </a:lnTo>
                  <a:lnTo>
                    <a:pt x="105" y="400"/>
                  </a:lnTo>
                  <a:lnTo>
                    <a:pt x="114" y="400"/>
                  </a:lnTo>
                  <a:lnTo>
                    <a:pt x="114" y="387"/>
                  </a:lnTo>
                  <a:lnTo>
                    <a:pt x="121" y="370"/>
                  </a:lnTo>
                  <a:lnTo>
                    <a:pt x="121" y="362"/>
                  </a:lnTo>
                  <a:lnTo>
                    <a:pt x="126" y="362"/>
                  </a:lnTo>
                  <a:lnTo>
                    <a:pt x="126" y="355"/>
                  </a:lnTo>
                  <a:lnTo>
                    <a:pt x="114" y="355"/>
                  </a:lnTo>
                  <a:lnTo>
                    <a:pt x="114" y="325"/>
                  </a:lnTo>
                  <a:lnTo>
                    <a:pt x="126" y="340"/>
                  </a:lnTo>
                  <a:lnTo>
                    <a:pt x="147" y="325"/>
                  </a:lnTo>
                  <a:lnTo>
                    <a:pt x="156" y="295"/>
                  </a:lnTo>
                  <a:lnTo>
                    <a:pt x="147" y="286"/>
                  </a:lnTo>
                  <a:lnTo>
                    <a:pt x="211" y="281"/>
                  </a:lnTo>
                  <a:lnTo>
                    <a:pt x="224" y="249"/>
                  </a:lnTo>
                  <a:lnTo>
                    <a:pt x="224" y="241"/>
                  </a:lnTo>
                  <a:lnTo>
                    <a:pt x="211" y="234"/>
                  </a:lnTo>
                  <a:lnTo>
                    <a:pt x="211" y="227"/>
                  </a:lnTo>
                  <a:lnTo>
                    <a:pt x="196" y="219"/>
                  </a:lnTo>
                  <a:lnTo>
                    <a:pt x="196" y="20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26" name="S_BLZ"/>
            <p:cNvSpPr>
              <a:spLocks/>
            </p:cNvSpPr>
            <p:nvPr/>
          </p:nvSpPr>
          <p:spPr bwMode="auto">
            <a:xfrm>
              <a:off x="2206806" y="3743325"/>
              <a:ext cx="47445" cy="57150"/>
            </a:xfrm>
            <a:custGeom>
              <a:avLst/>
              <a:gdLst>
                <a:gd name="T0" fmla="*/ 0 w 24"/>
                <a:gd name="T1" fmla="*/ 112624915 h 29"/>
                <a:gd name="T2" fmla="*/ 94505860 w 24"/>
                <a:gd name="T3" fmla="*/ 112624915 h 29"/>
                <a:gd name="T4" fmla="*/ 94505860 w 24"/>
                <a:gd name="T5" fmla="*/ 0 h 29"/>
                <a:gd name="T6" fmla="*/ 0 w 24"/>
                <a:gd name="T7" fmla="*/ 19417208 h 29"/>
                <a:gd name="T8" fmla="*/ 0 w 24"/>
                <a:gd name="T9" fmla="*/ 112624915 h 29"/>
                <a:gd name="T10" fmla="*/ 0 w 24"/>
                <a:gd name="T11" fmla="*/ 112624915 h 29"/>
                <a:gd name="T12" fmla="*/ 0 w 24"/>
                <a:gd name="T13" fmla="*/ 112624915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9"/>
                <a:gd name="T23" fmla="*/ 24 w 24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9">
                  <a:moveTo>
                    <a:pt x="0" y="29"/>
                  </a:moveTo>
                  <a:lnTo>
                    <a:pt x="24" y="29"/>
                  </a:lnTo>
                  <a:lnTo>
                    <a:pt x="24" y="0"/>
                  </a:lnTo>
                  <a:lnTo>
                    <a:pt x="0" y="5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27" name="S_GTM"/>
            <p:cNvSpPr>
              <a:spLocks/>
            </p:cNvSpPr>
            <p:nvPr/>
          </p:nvSpPr>
          <p:spPr bwMode="auto">
            <a:xfrm>
              <a:off x="2111917" y="3743325"/>
              <a:ext cx="113867" cy="133350"/>
            </a:xfrm>
            <a:custGeom>
              <a:avLst/>
              <a:gdLst>
                <a:gd name="T0" fmla="*/ 207755644 w 52"/>
                <a:gd name="T1" fmla="*/ 102055164 h 66"/>
                <a:gd name="T2" fmla="*/ 251240187 w 52"/>
                <a:gd name="T3" fmla="*/ 159207767 h 66"/>
                <a:gd name="T4" fmla="*/ 130451465 w 52"/>
                <a:gd name="T5" fmla="*/ 228604287 h 66"/>
                <a:gd name="T6" fmla="*/ 106294607 w 52"/>
                <a:gd name="T7" fmla="*/ 269427615 h 66"/>
                <a:gd name="T8" fmla="*/ 0 w 52"/>
                <a:gd name="T9" fmla="*/ 228604287 h 66"/>
                <a:gd name="T10" fmla="*/ 33821808 w 52"/>
                <a:gd name="T11" fmla="*/ 102055164 h 66"/>
                <a:gd name="T12" fmla="*/ 106294607 w 52"/>
                <a:gd name="T13" fmla="*/ 102055164 h 66"/>
                <a:gd name="T14" fmla="*/ 33821808 w 52"/>
                <a:gd name="T15" fmla="*/ 40823281 h 66"/>
                <a:gd name="T16" fmla="*/ 62810047 w 52"/>
                <a:gd name="T17" fmla="*/ 0 h 66"/>
                <a:gd name="T18" fmla="*/ 207755644 w 52"/>
                <a:gd name="T19" fmla="*/ 0 h 66"/>
                <a:gd name="T20" fmla="*/ 207755644 w 52"/>
                <a:gd name="T21" fmla="*/ 102055164 h 66"/>
                <a:gd name="T22" fmla="*/ 207755644 w 52"/>
                <a:gd name="T23" fmla="*/ 102055164 h 66"/>
                <a:gd name="T24" fmla="*/ 207755644 w 52"/>
                <a:gd name="T25" fmla="*/ 102055164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2"/>
                <a:gd name="T40" fmla="*/ 0 h 66"/>
                <a:gd name="T41" fmla="*/ 52 w 52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2" h="66">
                  <a:moveTo>
                    <a:pt x="43" y="25"/>
                  </a:moveTo>
                  <a:lnTo>
                    <a:pt x="52" y="39"/>
                  </a:lnTo>
                  <a:lnTo>
                    <a:pt x="27" y="56"/>
                  </a:lnTo>
                  <a:lnTo>
                    <a:pt x="22" y="66"/>
                  </a:lnTo>
                  <a:lnTo>
                    <a:pt x="0" y="56"/>
                  </a:lnTo>
                  <a:lnTo>
                    <a:pt x="7" y="25"/>
                  </a:lnTo>
                  <a:lnTo>
                    <a:pt x="22" y="25"/>
                  </a:lnTo>
                  <a:lnTo>
                    <a:pt x="7" y="10"/>
                  </a:lnTo>
                  <a:lnTo>
                    <a:pt x="13" y="0"/>
                  </a:lnTo>
                  <a:lnTo>
                    <a:pt x="43" y="0"/>
                  </a:lnTo>
                  <a:lnTo>
                    <a:pt x="43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3" name="S_HND"/>
            <p:cNvSpPr>
              <a:spLocks/>
            </p:cNvSpPr>
            <p:nvPr/>
          </p:nvSpPr>
          <p:spPr bwMode="auto">
            <a:xfrm>
              <a:off x="2178340" y="3819525"/>
              <a:ext cx="175904" cy="66675"/>
            </a:xfrm>
            <a:custGeom>
              <a:avLst/>
              <a:gdLst>
                <a:gd name="T0" fmla="*/ 91652270 w 84"/>
                <a:gd name="T1" fmla="*/ 0 h 34"/>
                <a:gd name="T2" fmla="*/ 266623087 w 84"/>
                <a:gd name="T3" fmla="*/ 0 h 34"/>
                <a:gd name="T4" fmla="*/ 349941697 w 84"/>
                <a:gd name="T5" fmla="*/ 30764623 h 34"/>
                <a:gd name="T6" fmla="*/ 162473373 w 84"/>
                <a:gd name="T7" fmla="*/ 130751639 h 34"/>
                <a:gd name="T8" fmla="*/ 129144697 w 84"/>
                <a:gd name="T9" fmla="*/ 130751639 h 34"/>
                <a:gd name="T10" fmla="*/ 129144697 w 84"/>
                <a:gd name="T11" fmla="*/ 111523723 h 34"/>
                <a:gd name="T12" fmla="*/ 0 w 84"/>
                <a:gd name="T13" fmla="*/ 65376800 h 34"/>
                <a:gd name="T14" fmla="*/ 91652270 w 84"/>
                <a:gd name="T15" fmla="*/ 0 h 34"/>
                <a:gd name="T16" fmla="*/ 91652270 w 84"/>
                <a:gd name="T17" fmla="*/ 0 h 34"/>
                <a:gd name="T18" fmla="*/ 91652270 w 84"/>
                <a:gd name="T19" fmla="*/ 0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4"/>
                <a:gd name="T31" fmla="*/ 0 h 34"/>
                <a:gd name="T32" fmla="*/ 84 w 84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4" h="34">
                  <a:moveTo>
                    <a:pt x="22" y="0"/>
                  </a:moveTo>
                  <a:lnTo>
                    <a:pt x="64" y="0"/>
                  </a:lnTo>
                  <a:lnTo>
                    <a:pt x="84" y="8"/>
                  </a:lnTo>
                  <a:lnTo>
                    <a:pt x="39" y="34"/>
                  </a:lnTo>
                  <a:lnTo>
                    <a:pt x="31" y="34"/>
                  </a:lnTo>
                  <a:lnTo>
                    <a:pt x="31" y="29"/>
                  </a:lnTo>
                  <a:lnTo>
                    <a:pt x="0" y="1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4" name="S_SLV"/>
            <p:cNvSpPr>
              <a:spLocks/>
            </p:cNvSpPr>
            <p:nvPr/>
          </p:nvSpPr>
          <p:spPr bwMode="auto">
            <a:xfrm>
              <a:off x="2159362" y="3857625"/>
              <a:ext cx="75912" cy="57150"/>
            </a:xfrm>
            <a:custGeom>
              <a:avLst/>
              <a:gdLst>
                <a:gd name="T0" fmla="*/ 33931656 w 37"/>
                <a:gd name="T1" fmla="*/ 0 h 27"/>
                <a:gd name="T2" fmla="*/ 0 w 37"/>
                <a:gd name="T3" fmla="*/ 67204164 h 27"/>
                <a:gd name="T4" fmla="*/ 33931656 w 37"/>
                <a:gd name="T5" fmla="*/ 120967499 h 27"/>
                <a:gd name="T6" fmla="*/ 156930810 w 37"/>
                <a:gd name="T7" fmla="*/ 120967499 h 27"/>
                <a:gd name="T8" fmla="*/ 156930810 w 37"/>
                <a:gd name="T9" fmla="*/ 67204164 h 27"/>
                <a:gd name="T10" fmla="*/ 33931656 w 37"/>
                <a:gd name="T11" fmla="*/ 0 h 27"/>
                <a:gd name="T12" fmla="*/ 33931656 w 37"/>
                <a:gd name="T13" fmla="*/ 0 h 27"/>
                <a:gd name="T14" fmla="*/ 33931656 w 37"/>
                <a:gd name="T15" fmla="*/ 0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7"/>
                <a:gd name="T25" fmla="*/ 0 h 27"/>
                <a:gd name="T26" fmla="*/ 37 w 37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7" h="27">
                  <a:moveTo>
                    <a:pt x="8" y="0"/>
                  </a:moveTo>
                  <a:lnTo>
                    <a:pt x="0" y="15"/>
                  </a:lnTo>
                  <a:lnTo>
                    <a:pt x="8" y="27"/>
                  </a:lnTo>
                  <a:lnTo>
                    <a:pt x="37" y="27"/>
                  </a:lnTo>
                  <a:lnTo>
                    <a:pt x="37" y="1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5" name="S_NIC"/>
            <p:cNvSpPr>
              <a:spLocks/>
            </p:cNvSpPr>
            <p:nvPr/>
          </p:nvSpPr>
          <p:spPr bwMode="auto">
            <a:xfrm>
              <a:off x="2254251" y="3848100"/>
              <a:ext cx="99993" cy="133350"/>
            </a:xfrm>
            <a:custGeom>
              <a:avLst/>
              <a:gdLst>
                <a:gd name="T0" fmla="*/ 201612498 w 45"/>
                <a:gd name="T1" fmla="*/ 0 h 67"/>
                <a:gd name="T2" fmla="*/ 170249858 w 45"/>
                <a:gd name="T3" fmla="*/ 213909287 h 67"/>
                <a:gd name="T4" fmla="*/ 201612498 w 45"/>
                <a:gd name="T5" fmla="*/ 265406309 h 67"/>
                <a:gd name="T6" fmla="*/ 170249858 w 45"/>
                <a:gd name="T7" fmla="*/ 265406309 h 67"/>
                <a:gd name="T8" fmla="*/ 0 w 45"/>
                <a:gd name="T9" fmla="*/ 158451635 h 67"/>
                <a:gd name="T10" fmla="*/ 0 w 45"/>
                <a:gd name="T11" fmla="*/ 91109884 h 67"/>
                <a:gd name="T12" fmla="*/ 201612498 w 45"/>
                <a:gd name="T13" fmla="*/ 0 h 67"/>
                <a:gd name="T14" fmla="*/ 201612498 w 45"/>
                <a:gd name="T15" fmla="*/ 0 h 67"/>
                <a:gd name="T16" fmla="*/ 201612498 w 45"/>
                <a:gd name="T17" fmla="*/ 0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5"/>
                <a:gd name="T28" fmla="*/ 0 h 67"/>
                <a:gd name="T29" fmla="*/ 45 w 45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5" h="67">
                  <a:moveTo>
                    <a:pt x="45" y="0"/>
                  </a:moveTo>
                  <a:lnTo>
                    <a:pt x="38" y="54"/>
                  </a:lnTo>
                  <a:lnTo>
                    <a:pt x="45" y="67"/>
                  </a:lnTo>
                  <a:lnTo>
                    <a:pt x="38" y="67"/>
                  </a:lnTo>
                  <a:lnTo>
                    <a:pt x="0" y="40"/>
                  </a:lnTo>
                  <a:lnTo>
                    <a:pt x="0" y="23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6" name="S_CRI"/>
            <p:cNvSpPr>
              <a:spLocks/>
            </p:cNvSpPr>
            <p:nvPr/>
          </p:nvSpPr>
          <p:spPr bwMode="auto">
            <a:xfrm>
              <a:off x="2292207" y="3962400"/>
              <a:ext cx="90504" cy="85725"/>
            </a:xfrm>
            <a:custGeom>
              <a:avLst/>
              <a:gdLst>
                <a:gd name="T0" fmla="*/ 188430139 w 39"/>
                <a:gd name="T1" fmla="*/ 170901760 h 43"/>
                <a:gd name="T2" fmla="*/ 188430139 w 39"/>
                <a:gd name="T3" fmla="*/ 111284997 h 43"/>
                <a:gd name="T4" fmla="*/ 140114195 w 39"/>
                <a:gd name="T5" fmla="*/ 79489008 h 43"/>
                <a:gd name="T6" fmla="*/ 140114195 w 39"/>
                <a:gd name="T7" fmla="*/ 51668249 h 43"/>
                <a:gd name="T8" fmla="*/ 115957339 w 39"/>
                <a:gd name="T9" fmla="*/ 51668249 h 43"/>
                <a:gd name="T10" fmla="*/ 0 w 39"/>
                <a:gd name="T11" fmla="*/ 0 h 43"/>
                <a:gd name="T12" fmla="*/ 0 w 39"/>
                <a:gd name="T13" fmla="*/ 79489008 h 43"/>
                <a:gd name="T14" fmla="*/ 33821805 w 39"/>
                <a:gd name="T15" fmla="*/ 111284997 h 43"/>
                <a:gd name="T16" fmla="*/ 82135543 w 39"/>
                <a:gd name="T17" fmla="*/ 79489008 h 43"/>
                <a:gd name="T18" fmla="*/ 115957339 w 39"/>
                <a:gd name="T19" fmla="*/ 139105771 h 43"/>
                <a:gd name="T20" fmla="*/ 188430139 w 39"/>
                <a:gd name="T21" fmla="*/ 170901760 h 43"/>
                <a:gd name="T22" fmla="*/ 188430139 w 39"/>
                <a:gd name="T23" fmla="*/ 170901760 h 43"/>
                <a:gd name="T24" fmla="*/ 188430139 w 39"/>
                <a:gd name="T25" fmla="*/ 17090176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43"/>
                <a:gd name="T41" fmla="*/ 39 w 39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43">
                  <a:moveTo>
                    <a:pt x="39" y="43"/>
                  </a:moveTo>
                  <a:lnTo>
                    <a:pt x="39" y="28"/>
                  </a:lnTo>
                  <a:lnTo>
                    <a:pt x="29" y="20"/>
                  </a:lnTo>
                  <a:lnTo>
                    <a:pt x="29" y="13"/>
                  </a:lnTo>
                  <a:lnTo>
                    <a:pt x="24" y="13"/>
                  </a:lnTo>
                  <a:lnTo>
                    <a:pt x="0" y="0"/>
                  </a:lnTo>
                  <a:lnTo>
                    <a:pt x="0" y="20"/>
                  </a:lnTo>
                  <a:lnTo>
                    <a:pt x="7" y="28"/>
                  </a:lnTo>
                  <a:lnTo>
                    <a:pt x="17" y="20"/>
                  </a:lnTo>
                  <a:lnTo>
                    <a:pt x="24" y="35"/>
                  </a:lnTo>
                  <a:lnTo>
                    <a:pt x="39" y="4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2" name="S_PAN"/>
            <p:cNvSpPr>
              <a:spLocks/>
            </p:cNvSpPr>
            <p:nvPr/>
          </p:nvSpPr>
          <p:spPr bwMode="auto">
            <a:xfrm>
              <a:off x="2382711" y="4019550"/>
              <a:ext cx="157999" cy="66675"/>
            </a:xfrm>
            <a:custGeom>
              <a:avLst/>
              <a:gdLst>
                <a:gd name="T0" fmla="*/ 0 w 77"/>
                <a:gd name="T1" fmla="*/ 54435366 h 35"/>
                <a:gd name="T2" fmla="*/ 141514048 w 77"/>
                <a:gd name="T3" fmla="*/ 97983662 h 35"/>
                <a:gd name="T4" fmla="*/ 141514048 w 77"/>
                <a:gd name="T5" fmla="*/ 127015879 h 35"/>
                <a:gd name="T6" fmla="*/ 168046605 w 77"/>
                <a:gd name="T7" fmla="*/ 97983662 h 35"/>
                <a:gd name="T8" fmla="*/ 309560653 w 77"/>
                <a:gd name="T9" fmla="*/ 127015879 h 35"/>
                <a:gd name="T10" fmla="*/ 340515654 w 77"/>
                <a:gd name="T11" fmla="*/ 79838545 h 35"/>
                <a:gd name="T12" fmla="*/ 212268936 w 77"/>
                <a:gd name="T13" fmla="*/ 0 h 35"/>
                <a:gd name="T14" fmla="*/ 110556911 w 77"/>
                <a:gd name="T15" fmla="*/ 18145125 h 35"/>
                <a:gd name="T16" fmla="*/ 75179467 w 77"/>
                <a:gd name="T17" fmla="*/ 18145125 h 35"/>
                <a:gd name="T18" fmla="*/ 0 w 77"/>
                <a:gd name="T19" fmla="*/ 0 h 35"/>
                <a:gd name="T20" fmla="*/ 0 w 77"/>
                <a:gd name="T21" fmla="*/ 54435366 h 35"/>
                <a:gd name="T22" fmla="*/ 0 w 77"/>
                <a:gd name="T23" fmla="*/ 54435366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7"/>
                <a:gd name="T37" fmla="*/ 0 h 35"/>
                <a:gd name="T38" fmla="*/ 77 w 77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7" h="35">
                  <a:moveTo>
                    <a:pt x="0" y="15"/>
                  </a:moveTo>
                  <a:lnTo>
                    <a:pt x="32" y="27"/>
                  </a:lnTo>
                  <a:lnTo>
                    <a:pt x="32" y="35"/>
                  </a:lnTo>
                  <a:lnTo>
                    <a:pt x="38" y="27"/>
                  </a:lnTo>
                  <a:lnTo>
                    <a:pt x="70" y="35"/>
                  </a:lnTo>
                  <a:lnTo>
                    <a:pt x="77" y="22"/>
                  </a:lnTo>
                  <a:lnTo>
                    <a:pt x="48" y="0"/>
                  </a:lnTo>
                  <a:lnTo>
                    <a:pt x="25" y="5"/>
                  </a:lnTo>
                  <a:lnTo>
                    <a:pt x="17" y="5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3" name="S_COL"/>
            <p:cNvSpPr>
              <a:spLocks/>
            </p:cNvSpPr>
            <p:nvPr/>
          </p:nvSpPr>
          <p:spPr bwMode="auto">
            <a:xfrm>
              <a:off x="2493265" y="3924300"/>
              <a:ext cx="313136" cy="504825"/>
            </a:xfrm>
            <a:custGeom>
              <a:avLst/>
              <a:gdLst>
                <a:gd name="T0" fmla="*/ 511780090 w 149"/>
                <a:gd name="T1" fmla="*/ 1053092064 h 242"/>
                <a:gd name="T2" fmla="*/ 574084052 w 149"/>
                <a:gd name="T3" fmla="*/ 900785148 h 242"/>
                <a:gd name="T4" fmla="*/ 511780090 w 149"/>
                <a:gd name="T5" fmla="*/ 765884260 h 242"/>
                <a:gd name="T6" fmla="*/ 574084052 w 149"/>
                <a:gd name="T7" fmla="*/ 765884260 h 242"/>
                <a:gd name="T8" fmla="*/ 511780090 w 149"/>
                <a:gd name="T9" fmla="*/ 731072205 h 242"/>
                <a:gd name="T10" fmla="*/ 511780090 w 149"/>
                <a:gd name="T11" fmla="*/ 691908642 h 242"/>
                <a:gd name="T12" fmla="*/ 663088620 w 149"/>
                <a:gd name="T13" fmla="*/ 691908642 h 242"/>
                <a:gd name="T14" fmla="*/ 663088620 w 149"/>
                <a:gd name="T15" fmla="*/ 600522824 h 242"/>
                <a:gd name="T16" fmla="*/ 631936705 w 149"/>
                <a:gd name="T17" fmla="*/ 530898582 h 242"/>
                <a:gd name="T18" fmla="*/ 663088620 w 149"/>
                <a:gd name="T19" fmla="*/ 400349201 h 242"/>
                <a:gd name="T20" fmla="*/ 574084052 w 149"/>
                <a:gd name="T21" fmla="*/ 400349201 h 242"/>
                <a:gd name="T22" fmla="*/ 511780090 w 149"/>
                <a:gd name="T23" fmla="*/ 365537145 h 242"/>
                <a:gd name="T24" fmla="*/ 422775522 w 149"/>
                <a:gd name="T25" fmla="*/ 365537145 h 242"/>
                <a:gd name="T26" fmla="*/ 378272183 w 149"/>
                <a:gd name="T27" fmla="*/ 335074511 h 242"/>
                <a:gd name="T28" fmla="*/ 378272183 w 149"/>
                <a:gd name="T29" fmla="*/ 269799755 h 242"/>
                <a:gd name="T30" fmla="*/ 329319776 w 149"/>
                <a:gd name="T31" fmla="*/ 204527150 h 242"/>
                <a:gd name="T32" fmla="*/ 445025082 w 149"/>
                <a:gd name="T33" fmla="*/ 43517172 h 242"/>
                <a:gd name="T34" fmla="*/ 422775522 w 149"/>
                <a:gd name="T35" fmla="*/ 0 h 242"/>
                <a:gd name="T36" fmla="*/ 222512541 w 149"/>
                <a:gd name="T37" fmla="*/ 130549414 h 242"/>
                <a:gd name="T38" fmla="*/ 191360626 w 149"/>
                <a:gd name="T39" fmla="*/ 204527150 h 242"/>
                <a:gd name="T40" fmla="*/ 97904847 w 149"/>
                <a:gd name="T41" fmla="*/ 234987699 h 242"/>
                <a:gd name="T42" fmla="*/ 102356025 w 149"/>
                <a:gd name="T43" fmla="*/ 261096741 h 242"/>
                <a:gd name="T44" fmla="*/ 97904847 w 149"/>
                <a:gd name="T45" fmla="*/ 278502834 h 242"/>
                <a:gd name="T46" fmla="*/ 97904847 w 149"/>
                <a:gd name="T47" fmla="*/ 269799755 h 242"/>
                <a:gd name="T48" fmla="*/ 66752915 w 149"/>
                <a:gd name="T49" fmla="*/ 335074511 h 242"/>
                <a:gd name="T50" fmla="*/ 66752915 w 149"/>
                <a:gd name="T51" fmla="*/ 561359261 h 242"/>
                <a:gd name="T52" fmla="*/ 97904847 w 149"/>
                <a:gd name="T53" fmla="*/ 561359261 h 242"/>
                <a:gd name="T54" fmla="*/ 66752915 w 149"/>
                <a:gd name="T55" fmla="*/ 665797514 h 242"/>
                <a:gd name="T56" fmla="*/ 44503355 w 149"/>
                <a:gd name="T57" fmla="*/ 665797514 h 242"/>
                <a:gd name="T58" fmla="*/ 44503355 w 149"/>
                <a:gd name="T59" fmla="*/ 691908642 h 242"/>
                <a:gd name="T60" fmla="*/ 0 w 149"/>
                <a:gd name="T61" fmla="*/ 691908642 h 242"/>
                <a:gd name="T62" fmla="*/ 0 w 149"/>
                <a:gd name="T63" fmla="*/ 731072205 h 242"/>
                <a:gd name="T64" fmla="*/ 97904847 w 149"/>
                <a:gd name="T65" fmla="*/ 805049909 h 242"/>
                <a:gd name="T66" fmla="*/ 191360626 w 149"/>
                <a:gd name="T67" fmla="*/ 765884260 h 242"/>
                <a:gd name="T68" fmla="*/ 329319776 w 149"/>
                <a:gd name="T69" fmla="*/ 966059839 h 242"/>
                <a:gd name="T70" fmla="*/ 476176997 w 149"/>
                <a:gd name="T71" fmla="*/ 935599290 h 242"/>
                <a:gd name="T72" fmla="*/ 511780090 w 149"/>
                <a:gd name="T73" fmla="*/ 966059839 h 242"/>
                <a:gd name="T74" fmla="*/ 511780090 w 149"/>
                <a:gd name="T75" fmla="*/ 987817373 h 242"/>
                <a:gd name="T76" fmla="*/ 476176997 w 149"/>
                <a:gd name="T77" fmla="*/ 987817373 h 242"/>
                <a:gd name="T78" fmla="*/ 511780090 w 149"/>
                <a:gd name="T79" fmla="*/ 1053092064 h 242"/>
                <a:gd name="T80" fmla="*/ 511780090 w 149"/>
                <a:gd name="T81" fmla="*/ 1053092064 h 242"/>
                <a:gd name="T82" fmla="*/ 511780090 w 149"/>
                <a:gd name="T83" fmla="*/ 1053092064 h 2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242"/>
                <a:gd name="T128" fmla="*/ 149 w 149"/>
                <a:gd name="T129" fmla="*/ 242 h 24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242">
                  <a:moveTo>
                    <a:pt x="115" y="242"/>
                  </a:moveTo>
                  <a:lnTo>
                    <a:pt x="129" y="207"/>
                  </a:lnTo>
                  <a:lnTo>
                    <a:pt x="115" y="176"/>
                  </a:lnTo>
                  <a:lnTo>
                    <a:pt x="129" y="176"/>
                  </a:lnTo>
                  <a:lnTo>
                    <a:pt x="115" y="168"/>
                  </a:lnTo>
                  <a:lnTo>
                    <a:pt x="115" y="159"/>
                  </a:lnTo>
                  <a:lnTo>
                    <a:pt x="149" y="159"/>
                  </a:lnTo>
                  <a:lnTo>
                    <a:pt x="149" y="138"/>
                  </a:lnTo>
                  <a:lnTo>
                    <a:pt x="142" y="122"/>
                  </a:lnTo>
                  <a:lnTo>
                    <a:pt x="149" y="92"/>
                  </a:lnTo>
                  <a:lnTo>
                    <a:pt x="129" y="92"/>
                  </a:lnTo>
                  <a:lnTo>
                    <a:pt x="115" y="84"/>
                  </a:lnTo>
                  <a:lnTo>
                    <a:pt x="95" y="84"/>
                  </a:lnTo>
                  <a:lnTo>
                    <a:pt x="85" y="77"/>
                  </a:lnTo>
                  <a:lnTo>
                    <a:pt x="85" y="62"/>
                  </a:lnTo>
                  <a:lnTo>
                    <a:pt x="74" y="47"/>
                  </a:lnTo>
                  <a:lnTo>
                    <a:pt x="100" y="10"/>
                  </a:lnTo>
                  <a:lnTo>
                    <a:pt x="95" y="0"/>
                  </a:lnTo>
                  <a:lnTo>
                    <a:pt x="50" y="30"/>
                  </a:lnTo>
                  <a:lnTo>
                    <a:pt x="43" y="47"/>
                  </a:lnTo>
                  <a:lnTo>
                    <a:pt x="22" y="54"/>
                  </a:lnTo>
                  <a:lnTo>
                    <a:pt x="23" y="60"/>
                  </a:lnTo>
                  <a:lnTo>
                    <a:pt x="22" y="64"/>
                  </a:lnTo>
                  <a:lnTo>
                    <a:pt x="22" y="62"/>
                  </a:lnTo>
                  <a:lnTo>
                    <a:pt x="15" y="77"/>
                  </a:lnTo>
                  <a:lnTo>
                    <a:pt x="15" y="129"/>
                  </a:lnTo>
                  <a:lnTo>
                    <a:pt x="22" y="129"/>
                  </a:lnTo>
                  <a:lnTo>
                    <a:pt x="15" y="153"/>
                  </a:lnTo>
                  <a:lnTo>
                    <a:pt x="10" y="153"/>
                  </a:lnTo>
                  <a:lnTo>
                    <a:pt x="10" y="159"/>
                  </a:lnTo>
                  <a:lnTo>
                    <a:pt x="0" y="159"/>
                  </a:lnTo>
                  <a:lnTo>
                    <a:pt x="0" y="168"/>
                  </a:lnTo>
                  <a:lnTo>
                    <a:pt x="22" y="185"/>
                  </a:lnTo>
                  <a:lnTo>
                    <a:pt x="43" y="176"/>
                  </a:lnTo>
                  <a:lnTo>
                    <a:pt x="74" y="222"/>
                  </a:lnTo>
                  <a:lnTo>
                    <a:pt x="107" y="215"/>
                  </a:lnTo>
                  <a:lnTo>
                    <a:pt x="115" y="222"/>
                  </a:lnTo>
                  <a:lnTo>
                    <a:pt x="115" y="227"/>
                  </a:lnTo>
                  <a:lnTo>
                    <a:pt x="107" y="227"/>
                  </a:lnTo>
                  <a:lnTo>
                    <a:pt x="115" y="24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4" name="S_ECU"/>
            <p:cNvSpPr>
              <a:spLocks/>
            </p:cNvSpPr>
            <p:nvPr/>
          </p:nvSpPr>
          <p:spPr bwMode="auto">
            <a:xfrm>
              <a:off x="2439644" y="4267200"/>
              <a:ext cx="157999" cy="190500"/>
            </a:xfrm>
            <a:custGeom>
              <a:avLst/>
              <a:gdLst>
                <a:gd name="T0" fmla="*/ 340515654 w 77"/>
                <a:gd name="T1" fmla="*/ 65735055 h 91"/>
                <a:gd name="T2" fmla="*/ 313980994 w 77"/>
                <a:gd name="T3" fmla="*/ 39441877 h 91"/>
                <a:gd name="T4" fmla="*/ 216691380 w 77"/>
                <a:gd name="T5" fmla="*/ 65735055 h 91"/>
                <a:gd name="T6" fmla="*/ 119401798 w 77"/>
                <a:gd name="T7" fmla="*/ 0 h 91"/>
                <a:gd name="T8" fmla="*/ 22112225 w 77"/>
                <a:gd name="T9" fmla="*/ 39441877 h 91"/>
                <a:gd name="T10" fmla="*/ 22112225 w 77"/>
                <a:gd name="T11" fmla="*/ 65735055 h 91"/>
                <a:gd name="T12" fmla="*/ 0 w 77"/>
                <a:gd name="T13" fmla="*/ 131470109 h 91"/>
                <a:gd name="T14" fmla="*/ 0 w 77"/>
                <a:gd name="T15" fmla="*/ 201588773 h 91"/>
                <a:gd name="T16" fmla="*/ 22112225 w 77"/>
                <a:gd name="T17" fmla="*/ 258558720 h 91"/>
                <a:gd name="T18" fmla="*/ 22112225 w 77"/>
                <a:gd name="T19" fmla="*/ 236647041 h 91"/>
                <a:gd name="T20" fmla="*/ 61912121 w 77"/>
                <a:gd name="T21" fmla="*/ 236647041 h 91"/>
                <a:gd name="T22" fmla="*/ 22112225 w 77"/>
                <a:gd name="T23" fmla="*/ 258558720 h 91"/>
                <a:gd name="T24" fmla="*/ 0 w 77"/>
                <a:gd name="T25" fmla="*/ 363735685 h 91"/>
                <a:gd name="T26" fmla="*/ 61912121 w 77"/>
                <a:gd name="T27" fmla="*/ 398793953 h 91"/>
                <a:gd name="T28" fmla="*/ 185736379 w 77"/>
                <a:gd name="T29" fmla="*/ 258558720 h 91"/>
                <a:gd name="T30" fmla="*/ 313980994 w 77"/>
                <a:gd name="T31" fmla="*/ 201588773 h 91"/>
                <a:gd name="T32" fmla="*/ 340515654 w 77"/>
                <a:gd name="T33" fmla="*/ 131470109 h 91"/>
                <a:gd name="T34" fmla="*/ 313980994 w 77"/>
                <a:gd name="T35" fmla="*/ 65735055 h 91"/>
                <a:gd name="T36" fmla="*/ 340515654 w 77"/>
                <a:gd name="T37" fmla="*/ 65735055 h 91"/>
                <a:gd name="T38" fmla="*/ 340515654 w 77"/>
                <a:gd name="T39" fmla="*/ 65735055 h 9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7"/>
                <a:gd name="T61" fmla="*/ 0 h 91"/>
                <a:gd name="T62" fmla="*/ 77 w 77"/>
                <a:gd name="T63" fmla="*/ 91 h 9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7" h="91">
                  <a:moveTo>
                    <a:pt x="77" y="15"/>
                  </a:moveTo>
                  <a:lnTo>
                    <a:pt x="71" y="9"/>
                  </a:lnTo>
                  <a:lnTo>
                    <a:pt x="49" y="15"/>
                  </a:lnTo>
                  <a:lnTo>
                    <a:pt x="27" y="0"/>
                  </a:lnTo>
                  <a:lnTo>
                    <a:pt x="5" y="9"/>
                  </a:lnTo>
                  <a:lnTo>
                    <a:pt x="5" y="15"/>
                  </a:lnTo>
                  <a:lnTo>
                    <a:pt x="0" y="30"/>
                  </a:lnTo>
                  <a:lnTo>
                    <a:pt x="0" y="46"/>
                  </a:lnTo>
                  <a:lnTo>
                    <a:pt x="5" y="59"/>
                  </a:lnTo>
                  <a:lnTo>
                    <a:pt x="5" y="54"/>
                  </a:lnTo>
                  <a:lnTo>
                    <a:pt x="14" y="54"/>
                  </a:lnTo>
                  <a:lnTo>
                    <a:pt x="5" y="59"/>
                  </a:lnTo>
                  <a:lnTo>
                    <a:pt x="0" y="83"/>
                  </a:lnTo>
                  <a:lnTo>
                    <a:pt x="14" y="91"/>
                  </a:lnTo>
                  <a:lnTo>
                    <a:pt x="42" y="59"/>
                  </a:lnTo>
                  <a:lnTo>
                    <a:pt x="71" y="46"/>
                  </a:lnTo>
                  <a:lnTo>
                    <a:pt x="77" y="30"/>
                  </a:lnTo>
                  <a:lnTo>
                    <a:pt x="71" y="15"/>
                  </a:lnTo>
                  <a:lnTo>
                    <a:pt x="77" y="1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5" name="S_PER"/>
            <p:cNvSpPr>
              <a:spLocks/>
            </p:cNvSpPr>
            <p:nvPr/>
          </p:nvSpPr>
          <p:spPr bwMode="auto">
            <a:xfrm>
              <a:off x="2420666" y="4295775"/>
              <a:ext cx="357267" cy="571500"/>
            </a:xfrm>
            <a:custGeom>
              <a:avLst/>
              <a:gdLst>
                <a:gd name="T0" fmla="*/ 734764852 w 171"/>
                <a:gd name="T1" fmla="*/ 697511497 h 272"/>
                <a:gd name="T2" fmla="*/ 636200188 w 171"/>
                <a:gd name="T3" fmla="*/ 697511497 h 272"/>
                <a:gd name="T4" fmla="*/ 636200188 w 171"/>
                <a:gd name="T5" fmla="*/ 631293167 h 272"/>
                <a:gd name="T6" fmla="*/ 577955892 w 171"/>
                <a:gd name="T7" fmla="*/ 666610590 h 272"/>
                <a:gd name="T8" fmla="*/ 479388978 w 171"/>
                <a:gd name="T9" fmla="*/ 631293167 h 272"/>
                <a:gd name="T10" fmla="*/ 443547474 w 171"/>
                <a:gd name="T11" fmla="*/ 494437757 h 272"/>
                <a:gd name="T12" fmla="*/ 542114255 w 171"/>
                <a:gd name="T13" fmla="*/ 331098088 h 272"/>
                <a:gd name="T14" fmla="*/ 676522673 w 171"/>
                <a:gd name="T15" fmla="*/ 264877590 h 272"/>
                <a:gd name="T16" fmla="*/ 636200188 w 171"/>
                <a:gd name="T17" fmla="*/ 198659260 h 272"/>
                <a:gd name="T18" fmla="*/ 676522673 w 171"/>
                <a:gd name="T19" fmla="*/ 198659260 h 272"/>
                <a:gd name="T20" fmla="*/ 676522673 w 171"/>
                <a:gd name="T21" fmla="*/ 167756251 h 272"/>
                <a:gd name="T22" fmla="*/ 636200188 w 171"/>
                <a:gd name="T23" fmla="*/ 132438795 h 272"/>
                <a:gd name="T24" fmla="*/ 479388978 w 171"/>
                <a:gd name="T25" fmla="*/ 167756251 h 272"/>
                <a:gd name="T26" fmla="*/ 376343331 w 171"/>
                <a:gd name="T27" fmla="*/ 0 h 272"/>
                <a:gd name="T28" fmla="*/ 353942656 w 171"/>
                <a:gd name="T29" fmla="*/ 0 h 272"/>
                <a:gd name="T30" fmla="*/ 376343331 w 171"/>
                <a:gd name="T31" fmla="*/ 66220448 h 272"/>
                <a:gd name="T32" fmla="*/ 353942656 w 171"/>
                <a:gd name="T33" fmla="*/ 132438795 h 272"/>
                <a:gd name="T34" fmla="*/ 224013170 w 171"/>
                <a:gd name="T35" fmla="*/ 198659260 h 272"/>
                <a:gd name="T36" fmla="*/ 98566815 w 171"/>
                <a:gd name="T37" fmla="*/ 331098088 h 272"/>
                <a:gd name="T38" fmla="*/ 35841520 w 171"/>
                <a:gd name="T39" fmla="*/ 295780664 h 272"/>
                <a:gd name="T40" fmla="*/ 58244312 w 171"/>
                <a:gd name="T41" fmla="*/ 198659260 h 272"/>
                <a:gd name="T42" fmla="*/ 0 w 171"/>
                <a:gd name="T43" fmla="*/ 295780664 h 272"/>
                <a:gd name="T44" fmla="*/ 35841520 w 171"/>
                <a:gd name="T45" fmla="*/ 361998995 h 272"/>
                <a:gd name="T46" fmla="*/ 0 w 171"/>
                <a:gd name="T47" fmla="*/ 361998995 h 272"/>
                <a:gd name="T48" fmla="*/ 58244312 w 171"/>
                <a:gd name="T49" fmla="*/ 467951265 h 272"/>
                <a:gd name="T50" fmla="*/ 156809027 w 171"/>
                <a:gd name="T51" fmla="*/ 534169596 h 272"/>
                <a:gd name="T52" fmla="*/ 353942656 w 171"/>
                <a:gd name="T53" fmla="*/ 971219954 h 272"/>
                <a:gd name="T54" fmla="*/ 636200188 w 171"/>
                <a:gd name="T55" fmla="*/ 1200780317 h 272"/>
                <a:gd name="T56" fmla="*/ 734764852 w 171"/>
                <a:gd name="T57" fmla="*/ 1169877309 h 272"/>
                <a:gd name="T58" fmla="*/ 766127491 w 171"/>
                <a:gd name="T59" fmla="*/ 1068341292 h 272"/>
                <a:gd name="T60" fmla="*/ 734764852 w 171"/>
                <a:gd name="T61" fmla="*/ 1028609454 h 272"/>
                <a:gd name="T62" fmla="*/ 766127491 w 171"/>
                <a:gd name="T63" fmla="*/ 790218421 h 272"/>
                <a:gd name="T64" fmla="*/ 734764852 w 171"/>
                <a:gd name="T65" fmla="*/ 697511497 h 272"/>
                <a:gd name="T66" fmla="*/ 734764852 w 171"/>
                <a:gd name="T67" fmla="*/ 697511497 h 272"/>
                <a:gd name="T68" fmla="*/ 734764852 w 171"/>
                <a:gd name="T69" fmla="*/ 697511497 h 2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272"/>
                <a:gd name="T107" fmla="*/ 171 w 171"/>
                <a:gd name="T108" fmla="*/ 272 h 2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272">
                  <a:moveTo>
                    <a:pt x="164" y="158"/>
                  </a:moveTo>
                  <a:lnTo>
                    <a:pt x="142" y="158"/>
                  </a:lnTo>
                  <a:lnTo>
                    <a:pt x="142" y="143"/>
                  </a:lnTo>
                  <a:lnTo>
                    <a:pt x="129" y="151"/>
                  </a:lnTo>
                  <a:lnTo>
                    <a:pt x="107" y="143"/>
                  </a:lnTo>
                  <a:lnTo>
                    <a:pt x="99" y="112"/>
                  </a:lnTo>
                  <a:lnTo>
                    <a:pt x="121" y="75"/>
                  </a:lnTo>
                  <a:lnTo>
                    <a:pt x="151" y="60"/>
                  </a:lnTo>
                  <a:lnTo>
                    <a:pt x="142" y="45"/>
                  </a:lnTo>
                  <a:lnTo>
                    <a:pt x="151" y="45"/>
                  </a:lnTo>
                  <a:lnTo>
                    <a:pt x="151" y="38"/>
                  </a:lnTo>
                  <a:lnTo>
                    <a:pt x="142" y="30"/>
                  </a:lnTo>
                  <a:lnTo>
                    <a:pt x="107" y="38"/>
                  </a:lnTo>
                  <a:lnTo>
                    <a:pt x="84" y="0"/>
                  </a:lnTo>
                  <a:lnTo>
                    <a:pt x="79" y="0"/>
                  </a:lnTo>
                  <a:lnTo>
                    <a:pt x="84" y="15"/>
                  </a:lnTo>
                  <a:lnTo>
                    <a:pt x="79" y="30"/>
                  </a:lnTo>
                  <a:lnTo>
                    <a:pt x="50" y="45"/>
                  </a:lnTo>
                  <a:lnTo>
                    <a:pt x="22" y="75"/>
                  </a:lnTo>
                  <a:lnTo>
                    <a:pt x="8" y="67"/>
                  </a:lnTo>
                  <a:lnTo>
                    <a:pt x="13" y="45"/>
                  </a:lnTo>
                  <a:lnTo>
                    <a:pt x="0" y="67"/>
                  </a:lnTo>
                  <a:lnTo>
                    <a:pt x="8" y="82"/>
                  </a:lnTo>
                  <a:lnTo>
                    <a:pt x="0" y="82"/>
                  </a:lnTo>
                  <a:lnTo>
                    <a:pt x="13" y="106"/>
                  </a:lnTo>
                  <a:lnTo>
                    <a:pt x="35" y="121"/>
                  </a:lnTo>
                  <a:lnTo>
                    <a:pt x="79" y="220"/>
                  </a:lnTo>
                  <a:lnTo>
                    <a:pt x="142" y="272"/>
                  </a:lnTo>
                  <a:lnTo>
                    <a:pt x="164" y="265"/>
                  </a:lnTo>
                  <a:lnTo>
                    <a:pt x="171" y="242"/>
                  </a:lnTo>
                  <a:lnTo>
                    <a:pt x="164" y="233"/>
                  </a:lnTo>
                  <a:lnTo>
                    <a:pt x="171" y="179"/>
                  </a:lnTo>
                  <a:lnTo>
                    <a:pt x="164" y="15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6" name="S_BOL"/>
            <p:cNvSpPr>
              <a:spLocks/>
            </p:cNvSpPr>
            <p:nvPr/>
          </p:nvSpPr>
          <p:spPr bwMode="auto">
            <a:xfrm>
              <a:off x="2758956" y="4600575"/>
              <a:ext cx="314925" cy="419100"/>
            </a:xfrm>
            <a:custGeom>
              <a:avLst/>
              <a:gdLst>
                <a:gd name="T0" fmla="*/ 650001350 w 152"/>
                <a:gd name="T1" fmla="*/ 677705400 h 203"/>
                <a:gd name="T2" fmla="*/ 650001350 w 152"/>
                <a:gd name="T3" fmla="*/ 549836583 h 203"/>
                <a:gd name="T4" fmla="*/ 620068110 w 152"/>
                <a:gd name="T5" fmla="*/ 447540988 h 203"/>
                <a:gd name="T6" fmla="*/ 620068110 w 152"/>
                <a:gd name="T7" fmla="*/ 426228830 h 203"/>
                <a:gd name="T8" fmla="*/ 555923088 w 152"/>
                <a:gd name="T9" fmla="*/ 426228830 h 203"/>
                <a:gd name="T10" fmla="*/ 491777938 w 152"/>
                <a:gd name="T11" fmla="*/ 358033229 h 203"/>
                <a:gd name="T12" fmla="*/ 491777938 w 152"/>
                <a:gd name="T13" fmla="*/ 328196621 h 203"/>
                <a:gd name="T14" fmla="*/ 461842629 w 152"/>
                <a:gd name="T15" fmla="*/ 234425540 h 203"/>
                <a:gd name="T16" fmla="*/ 248027205 w 152"/>
                <a:gd name="T17" fmla="*/ 161966682 h 203"/>
                <a:gd name="T18" fmla="*/ 213815424 w 152"/>
                <a:gd name="T19" fmla="*/ 98032241 h 203"/>
                <a:gd name="T20" fmla="*/ 213815424 w 152"/>
                <a:gd name="T21" fmla="*/ 0 h 203"/>
                <a:gd name="T22" fmla="*/ 132566548 w 152"/>
                <a:gd name="T23" fmla="*/ 0 h 203"/>
                <a:gd name="T24" fmla="*/ 64145038 w 152"/>
                <a:gd name="T25" fmla="*/ 76722148 h 203"/>
                <a:gd name="T26" fmla="*/ 0 w 152"/>
                <a:gd name="T27" fmla="*/ 76722148 h 203"/>
                <a:gd name="T28" fmla="*/ 34209729 w 152"/>
                <a:gd name="T29" fmla="*/ 161966682 h 203"/>
                <a:gd name="T30" fmla="*/ 0 w 152"/>
                <a:gd name="T31" fmla="*/ 392131029 h 203"/>
                <a:gd name="T32" fmla="*/ 34209729 w 152"/>
                <a:gd name="T33" fmla="*/ 426228830 h 203"/>
                <a:gd name="T34" fmla="*/ 0 w 152"/>
                <a:gd name="T35" fmla="*/ 519999846 h 203"/>
                <a:gd name="T36" fmla="*/ 34209729 w 152"/>
                <a:gd name="T37" fmla="*/ 613770991 h 203"/>
                <a:gd name="T38" fmla="*/ 64145038 w 152"/>
                <a:gd name="T39" fmla="*/ 865245367 h 203"/>
                <a:gd name="T40" fmla="*/ 89801822 w 152"/>
                <a:gd name="T41" fmla="*/ 865245367 h 203"/>
                <a:gd name="T42" fmla="*/ 183882184 w 152"/>
                <a:gd name="T43" fmla="*/ 771474351 h 203"/>
                <a:gd name="T44" fmla="*/ 277960510 w 152"/>
                <a:gd name="T45" fmla="*/ 843933210 h 203"/>
                <a:gd name="T46" fmla="*/ 312172291 w 152"/>
                <a:gd name="T47" fmla="*/ 771474351 h 203"/>
                <a:gd name="T48" fmla="*/ 406250553 w 152"/>
                <a:gd name="T49" fmla="*/ 843933210 h 203"/>
                <a:gd name="T50" fmla="*/ 436185861 w 152"/>
                <a:gd name="T51" fmla="*/ 613770991 h 203"/>
                <a:gd name="T52" fmla="*/ 594409274 w 152"/>
                <a:gd name="T53" fmla="*/ 613770991 h 203"/>
                <a:gd name="T54" fmla="*/ 650001350 w 152"/>
                <a:gd name="T55" fmla="*/ 677705400 h 203"/>
                <a:gd name="T56" fmla="*/ 650001350 w 152"/>
                <a:gd name="T57" fmla="*/ 677705400 h 203"/>
                <a:gd name="T58" fmla="*/ 650001350 w 152"/>
                <a:gd name="T59" fmla="*/ 677705400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203"/>
                <a:gd name="T92" fmla="*/ 152 w 152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203">
                  <a:moveTo>
                    <a:pt x="152" y="159"/>
                  </a:moveTo>
                  <a:lnTo>
                    <a:pt x="152" y="129"/>
                  </a:lnTo>
                  <a:lnTo>
                    <a:pt x="145" y="105"/>
                  </a:lnTo>
                  <a:lnTo>
                    <a:pt x="145" y="100"/>
                  </a:lnTo>
                  <a:lnTo>
                    <a:pt x="130" y="100"/>
                  </a:lnTo>
                  <a:lnTo>
                    <a:pt x="115" y="84"/>
                  </a:lnTo>
                  <a:lnTo>
                    <a:pt x="115" y="77"/>
                  </a:lnTo>
                  <a:lnTo>
                    <a:pt x="108" y="55"/>
                  </a:lnTo>
                  <a:lnTo>
                    <a:pt x="58" y="38"/>
                  </a:lnTo>
                  <a:lnTo>
                    <a:pt x="50" y="23"/>
                  </a:lnTo>
                  <a:lnTo>
                    <a:pt x="50" y="0"/>
                  </a:lnTo>
                  <a:lnTo>
                    <a:pt x="31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8" y="38"/>
                  </a:lnTo>
                  <a:lnTo>
                    <a:pt x="0" y="92"/>
                  </a:lnTo>
                  <a:lnTo>
                    <a:pt x="8" y="100"/>
                  </a:lnTo>
                  <a:lnTo>
                    <a:pt x="0" y="122"/>
                  </a:lnTo>
                  <a:lnTo>
                    <a:pt x="8" y="144"/>
                  </a:lnTo>
                  <a:lnTo>
                    <a:pt x="15" y="203"/>
                  </a:lnTo>
                  <a:lnTo>
                    <a:pt x="21" y="203"/>
                  </a:lnTo>
                  <a:lnTo>
                    <a:pt x="43" y="181"/>
                  </a:lnTo>
                  <a:lnTo>
                    <a:pt x="65" y="198"/>
                  </a:lnTo>
                  <a:lnTo>
                    <a:pt x="73" y="181"/>
                  </a:lnTo>
                  <a:lnTo>
                    <a:pt x="95" y="198"/>
                  </a:lnTo>
                  <a:lnTo>
                    <a:pt x="102" y="144"/>
                  </a:lnTo>
                  <a:lnTo>
                    <a:pt x="139" y="144"/>
                  </a:lnTo>
                  <a:lnTo>
                    <a:pt x="152" y="15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7" name="S_PRY"/>
            <p:cNvSpPr>
              <a:spLocks/>
            </p:cNvSpPr>
            <p:nvPr/>
          </p:nvSpPr>
          <p:spPr bwMode="auto">
            <a:xfrm>
              <a:off x="2963326" y="4895850"/>
              <a:ext cx="214933" cy="276225"/>
            </a:xfrm>
            <a:custGeom>
              <a:avLst/>
              <a:gdLst>
                <a:gd name="T0" fmla="*/ 422872626 w 106"/>
                <a:gd name="T1" fmla="*/ 418656779 h 135"/>
                <a:gd name="T2" fmla="*/ 452772222 w 106"/>
                <a:gd name="T3" fmla="*/ 326553175 h 135"/>
                <a:gd name="T4" fmla="*/ 392973031 w 106"/>
                <a:gd name="T5" fmla="*/ 288874056 h 135"/>
                <a:gd name="T6" fmla="*/ 392973031 w 106"/>
                <a:gd name="T7" fmla="*/ 234447461 h 135"/>
                <a:gd name="T8" fmla="*/ 371615291 w 106"/>
                <a:gd name="T9" fmla="*/ 234447461 h 135"/>
                <a:gd name="T10" fmla="*/ 243470856 w 106"/>
                <a:gd name="T11" fmla="*/ 154902882 h 135"/>
                <a:gd name="T12" fmla="*/ 243470856 w 106"/>
                <a:gd name="T13" fmla="*/ 66985571 h 135"/>
                <a:gd name="T14" fmla="*/ 187943626 w 106"/>
                <a:gd name="T15" fmla="*/ 0 h 135"/>
                <a:gd name="T16" fmla="*/ 38443534 w 106"/>
                <a:gd name="T17" fmla="*/ 0 h 135"/>
                <a:gd name="T18" fmla="*/ 0 w 106"/>
                <a:gd name="T19" fmla="*/ 234447461 h 135"/>
                <a:gd name="T20" fmla="*/ 59799207 w 106"/>
                <a:gd name="T21" fmla="*/ 326553175 h 135"/>
                <a:gd name="T22" fmla="*/ 187943626 w 106"/>
                <a:gd name="T23" fmla="*/ 326553175 h 135"/>
                <a:gd name="T24" fmla="*/ 243470856 w 106"/>
                <a:gd name="T25" fmla="*/ 418656779 h 135"/>
                <a:gd name="T26" fmla="*/ 243470856 w 106"/>
                <a:gd name="T27" fmla="*/ 443776874 h 135"/>
                <a:gd name="T28" fmla="*/ 217843222 w 106"/>
                <a:gd name="T29" fmla="*/ 506574042 h 135"/>
                <a:gd name="T30" fmla="*/ 324629918 w 106"/>
                <a:gd name="T31" fmla="*/ 565187042 h 135"/>
                <a:gd name="T32" fmla="*/ 371615291 w 106"/>
                <a:gd name="T33" fmla="*/ 506574042 h 135"/>
                <a:gd name="T34" fmla="*/ 422872626 w 106"/>
                <a:gd name="T35" fmla="*/ 481455993 h 135"/>
                <a:gd name="T36" fmla="*/ 422872626 w 106"/>
                <a:gd name="T37" fmla="*/ 418656779 h 135"/>
                <a:gd name="T38" fmla="*/ 422872626 w 106"/>
                <a:gd name="T39" fmla="*/ 418656779 h 135"/>
                <a:gd name="T40" fmla="*/ 422872626 w 106"/>
                <a:gd name="T41" fmla="*/ 418656779 h 1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6"/>
                <a:gd name="T64" fmla="*/ 0 h 135"/>
                <a:gd name="T65" fmla="*/ 106 w 106"/>
                <a:gd name="T66" fmla="*/ 135 h 1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6" h="135">
                  <a:moveTo>
                    <a:pt x="99" y="100"/>
                  </a:moveTo>
                  <a:lnTo>
                    <a:pt x="106" y="78"/>
                  </a:lnTo>
                  <a:lnTo>
                    <a:pt x="92" y="69"/>
                  </a:lnTo>
                  <a:lnTo>
                    <a:pt x="92" y="56"/>
                  </a:lnTo>
                  <a:lnTo>
                    <a:pt x="87" y="56"/>
                  </a:lnTo>
                  <a:lnTo>
                    <a:pt x="57" y="37"/>
                  </a:lnTo>
                  <a:lnTo>
                    <a:pt x="57" y="16"/>
                  </a:lnTo>
                  <a:lnTo>
                    <a:pt x="44" y="0"/>
                  </a:lnTo>
                  <a:lnTo>
                    <a:pt x="9" y="0"/>
                  </a:lnTo>
                  <a:lnTo>
                    <a:pt x="0" y="56"/>
                  </a:lnTo>
                  <a:lnTo>
                    <a:pt x="14" y="78"/>
                  </a:lnTo>
                  <a:lnTo>
                    <a:pt x="44" y="78"/>
                  </a:lnTo>
                  <a:lnTo>
                    <a:pt x="57" y="100"/>
                  </a:lnTo>
                  <a:lnTo>
                    <a:pt x="57" y="106"/>
                  </a:lnTo>
                  <a:lnTo>
                    <a:pt x="51" y="121"/>
                  </a:lnTo>
                  <a:lnTo>
                    <a:pt x="76" y="135"/>
                  </a:lnTo>
                  <a:lnTo>
                    <a:pt x="87" y="121"/>
                  </a:lnTo>
                  <a:lnTo>
                    <a:pt x="99" y="115"/>
                  </a:lnTo>
                  <a:lnTo>
                    <a:pt x="99" y="10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8" name="S_BRA"/>
            <p:cNvSpPr>
              <a:spLocks/>
            </p:cNvSpPr>
            <p:nvPr/>
          </p:nvSpPr>
          <p:spPr bwMode="auto">
            <a:xfrm>
              <a:off x="2626110" y="4143375"/>
              <a:ext cx="1104298" cy="1247775"/>
            </a:xfrm>
            <a:custGeom>
              <a:avLst/>
              <a:gdLst>
                <a:gd name="T0" fmla="*/ 2147483647 w 530"/>
                <a:gd name="T1" fmla="*/ 2147483647 h 598"/>
                <a:gd name="T2" fmla="*/ 2147483647 w 530"/>
                <a:gd name="T3" fmla="*/ 2147483647 h 598"/>
                <a:gd name="T4" fmla="*/ 2147483647 w 530"/>
                <a:gd name="T5" fmla="*/ 2147483647 h 598"/>
                <a:gd name="T6" fmla="*/ 2147483647 w 530"/>
                <a:gd name="T7" fmla="*/ 2147483647 h 598"/>
                <a:gd name="T8" fmla="*/ 2147483647 w 530"/>
                <a:gd name="T9" fmla="*/ 2147483647 h 598"/>
                <a:gd name="T10" fmla="*/ 2147483647 w 530"/>
                <a:gd name="T11" fmla="*/ 0 h 598"/>
                <a:gd name="T12" fmla="*/ 2147483647 w 530"/>
                <a:gd name="T13" fmla="*/ 2147483647 h 598"/>
                <a:gd name="T14" fmla="*/ 2147483647 w 530"/>
                <a:gd name="T15" fmla="*/ 2147483647 h 598"/>
                <a:gd name="T16" fmla="*/ 2147483647 w 530"/>
                <a:gd name="T17" fmla="*/ 2147483647 h 598"/>
                <a:gd name="T18" fmla="*/ 2147483647 w 530"/>
                <a:gd name="T19" fmla="*/ 2147483647 h 598"/>
                <a:gd name="T20" fmla="*/ 2147483647 w 530"/>
                <a:gd name="T21" fmla="*/ 2147483647 h 598"/>
                <a:gd name="T22" fmla="*/ 2147483647 w 530"/>
                <a:gd name="T23" fmla="*/ 2147483647 h 598"/>
                <a:gd name="T24" fmla="*/ 2147483647 w 530"/>
                <a:gd name="T25" fmla="*/ 2147483647 h 598"/>
                <a:gd name="T26" fmla="*/ 2147483647 w 530"/>
                <a:gd name="T27" fmla="*/ 2147483647 h 598"/>
                <a:gd name="T28" fmla="*/ 2147483647 w 530"/>
                <a:gd name="T29" fmla="*/ 2147483647 h 598"/>
                <a:gd name="T30" fmla="*/ 2147483647 w 530"/>
                <a:gd name="T31" fmla="*/ 2147483647 h 598"/>
                <a:gd name="T32" fmla="*/ 2147483647 w 530"/>
                <a:gd name="T33" fmla="*/ 2147483647 h 598"/>
                <a:gd name="T34" fmla="*/ 2147483647 w 530"/>
                <a:gd name="T35" fmla="*/ 2147483647 h 598"/>
                <a:gd name="T36" fmla="*/ 2147483647 w 530"/>
                <a:gd name="T37" fmla="*/ 2147483647 h 598"/>
                <a:gd name="T38" fmla="*/ 2147483647 w 530"/>
                <a:gd name="T39" fmla="*/ 2147483647 h 598"/>
                <a:gd name="T40" fmla="*/ 2147483647 w 530"/>
                <a:gd name="T41" fmla="*/ 2147483647 h 598"/>
                <a:gd name="T42" fmla="*/ 2147483647 w 530"/>
                <a:gd name="T43" fmla="*/ 2147483647 h 598"/>
                <a:gd name="T44" fmla="*/ 2147483647 w 530"/>
                <a:gd name="T45" fmla="*/ 2147483647 h 598"/>
                <a:gd name="T46" fmla="*/ 2147483647 w 530"/>
                <a:gd name="T47" fmla="*/ 2147483647 h 598"/>
                <a:gd name="T48" fmla="*/ 2147483647 w 530"/>
                <a:gd name="T49" fmla="*/ 2147483647 h 598"/>
                <a:gd name="T50" fmla="*/ 2147483647 w 530"/>
                <a:gd name="T51" fmla="*/ 2147483647 h 598"/>
                <a:gd name="T52" fmla="*/ 2147483647 w 530"/>
                <a:gd name="T53" fmla="*/ 2147483647 h 598"/>
                <a:gd name="T54" fmla="*/ 2147483647 w 530"/>
                <a:gd name="T55" fmla="*/ 2147483647 h 598"/>
                <a:gd name="T56" fmla="*/ 2147483647 w 530"/>
                <a:gd name="T57" fmla="*/ 2147483647 h 598"/>
                <a:gd name="T58" fmla="*/ 2147483647 w 530"/>
                <a:gd name="T59" fmla="*/ 2147483647 h 598"/>
                <a:gd name="T60" fmla="*/ 2147483647 w 530"/>
                <a:gd name="T61" fmla="*/ 2147483647 h 598"/>
                <a:gd name="T62" fmla="*/ 2147483647 w 530"/>
                <a:gd name="T63" fmla="*/ 2147483647 h 598"/>
                <a:gd name="T64" fmla="*/ 2147483647 w 530"/>
                <a:gd name="T65" fmla="*/ 2147483647 h 598"/>
                <a:gd name="T66" fmla="*/ 2147483647 w 530"/>
                <a:gd name="T67" fmla="*/ 2147483647 h 598"/>
                <a:gd name="T68" fmla="*/ 2147483647 w 530"/>
                <a:gd name="T69" fmla="*/ 2147483647 h 598"/>
                <a:gd name="T70" fmla="*/ 2147483647 w 530"/>
                <a:gd name="T71" fmla="*/ 2147483647 h 598"/>
                <a:gd name="T72" fmla="*/ 2147483647 w 530"/>
                <a:gd name="T73" fmla="*/ 2147483647 h 598"/>
                <a:gd name="T74" fmla="*/ 2147483647 w 530"/>
                <a:gd name="T75" fmla="*/ 2147483647 h 598"/>
                <a:gd name="T76" fmla="*/ 2147483647 w 530"/>
                <a:gd name="T77" fmla="*/ 2147483647 h 598"/>
                <a:gd name="T78" fmla="*/ 2147483647 w 530"/>
                <a:gd name="T79" fmla="*/ 2147483647 h 598"/>
                <a:gd name="T80" fmla="*/ 2147483647 w 530"/>
                <a:gd name="T81" fmla="*/ 2147483647 h 598"/>
                <a:gd name="T82" fmla="*/ 2147483647 w 530"/>
                <a:gd name="T83" fmla="*/ 2147483647 h 598"/>
                <a:gd name="T84" fmla="*/ 2147483647 w 530"/>
                <a:gd name="T85" fmla="*/ 2147483647 h 598"/>
                <a:gd name="T86" fmla="*/ 2147483647 w 530"/>
                <a:gd name="T87" fmla="*/ 2147483647 h 598"/>
                <a:gd name="T88" fmla="*/ 2147483647 w 530"/>
                <a:gd name="T89" fmla="*/ 2147483647 h 598"/>
                <a:gd name="T90" fmla="*/ 2147483647 w 530"/>
                <a:gd name="T91" fmla="*/ 2147483647 h 598"/>
                <a:gd name="T92" fmla="*/ 2147483647 w 530"/>
                <a:gd name="T93" fmla="*/ 2147483647 h 598"/>
                <a:gd name="T94" fmla="*/ 2147483647 w 530"/>
                <a:gd name="T95" fmla="*/ 2147483647 h 598"/>
                <a:gd name="T96" fmla="*/ 2147483647 w 530"/>
                <a:gd name="T97" fmla="*/ 2147483647 h 59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0"/>
                <a:gd name="T148" fmla="*/ 0 h 598"/>
                <a:gd name="T149" fmla="*/ 530 w 530"/>
                <a:gd name="T150" fmla="*/ 598 h 59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0" h="598">
                  <a:moveTo>
                    <a:pt x="307" y="25"/>
                  </a:moveTo>
                  <a:lnTo>
                    <a:pt x="297" y="25"/>
                  </a:lnTo>
                  <a:lnTo>
                    <a:pt x="285" y="47"/>
                  </a:lnTo>
                  <a:lnTo>
                    <a:pt x="277" y="55"/>
                  </a:lnTo>
                  <a:lnTo>
                    <a:pt x="263" y="47"/>
                  </a:lnTo>
                  <a:lnTo>
                    <a:pt x="250" y="47"/>
                  </a:lnTo>
                  <a:lnTo>
                    <a:pt x="245" y="55"/>
                  </a:lnTo>
                  <a:lnTo>
                    <a:pt x="235" y="55"/>
                  </a:lnTo>
                  <a:lnTo>
                    <a:pt x="208" y="64"/>
                  </a:lnTo>
                  <a:lnTo>
                    <a:pt x="200" y="64"/>
                  </a:lnTo>
                  <a:lnTo>
                    <a:pt x="193" y="47"/>
                  </a:lnTo>
                  <a:lnTo>
                    <a:pt x="193" y="0"/>
                  </a:lnTo>
                  <a:lnTo>
                    <a:pt x="178" y="0"/>
                  </a:lnTo>
                  <a:lnTo>
                    <a:pt x="171" y="17"/>
                  </a:lnTo>
                  <a:lnTo>
                    <a:pt x="149" y="25"/>
                  </a:lnTo>
                  <a:lnTo>
                    <a:pt x="122" y="17"/>
                  </a:lnTo>
                  <a:lnTo>
                    <a:pt x="131" y="25"/>
                  </a:lnTo>
                  <a:lnTo>
                    <a:pt x="131" y="47"/>
                  </a:lnTo>
                  <a:lnTo>
                    <a:pt x="136" y="55"/>
                  </a:lnTo>
                  <a:lnTo>
                    <a:pt x="116" y="71"/>
                  </a:lnTo>
                  <a:lnTo>
                    <a:pt x="109" y="71"/>
                  </a:lnTo>
                  <a:lnTo>
                    <a:pt x="96" y="64"/>
                  </a:lnTo>
                  <a:lnTo>
                    <a:pt x="87" y="55"/>
                  </a:lnTo>
                  <a:lnTo>
                    <a:pt x="52" y="55"/>
                  </a:lnTo>
                  <a:lnTo>
                    <a:pt x="52" y="64"/>
                  </a:lnTo>
                  <a:lnTo>
                    <a:pt x="66" y="71"/>
                  </a:lnTo>
                  <a:lnTo>
                    <a:pt x="52" y="71"/>
                  </a:lnTo>
                  <a:lnTo>
                    <a:pt x="66" y="99"/>
                  </a:lnTo>
                  <a:lnTo>
                    <a:pt x="52" y="138"/>
                  </a:lnTo>
                  <a:lnTo>
                    <a:pt x="24" y="155"/>
                  </a:lnTo>
                  <a:lnTo>
                    <a:pt x="0" y="190"/>
                  </a:lnTo>
                  <a:lnTo>
                    <a:pt x="10" y="220"/>
                  </a:lnTo>
                  <a:lnTo>
                    <a:pt x="32" y="229"/>
                  </a:lnTo>
                  <a:lnTo>
                    <a:pt x="45" y="220"/>
                  </a:lnTo>
                  <a:lnTo>
                    <a:pt x="45" y="235"/>
                  </a:lnTo>
                  <a:lnTo>
                    <a:pt x="81" y="235"/>
                  </a:lnTo>
                  <a:lnTo>
                    <a:pt x="96" y="220"/>
                  </a:lnTo>
                  <a:lnTo>
                    <a:pt x="116" y="220"/>
                  </a:lnTo>
                  <a:lnTo>
                    <a:pt x="116" y="242"/>
                  </a:lnTo>
                  <a:lnTo>
                    <a:pt x="122" y="257"/>
                  </a:lnTo>
                  <a:lnTo>
                    <a:pt x="171" y="274"/>
                  </a:lnTo>
                  <a:lnTo>
                    <a:pt x="178" y="298"/>
                  </a:lnTo>
                  <a:lnTo>
                    <a:pt x="178" y="304"/>
                  </a:lnTo>
                  <a:lnTo>
                    <a:pt x="193" y="319"/>
                  </a:lnTo>
                  <a:lnTo>
                    <a:pt x="208" y="319"/>
                  </a:lnTo>
                  <a:lnTo>
                    <a:pt x="208" y="326"/>
                  </a:lnTo>
                  <a:lnTo>
                    <a:pt x="215" y="350"/>
                  </a:lnTo>
                  <a:lnTo>
                    <a:pt x="215" y="402"/>
                  </a:lnTo>
                  <a:lnTo>
                    <a:pt x="245" y="419"/>
                  </a:lnTo>
                  <a:lnTo>
                    <a:pt x="250" y="419"/>
                  </a:lnTo>
                  <a:lnTo>
                    <a:pt x="250" y="432"/>
                  </a:lnTo>
                  <a:lnTo>
                    <a:pt x="263" y="439"/>
                  </a:lnTo>
                  <a:lnTo>
                    <a:pt x="256" y="462"/>
                  </a:lnTo>
                  <a:lnTo>
                    <a:pt x="263" y="462"/>
                  </a:lnTo>
                  <a:lnTo>
                    <a:pt x="277" y="484"/>
                  </a:lnTo>
                  <a:lnTo>
                    <a:pt x="256" y="498"/>
                  </a:lnTo>
                  <a:lnTo>
                    <a:pt x="221" y="545"/>
                  </a:lnTo>
                  <a:lnTo>
                    <a:pt x="235" y="545"/>
                  </a:lnTo>
                  <a:lnTo>
                    <a:pt x="245" y="551"/>
                  </a:lnTo>
                  <a:lnTo>
                    <a:pt x="250" y="551"/>
                  </a:lnTo>
                  <a:lnTo>
                    <a:pt x="277" y="566"/>
                  </a:lnTo>
                  <a:lnTo>
                    <a:pt x="285" y="575"/>
                  </a:lnTo>
                  <a:lnTo>
                    <a:pt x="277" y="598"/>
                  </a:lnTo>
                  <a:lnTo>
                    <a:pt x="329" y="519"/>
                  </a:lnTo>
                  <a:lnTo>
                    <a:pt x="342" y="508"/>
                  </a:lnTo>
                  <a:lnTo>
                    <a:pt x="342" y="469"/>
                  </a:lnTo>
                  <a:lnTo>
                    <a:pt x="347" y="445"/>
                  </a:lnTo>
                  <a:lnTo>
                    <a:pt x="369" y="439"/>
                  </a:lnTo>
                  <a:lnTo>
                    <a:pt x="399" y="424"/>
                  </a:lnTo>
                  <a:lnTo>
                    <a:pt x="427" y="424"/>
                  </a:lnTo>
                  <a:lnTo>
                    <a:pt x="427" y="419"/>
                  </a:lnTo>
                  <a:lnTo>
                    <a:pt x="446" y="402"/>
                  </a:lnTo>
                  <a:lnTo>
                    <a:pt x="446" y="395"/>
                  </a:lnTo>
                  <a:lnTo>
                    <a:pt x="461" y="365"/>
                  </a:lnTo>
                  <a:lnTo>
                    <a:pt x="461" y="350"/>
                  </a:lnTo>
                  <a:lnTo>
                    <a:pt x="468" y="343"/>
                  </a:lnTo>
                  <a:lnTo>
                    <a:pt x="468" y="274"/>
                  </a:lnTo>
                  <a:lnTo>
                    <a:pt x="530" y="190"/>
                  </a:lnTo>
                  <a:lnTo>
                    <a:pt x="525" y="155"/>
                  </a:lnTo>
                  <a:lnTo>
                    <a:pt x="496" y="155"/>
                  </a:lnTo>
                  <a:lnTo>
                    <a:pt x="454" y="116"/>
                  </a:lnTo>
                  <a:lnTo>
                    <a:pt x="439" y="121"/>
                  </a:lnTo>
                  <a:lnTo>
                    <a:pt x="412" y="116"/>
                  </a:lnTo>
                  <a:lnTo>
                    <a:pt x="399" y="116"/>
                  </a:lnTo>
                  <a:lnTo>
                    <a:pt x="399" y="99"/>
                  </a:lnTo>
                  <a:lnTo>
                    <a:pt x="347" y="92"/>
                  </a:lnTo>
                  <a:lnTo>
                    <a:pt x="342" y="99"/>
                  </a:lnTo>
                  <a:lnTo>
                    <a:pt x="342" y="77"/>
                  </a:lnTo>
                  <a:lnTo>
                    <a:pt x="320" y="77"/>
                  </a:lnTo>
                  <a:lnTo>
                    <a:pt x="320" y="99"/>
                  </a:lnTo>
                  <a:lnTo>
                    <a:pt x="307" y="92"/>
                  </a:lnTo>
                  <a:lnTo>
                    <a:pt x="297" y="99"/>
                  </a:lnTo>
                  <a:lnTo>
                    <a:pt x="307" y="77"/>
                  </a:lnTo>
                  <a:lnTo>
                    <a:pt x="329" y="64"/>
                  </a:lnTo>
                  <a:lnTo>
                    <a:pt x="329" y="55"/>
                  </a:lnTo>
                  <a:lnTo>
                    <a:pt x="320" y="55"/>
                  </a:lnTo>
                  <a:lnTo>
                    <a:pt x="307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9" name="S_GUF"/>
            <p:cNvSpPr>
              <a:spLocks/>
            </p:cNvSpPr>
            <p:nvPr/>
          </p:nvSpPr>
          <p:spPr bwMode="auto">
            <a:xfrm>
              <a:off x="3178259" y="4133850"/>
              <a:ext cx="66423" cy="114300"/>
            </a:xfrm>
            <a:custGeom>
              <a:avLst/>
              <a:gdLst>
                <a:gd name="T0" fmla="*/ 0 w 33"/>
                <a:gd name="T1" fmla="*/ 201053709 h 57"/>
                <a:gd name="T2" fmla="*/ 53069250 w 33"/>
                <a:gd name="T3" fmla="*/ 229201580 h 57"/>
                <a:gd name="T4" fmla="*/ 89809195 w 33"/>
                <a:gd name="T5" fmla="*/ 201053709 h 57"/>
                <a:gd name="T6" fmla="*/ 134713808 w 33"/>
                <a:gd name="T7" fmla="*/ 112589512 h 57"/>
                <a:gd name="T8" fmla="*/ 0 w 33"/>
                <a:gd name="T9" fmla="*/ 0 h 57"/>
                <a:gd name="T10" fmla="*/ 0 w 33"/>
                <a:gd name="T11" fmla="*/ 201053709 h 57"/>
                <a:gd name="T12" fmla="*/ 0 w 33"/>
                <a:gd name="T13" fmla="*/ 201053709 h 57"/>
                <a:gd name="T14" fmla="*/ 0 w 33"/>
                <a:gd name="T15" fmla="*/ 201053709 h 5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57"/>
                <a:gd name="T26" fmla="*/ 33 w 33"/>
                <a:gd name="T27" fmla="*/ 57 h 5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57">
                  <a:moveTo>
                    <a:pt x="0" y="50"/>
                  </a:moveTo>
                  <a:lnTo>
                    <a:pt x="13" y="57"/>
                  </a:lnTo>
                  <a:lnTo>
                    <a:pt x="22" y="50"/>
                  </a:lnTo>
                  <a:lnTo>
                    <a:pt x="33" y="28"/>
                  </a:lnTo>
                  <a:lnTo>
                    <a:pt x="0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0" name="S_SUR"/>
            <p:cNvSpPr>
              <a:spLocks/>
            </p:cNvSpPr>
            <p:nvPr/>
          </p:nvSpPr>
          <p:spPr bwMode="auto">
            <a:xfrm>
              <a:off x="3064391" y="4133850"/>
              <a:ext cx="113867" cy="114300"/>
            </a:xfrm>
            <a:custGeom>
              <a:avLst/>
              <a:gdLst>
                <a:gd name="T0" fmla="*/ 251240187 w 52"/>
                <a:gd name="T1" fmla="*/ 201053709 h 57"/>
                <a:gd name="T2" fmla="*/ 251240187 w 52"/>
                <a:gd name="T3" fmla="*/ 0 h 57"/>
                <a:gd name="T4" fmla="*/ 106294607 w 52"/>
                <a:gd name="T5" fmla="*/ 0 h 57"/>
                <a:gd name="T6" fmla="*/ 0 w 52"/>
                <a:gd name="T7" fmla="*/ 84443646 h 57"/>
                <a:gd name="T8" fmla="*/ 106294607 w 52"/>
                <a:gd name="T9" fmla="*/ 229201580 h 57"/>
                <a:gd name="T10" fmla="*/ 154608358 w 52"/>
                <a:gd name="T11" fmla="*/ 229201580 h 57"/>
                <a:gd name="T12" fmla="*/ 183598786 w 52"/>
                <a:gd name="T13" fmla="*/ 201053709 h 57"/>
                <a:gd name="T14" fmla="*/ 251240187 w 52"/>
                <a:gd name="T15" fmla="*/ 201053709 h 57"/>
                <a:gd name="T16" fmla="*/ 251240187 w 52"/>
                <a:gd name="T17" fmla="*/ 201053709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57"/>
                <a:gd name="T29" fmla="*/ 52 w 52"/>
                <a:gd name="T30" fmla="*/ 57 h 5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57">
                  <a:moveTo>
                    <a:pt x="52" y="50"/>
                  </a:moveTo>
                  <a:lnTo>
                    <a:pt x="52" y="0"/>
                  </a:lnTo>
                  <a:lnTo>
                    <a:pt x="22" y="0"/>
                  </a:lnTo>
                  <a:lnTo>
                    <a:pt x="0" y="21"/>
                  </a:lnTo>
                  <a:lnTo>
                    <a:pt x="22" y="57"/>
                  </a:lnTo>
                  <a:lnTo>
                    <a:pt x="32" y="57"/>
                  </a:lnTo>
                  <a:lnTo>
                    <a:pt x="38" y="50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1" name="S_GUY"/>
            <p:cNvSpPr>
              <a:spLocks/>
            </p:cNvSpPr>
            <p:nvPr/>
          </p:nvSpPr>
          <p:spPr bwMode="auto">
            <a:xfrm>
              <a:off x="2982304" y="4038600"/>
              <a:ext cx="129532" cy="238125"/>
            </a:xfrm>
            <a:custGeom>
              <a:avLst/>
              <a:gdLst>
                <a:gd name="T0" fmla="*/ 104192172 w 64"/>
                <a:gd name="T1" fmla="*/ 0 h 113"/>
                <a:gd name="T2" fmla="*/ 160630481 w 64"/>
                <a:gd name="T3" fmla="*/ 75491959 h 113"/>
                <a:gd name="T4" fmla="*/ 160630481 w 64"/>
                <a:gd name="T5" fmla="*/ 102136665 h 113"/>
                <a:gd name="T6" fmla="*/ 191019682 w 64"/>
                <a:gd name="T7" fmla="*/ 102136665 h 113"/>
                <a:gd name="T8" fmla="*/ 277847224 w 64"/>
                <a:gd name="T9" fmla="*/ 177628624 h 113"/>
                <a:gd name="T10" fmla="*/ 191019682 w 64"/>
                <a:gd name="T11" fmla="*/ 275325174 h 113"/>
                <a:gd name="T12" fmla="*/ 277847224 w 64"/>
                <a:gd name="T13" fmla="*/ 452953798 h 113"/>
                <a:gd name="T14" fmla="*/ 160630481 w 64"/>
                <a:gd name="T15" fmla="*/ 501801019 h 113"/>
                <a:gd name="T16" fmla="*/ 138923612 w 64"/>
                <a:gd name="T17" fmla="*/ 501801019 h 113"/>
                <a:gd name="T18" fmla="*/ 104192172 w 64"/>
                <a:gd name="T19" fmla="*/ 417426822 h 113"/>
                <a:gd name="T20" fmla="*/ 104192172 w 64"/>
                <a:gd name="T21" fmla="*/ 208713411 h 113"/>
                <a:gd name="T22" fmla="*/ 34731424 w 64"/>
                <a:gd name="T23" fmla="*/ 208713411 h 113"/>
                <a:gd name="T24" fmla="*/ 0 w 64"/>
                <a:gd name="T25" fmla="*/ 177628624 h 113"/>
                <a:gd name="T26" fmla="*/ 0 w 64"/>
                <a:gd name="T27" fmla="*/ 102136665 h 113"/>
                <a:gd name="T28" fmla="*/ 34731424 w 64"/>
                <a:gd name="T29" fmla="*/ 102136665 h 113"/>
                <a:gd name="T30" fmla="*/ 34731424 w 64"/>
                <a:gd name="T31" fmla="*/ 75491959 h 113"/>
                <a:gd name="T32" fmla="*/ 104192172 w 64"/>
                <a:gd name="T33" fmla="*/ 0 h 113"/>
                <a:gd name="T34" fmla="*/ 104192172 w 64"/>
                <a:gd name="T35" fmla="*/ 0 h 113"/>
                <a:gd name="T36" fmla="*/ 104192172 w 64"/>
                <a:gd name="T37" fmla="*/ 0 h 11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113"/>
                <a:gd name="T59" fmla="*/ 64 w 64"/>
                <a:gd name="T60" fmla="*/ 113 h 11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113">
                  <a:moveTo>
                    <a:pt x="24" y="0"/>
                  </a:moveTo>
                  <a:lnTo>
                    <a:pt x="37" y="17"/>
                  </a:lnTo>
                  <a:lnTo>
                    <a:pt x="37" y="23"/>
                  </a:lnTo>
                  <a:lnTo>
                    <a:pt x="44" y="23"/>
                  </a:lnTo>
                  <a:lnTo>
                    <a:pt x="64" y="40"/>
                  </a:lnTo>
                  <a:lnTo>
                    <a:pt x="44" y="62"/>
                  </a:lnTo>
                  <a:lnTo>
                    <a:pt x="64" y="102"/>
                  </a:lnTo>
                  <a:lnTo>
                    <a:pt x="37" y="113"/>
                  </a:lnTo>
                  <a:lnTo>
                    <a:pt x="32" y="113"/>
                  </a:lnTo>
                  <a:lnTo>
                    <a:pt x="24" y="94"/>
                  </a:lnTo>
                  <a:lnTo>
                    <a:pt x="24" y="47"/>
                  </a:lnTo>
                  <a:lnTo>
                    <a:pt x="8" y="47"/>
                  </a:lnTo>
                  <a:lnTo>
                    <a:pt x="0" y="40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8" y="17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2" name="S_VEN"/>
            <p:cNvSpPr>
              <a:spLocks/>
            </p:cNvSpPr>
            <p:nvPr/>
          </p:nvSpPr>
          <p:spPr bwMode="auto">
            <a:xfrm>
              <a:off x="2645088" y="3943350"/>
              <a:ext cx="384660" cy="342900"/>
            </a:xfrm>
            <a:custGeom>
              <a:avLst/>
              <a:gdLst>
                <a:gd name="T0" fmla="*/ 793229504 w 183"/>
                <a:gd name="T1" fmla="*/ 219232175 h 167"/>
                <a:gd name="T2" fmla="*/ 723877117 w 183"/>
                <a:gd name="T3" fmla="*/ 290904473 h 167"/>
                <a:gd name="T4" fmla="*/ 723877117 w 183"/>
                <a:gd name="T5" fmla="*/ 320416448 h 167"/>
                <a:gd name="T6" fmla="*/ 697869191 w 183"/>
                <a:gd name="T7" fmla="*/ 320416448 h 167"/>
                <a:gd name="T8" fmla="*/ 697869191 w 183"/>
                <a:gd name="T9" fmla="*/ 392088682 h 167"/>
                <a:gd name="T10" fmla="*/ 723877117 w 183"/>
                <a:gd name="T11" fmla="*/ 404736965 h 167"/>
                <a:gd name="T12" fmla="*/ 697869191 w 183"/>
                <a:gd name="T13" fmla="*/ 480624608 h 167"/>
                <a:gd name="T14" fmla="*/ 593839570 w 183"/>
                <a:gd name="T15" fmla="*/ 510136584 h 167"/>
                <a:gd name="T16" fmla="*/ 485473083 w 183"/>
                <a:gd name="T17" fmla="*/ 480624608 h 167"/>
                <a:gd name="T18" fmla="*/ 515815663 w 183"/>
                <a:gd name="T19" fmla="*/ 510136584 h 167"/>
                <a:gd name="T20" fmla="*/ 515815663 w 183"/>
                <a:gd name="T21" fmla="*/ 602890102 h 167"/>
                <a:gd name="T22" fmla="*/ 546158373 w 183"/>
                <a:gd name="T23" fmla="*/ 632402077 h 167"/>
                <a:gd name="T24" fmla="*/ 455132585 w 183"/>
                <a:gd name="T25" fmla="*/ 704074311 h 167"/>
                <a:gd name="T26" fmla="*/ 420455351 w 183"/>
                <a:gd name="T27" fmla="*/ 704074311 h 167"/>
                <a:gd name="T28" fmla="*/ 368439499 w 183"/>
                <a:gd name="T29" fmla="*/ 666129462 h 167"/>
                <a:gd name="T30" fmla="*/ 325095038 w 183"/>
                <a:gd name="T31" fmla="*/ 632402077 h 167"/>
                <a:gd name="T32" fmla="*/ 325095038 w 183"/>
                <a:gd name="T33" fmla="*/ 539650741 h 167"/>
                <a:gd name="T34" fmla="*/ 303421767 w 183"/>
                <a:gd name="T35" fmla="*/ 480624608 h 167"/>
                <a:gd name="T36" fmla="*/ 325095038 w 183"/>
                <a:gd name="T37" fmla="*/ 354145887 h 167"/>
                <a:gd name="T38" fmla="*/ 238401887 w 183"/>
                <a:gd name="T39" fmla="*/ 354145887 h 167"/>
                <a:gd name="T40" fmla="*/ 186388118 w 183"/>
                <a:gd name="T41" fmla="*/ 320416448 h 167"/>
                <a:gd name="T42" fmla="*/ 95360345 w 183"/>
                <a:gd name="T43" fmla="*/ 320416448 h 167"/>
                <a:gd name="T44" fmla="*/ 52015868 w 183"/>
                <a:gd name="T45" fmla="*/ 290904473 h 167"/>
                <a:gd name="T46" fmla="*/ 52015868 w 183"/>
                <a:gd name="T47" fmla="*/ 219232175 h 167"/>
                <a:gd name="T48" fmla="*/ 0 w 183"/>
                <a:gd name="T49" fmla="*/ 155992814 h 167"/>
                <a:gd name="T50" fmla="*/ 95360345 w 183"/>
                <a:gd name="T51" fmla="*/ 37944864 h 167"/>
                <a:gd name="T52" fmla="*/ 117033616 w 183"/>
                <a:gd name="T53" fmla="*/ 92751368 h 167"/>
                <a:gd name="T54" fmla="*/ 95360345 w 183"/>
                <a:gd name="T55" fmla="*/ 122265397 h 167"/>
                <a:gd name="T56" fmla="*/ 95360345 w 183"/>
                <a:gd name="T57" fmla="*/ 193935609 h 167"/>
                <a:gd name="T58" fmla="*/ 117033616 w 183"/>
                <a:gd name="T59" fmla="*/ 155992814 h 167"/>
                <a:gd name="T60" fmla="*/ 117033616 w 183"/>
                <a:gd name="T61" fmla="*/ 92751368 h 167"/>
                <a:gd name="T62" fmla="*/ 186388118 w 183"/>
                <a:gd name="T63" fmla="*/ 37944864 h 167"/>
                <a:gd name="T64" fmla="*/ 186388118 w 183"/>
                <a:gd name="T65" fmla="*/ 0 h 167"/>
                <a:gd name="T66" fmla="*/ 186388118 w 183"/>
                <a:gd name="T67" fmla="*/ 37944864 h 167"/>
                <a:gd name="T68" fmla="*/ 303421767 w 183"/>
                <a:gd name="T69" fmla="*/ 37944864 h 167"/>
                <a:gd name="T70" fmla="*/ 303421767 w 183"/>
                <a:gd name="T71" fmla="*/ 92751368 h 167"/>
                <a:gd name="T72" fmla="*/ 420455351 w 183"/>
                <a:gd name="T73" fmla="*/ 92751368 h 167"/>
                <a:gd name="T74" fmla="*/ 485473083 w 183"/>
                <a:gd name="T75" fmla="*/ 122265397 h 167"/>
                <a:gd name="T76" fmla="*/ 546158373 w 183"/>
                <a:gd name="T77" fmla="*/ 92751368 h 167"/>
                <a:gd name="T78" fmla="*/ 637184031 w 183"/>
                <a:gd name="T79" fmla="*/ 92751368 h 167"/>
                <a:gd name="T80" fmla="*/ 593839570 w 183"/>
                <a:gd name="T81" fmla="*/ 92751368 h 167"/>
                <a:gd name="T82" fmla="*/ 697869191 w 183"/>
                <a:gd name="T83" fmla="*/ 155992814 h 167"/>
                <a:gd name="T84" fmla="*/ 697869191 w 183"/>
                <a:gd name="T85" fmla="*/ 219232175 h 167"/>
                <a:gd name="T86" fmla="*/ 723877117 w 183"/>
                <a:gd name="T87" fmla="*/ 193935609 h 167"/>
                <a:gd name="T88" fmla="*/ 793229504 w 183"/>
                <a:gd name="T89" fmla="*/ 219232175 h 167"/>
                <a:gd name="T90" fmla="*/ 793229504 w 183"/>
                <a:gd name="T91" fmla="*/ 219232175 h 167"/>
                <a:gd name="T92" fmla="*/ 793229504 w 183"/>
                <a:gd name="T93" fmla="*/ 21923217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3"/>
                <a:gd name="T142" fmla="*/ 0 h 167"/>
                <a:gd name="T143" fmla="*/ 183 w 183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3" h="167">
                  <a:moveTo>
                    <a:pt x="183" y="52"/>
                  </a:moveTo>
                  <a:lnTo>
                    <a:pt x="167" y="69"/>
                  </a:lnTo>
                  <a:lnTo>
                    <a:pt x="167" y="76"/>
                  </a:lnTo>
                  <a:lnTo>
                    <a:pt x="161" y="76"/>
                  </a:lnTo>
                  <a:lnTo>
                    <a:pt x="161" y="93"/>
                  </a:lnTo>
                  <a:lnTo>
                    <a:pt x="167" y="96"/>
                  </a:lnTo>
                  <a:lnTo>
                    <a:pt x="161" y="114"/>
                  </a:lnTo>
                  <a:lnTo>
                    <a:pt x="137" y="121"/>
                  </a:lnTo>
                  <a:lnTo>
                    <a:pt x="112" y="114"/>
                  </a:lnTo>
                  <a:lnTo>
                    <a:pt x="119" y="121"/>
                  </a:lnTo>
                  <a:lnTo>
                    <a:pt x="119" y="143"/>
                  </a:lnTo>
                  <a:lnTo>
                    <a:pt x="126" y="150"/>
                  </a:lnTo>
                  <a:lnTo>
                    <a:pt x="105" y="167"/>
                  </a:lnTo>
                  <a:lnTo>
                    <a:pt x="97" y="167"/>
                  </a:lnTo>
                  <a:lnTo>
                    <a:pt x="85" y="158"/>
                  </a:lnTo>
                  <a:lnTo>
                    <a:pt x="75" y="150"/>
                  </a:lnTo>
                  <a:lnTo>
                    <a:pt x="75" y="128"/>
                  </a:lnTo>
                  <a:lnTo>
                    <a:pt x="70" y="114"/>
                  </a:lnTo>
                  <a:lnTo>
                    <a:pt x="75" y="84"/>
                  </a:lnTo>
                  <a:lnTo>
                    <a:pt x="55" y="84"/>
                  </a:lnTo>
                  <a:lnTo>
                    <a:pt x="43" y="76"/>
                  </a:lnTo>
                  <a:lnTo>
                    <a:pt x="22" y="76"/>
                  </a:lnTo>
                  <a:lnTo>
                    <a:pt x="12" y="69"/>
                  </a:lnTo>
                  <a:lnTo>
                    <a:pt x="12" y="52"/>
                  </a:lnTo>
                  <a:lnTo>
                    <a:pt x="0" y="37"/>
                  </a:lnTo>
                  <a:lnTo>
                    <a:pt x="22" y="9"/>
                  </a:lnTo>
                  <a:lnTo>
                    <a:pt x="27" y="22"/>
                  </a:lnTo>
                  <a:lnTo>
                    <a:pt x="22" y="29"/>
                  </a:lnTo>
                  <a:lnTo>
                    <a:pt x="22" y="46"/>
                  </a:lnTo>
                  <a:lnTo>
                    <a:pt x="27" y="37"/>
                  </a:lnTo>
                  <a:lnTo>
                    <a:pt x="27" y="22"/>
                  </a:lnTo>
                  <a:lnTo>
                    <a:pt x="43" y="9"/>
                  </a:lnTo>
                  <a:lnTo>
                    <a:pt x="43" y="0"/>
                  </a:lnTo>
                  <a:lnTo>
                    <a:pt x="43" y="9"/>
                  </a:lnTo>
                  <a:lnTo>
                    <a:pt x="70" y="9"/>
                  </a:lnTo>
                  <a:lnTo>
                    <a:pt x="70" y="22"/>
                  </a:lnTo>
                  <a:lnTo>
                    <a:pt x="97" y="22"/>
                  </a:lnTo>
                  <a:lnTo>
                    <a:pt x="112" y="29"/>
                  </a:lnTo>
                  <a:lnTo>
                    <a:pt x="126" y="22"/>
                  </a:lnTo>
                  <a:lnTo>
                    <a:pt x="147" y="22"/>
                  </a:lnTo>
                  <a:lnTo>
                    <a:pt x="137" y="22"/>
                  </a:lnTo>
                  <a:lnTo>
                    <a:pt x="161" y="37"/>
                  </a:lnTo>
                  <a:lnTo>
                    <a:pt x="161" y="52"/>
                  </a:lnTo>
                  <a:lnTo>
                    <a:pt x="167" y="46"/>
                  </a:lnTo>
                  <a:lnTo>
                    <a:pt x="183" y="5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3" name="S_DOM"/>
            <p:cNvSpPr>
              <a:spLocks/>
            </p:cNvSpPr>
            <p:nvPr/>
          </p:nvSpPr>
          <p:spPr bwMode="auto">
            <a:xfrm>
              <a:off x="2692533" y="3695700"/>
              <a:ext cx="94890" cy="76200"/>
            </a:xfrm>
            <a:custGeom>
              <a:avLst/>
              <a:gdLst>
                <a:gd name="T0" fmla="*/ 0 w 48"/>
                <a:gd name="T1" fmla="*/ 118758713 h 37"/>
                <a:gd name="T2" fmla="*/ 0 w 48"/>
                <a:gd name="T3" fmla="*/ 0 h 37"/>
                <a:gd name="T4" fmla="*/ 82692880 w 48"/>
                <a:gd name="T5" fmla="*/ 0 h 37"/>
                <a:gd name="T6" fmla="*/ 82692880 w 48"/>
                <a:gd name="T7" fmla="*/ 29689163 h 37"/>
                <a:gd name="T8" fmla="*/ 137820815 w 48"/>
                <a:gd name="T9" fmla="*/ 29689163 h 37"/>
                <a:gd name="T10" fmla="*/ 189011721 w 48"/>
                <a:gd name="T11" fmla="*/ 93309983 h 37"/>
                <a:gd name="T12" fmla="*/ 165385759 w 48"/>
                <a:gd name="T13" fmla="*/ 118758713 h 37"/>
                <a:gd name="T14" fmla="*/ 165385759 w 48"/>
                <a:gd name="T15" fmla="*/ 93309983 h 37"/>
                <a:gd name="T16" fmla="*/ 51190921 w 48"/>
                <a:gd name="T17" fmla="*/ 118758713 h 37"/>
                <a:gd name="T18" fmla="*/ 51190921 w 48"/>
                <a:gd name="T19" fmla="*/ 93309983 h 37"/>
                <a:gd name="T20" fmla="*/ 23625969 w 48"/>
                <a:gd name="T21" fmla="*/ 118758713 h 37"/>
                <a:gd name="T22" fmla="*/ 23625969 w 48"/>
                <a:gd name="T23" fmla="*/ 156930810 h 37"/>
                <a:gd name="T24" fmla="*/ 0 w 48"/>
                <a:gd name="T25" fmla="*/ 118758713 h 37"/>
                <a:gd name="T26" fmla="*/ 0 w 48"/>
                <a:gd name="T27" fmla="*/ 118758713 h 37"/>
                <a:gd name="T28" fmla="*/ 0 w 48"/>
                <a:gd name="T29" fmla="*/ 118758713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8"/>
                <a:gd name="T46" fmla="*/ 0 h 37"/>
                <a:gd name="T47" fmla="*/ 48 w 48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8" h="37">
                  <a:moveTo>
                    <a:pt x="0" y="2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7"/>
                  </a:lnTo>
                  <a:lnTo>
                    <a:pt x="35" y="7"/>
                  </a:lnTo>
                  <a:lnTo>
                    <a:pt x="48" y="22"/>
                  </a:lnTo>
                  <a:lnTo>
                    <a:pt x="42" y="28"/>
                  </a:lnTo>
                  <a:lnTo>
                    <a:pt x="42" y="22"/>
                  </a:lnTo>
                  <a:lnTo>
                    <a:pt x="13" y="28"/>
                  </a:lnTo>
                  <a:lnTo>
                    <a:pt x="13" y="22"/>
                  </a:lnTo>
                  <a:lnTo>
                    <a:pt x="6" y="28"/>
                  </a:lnTo>
                  <a:lnTo>
                    <a:pt x="6" y="3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4" name="S_HTI"/>
            <p:cNvSpPr>
              <a:spLocks/>
            </p:cNvSpPr>
            <p:nvPr/>
          </p:nvSpPr>
          <p:spPr bwMode="auto">
            <a:xfrm>
              <a:off x="2616622" y="3695700"/>
              <a:ext cx="75912" cy="47625"/>
            </a:xfrm>
            <a:custGeom>
              <a:avLst/>
              <a:gdLst>
                <a:gd name="T0" fmla="*/ 156930810 w 37"/>
                <a:gd name="T1" fmla="*/ 90725627 h 25"/>
                <a:gd name="T2" fmla="*/ 156930810 w 37"/>
                <a:gd name="T3" fmla="*/ 0 h 25"/>
                <a:gd name="T4" fmla="*/ 63620811 w 37"/>
                <a:gd name="T5" fmla="*/ 0 h 25"/>
                <a:gd name="T6" fmla="*/ 114516228 w 37"/>
                <a:gd name="T7" fmla="*/ 79838555 h 25"/>
                <a:gd name="T8" fmla="*/ 0 w 37"/>
                <a:gd name="T9" fmla="*/ 90725627 h 25"/>
                <a:gd name="T10" fmla="*/ 156930810 w 37"/>
                <a:gd name="T11" fmla="*/ 90725627 h 25"/>
                <a:gd name="T12" fmla="*/ 156930810 w 37"/>
                <a:gd name="T13" fmla="*/ 9072562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5"/>
                <a:gd name="T23" fmla="*/ 37 w 37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5">
                  <a:moveTo>
                    <a:pt x="37" y="25"/>
                  </a:moveTo>
                  <a:lnTo>
                    <a:pt x="37" y="0"/>
                  </a:lnTo>
                  <a:lnTo>
                    <a:pt x="15" y="0"/>
                  </a:lnTo>
                  <a:lnTo>
                    <a:pt x="27" y="22"/>
                  </a:lnTo>
                  <a:lnTo>
                    <a:pt x="0" y="25"/>
                  </a:lnTo>
                  <a:lnTo>
                    <a:pt x="37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5" name="S_URY"/>
            <p:cNvSpPr>
              <a:spLocks/>
            </p:cNvSpPr>
            <p:nvPr/>
          </p:nvSpPr>
          <p:spPr bwMode="auto">
            <a:xfrm>
              <a:off x="3064391" y="5276850"/>
              <a:ext cx="161312" cy="161925"/>
            </a:xfrm>
            <a:custGeom>
              <a:avLst/>
              <a:gdLst>
                <a:gd name="T0" fmla="*/ 294972714 w 80"/>
                <a:gd name="T1" fmla="*/ 247047860 h 75"/>
                <a:gd name="T2" fmla="*/ 327746322 w 80"/>
                <a:gd name="T3" fmla="*/ 139838407 h 75"/>
                <a:gd name="T4" fmla="*/ 294972714 w 80"/>
                <a:gd name="T5" fmla="*/ 97886895 h 75"/>
                <a:gd name="T6" fmla="*/ 176164276 w 80"/>
                <a:gd name="T7" fmla="*/ 27967683 h 75"/>
                <a:gd name="T8" fmla="*/ 147485345 w 80"/>
                <a:gd name="T9" fmla="*/ 27967683 h 75"/>
                <a:gd name="T10" fmla="*/ 106518304 w 80"/>
                <a:gd name="T11" fmla="*/ 0 h 75"/>
                <a:gd name="T12" fmla="*/ 53259152 w 80"/>
                <a:gd name="T13" fmla="*/ 0 h 75"/>
                <a:gd name="T14" fmla="*/ 0 w 80"/>
                <a:gd name="T15" fmla="*/ 270354255 h 75"/>
                <a:gd name="T16" fmla="*/ 24580214 w 80"/>
                <a:gd name="T17" fmla="*/ 270354255 h 75"/>
                <a:gd name="T18" fmla="*/ 147485345 w 80"/>
                <a:gd name="T19" fmla="*/ 349596068 h 75"/>
                <a:gd name="T20" fmla="*/ 237616814 w 80"/>
                <a:gd name="T21" fmla="*/ 349596068 h 75"/>
                <a:gd name="T22" fmla="*/ 294972714 w 80"/>
                <a:gd name="T23" fmla="*/ 247047860 h 75"/>
                <a:gd name="T24" fmla="*/ 294972714 w 80"/>
                <a:gd name="T25" fmla="*/ 247047860 h 75"/>
                <a:gd name="T26" fmla="*/ 294972714 w 80"/>
                <a:gd name="T27" fmla="*/ 247047860 h 7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0"/>
                <a:gd name="T43" fmla="*/ 0 h 75"/>
                <a:gd name="T44" fmla="*/ 80 w 80"/>
                <a:gd name="T45" fmla="*/ 75 h 7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0" h="75">
                  <a:moveTo>
                    <a:pt x="72" y="53"/>
                  </a:moveTo>
                  <a:lnTo>
                    <a:pt x="80" y="30"/>
                  </a:lnTo>
                  <a:lnTo>
                    <a:pt x="72" y="21"/>
                  </a:lnTo>
                  <a:lnTo>
                    <a:pt x="43" y="6"/>
                  </a:lnTo>
                  <a:lnTo>
                    <a:pt x="36" y="6"/>
                  </a:lnTo>
                  <a:lnTo>
                    <a:pt x="26" y="0"/>
                  </a:lnTo>
                  <a:lnTo>
                    <a:pt x="13" y="0"/>
                  </a:lnTo>
                  <a:lnTo>
                    <a:pt x="0" y="58"/>
                  </a:lnTo>
                  <a:lnTo>
                    <a:pt x="6" y="58"/>
                  </a:lnTo>
                  <a:lnTo>
                    <a:pt x="36" y="75"/>
                  </a:lnTo>
                  <a:lnTo>
                    <a:pt x="58" y="75"/>
                  </a:lnTo>
                  <a:lnTo>
                    <a:pt x="72" y="5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6" name="S_JAM"/>
            <p:cNvSpPr>
              <a:spLocks/>
            </p:cNvSpPr>
            <p:nvPr/>
          </p:nvSpPr>
          <p:spPr bwMode="auto">
            <a:xfrm>
              <a:off x="2512243" y="3743325"/>
              <a:ext cx="37956" cy="47625"/>
            </a:xfrm>
            <a:custGeom>
              <a:avLst/>
              <a:gdLst>
                <a:gd name="T0" fmla="*/ 0 w 21"/>
                <a:gd name="T1" fmla="*/ 2147483647 h 26"/>
                <a:gd name="T2" fmla="*/ 2147483647 w 21"/>
                <a:gd name="T3" fmla="*/ 2147483647 h 26"/>
                <a:gd name="T4" fmla="*/ 2147483647 w 21"/>
                <a:gd name="T5" fmla="*/ 2147483647 h 26"/>
                <a:gd name="T6" fmla="*/ 2147483647 w 21"/>
                <a:gd name="T7" fmla="*/ 0 h 26"/>
                <a:gd name="T8" fmla="*/ 0 w 21"/>
                <a:gd name="T9" fmla="*/ 2147483647 h 26"/>
                <a:gd name="T10" fmla="*/ 0 w 21"/>
                <a:gd name="T11" fmla="*/ 2147483647 h 26"/>
                <a:gd name="T12" fmla="*/ 0 w 21"/>
                <a:gd name="T13" fmla="*/ 2147483647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6"/>
                <a:gd name="T23" fmla="*/ 21 w 21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6">
                  <a:moveTo>
                    <a:pt x="0" y="10"/>
                  </a:moveTo>
                  <a:lnTo>
                    <a:pt x="13" y="26"/>
                  </a:lnTo>
                  <a:lnTo>
                    <a:pt x="21" y="10"/>
                  </a:lnTo>
                  <a:lnTo>
                    <a:pt x="6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7" name="S_CUB"/>
            <p:cNvSpPr>
              <a:spLocks/>
            </p:cNvSpPr>
            <p:nvPr/>
          </p:nvSpPr>
          <p:spPr bwMode="auto">
            <a:xfrm>
              <a:off x="2330163" y="3581400"/>
              <a:ext cx="286459" cy="114300"/>
            </a:xfrm>
            <a:custGeom>
              <a:avLst/>
              <a:gdLst>
                <a:gd name="T0" fmla="*/ 0 w 134"/>
                <a:gd name="T1" fmla="*/ 2147483647 h 52"/>
                <a:gd name="T2" fmla="*/ 2147483647 w 134"/>
                <a:gd name="T3" fmla="*/ 2147483647 h 52"/>
                <a:gd name="T4" fmla="*/ 2147483647 w 134"/>
                <a:gd name="T5" fmla="*/ 2147483647 h 52"/>
                <a:gd name="T6" fmla="*/ 2147483647 w 134"/>
                <a:gd name="T7" fmla="*/ 2147483647 h 52"/>
                <a:gd name="T8" fmla="*/ 2147483647 w 134"/>
                <a:gd name="T9" fmla="*/ 2147483647 h 52"/>
                <a:gd name="T10" fmla="*/ 2147483647 w 134"/>
                <a:gd name="T11" fmla="*/ 2147483647 h 52"/>
                <a:gd name="T12" fmla="*/ 2147483647 w 134"/>
                <a:gd name="T13" fmla="*/ 2147483647 h 52"/>
                <a:gd name="T14" fmla="*/ 2147483647 w 134"/>
                <a:gd name="T15" fmla="*/ 2147483647 h 52"/>
                <a:gd name="T16" fmla="*/ 2147483647 w 134"/>
                <a:gd name="T17" fmla="*/ 2147483647 h 52"/>
                <a:gd name="T18" fmla="*/ 2147483647 w 134"/>
                <a:gd name="T19" fmla="*/ 2147483647 h 52"/>
                <a:gd name="T20" fmla="*/ 2147483647 w 134"/>
                <a:gd name="T21" fmla="*/ 2147483647 h 52"/>
                <a:gd name="T22" fmla="*/ 2147483647 w 134"/>
                <a:gd name="T23" fmla="*/ 2147483647 h 52"/>
                <a:gd name="T24" fmla="*/ 2147483647 w 134"/>
                <a:gd name="T25" fmla="*/ 2147483647 h 52"/>
                <a:gd name="T26" fmla="*/ 2147483647 w 134"/>
                <a:gd name="T27" fmla="*/ 2147483647 h 52"/>
                <a:gd name="T28" fmla="*/ 2147483647 w 134"/>
                <a:gd name="T29" fmla="*/ 0 h 52"/>
                <a:gd name="T30" fmla="*/ 2147483647 w 134"/>
                <a:gd name="T31" fmla="*/ 2147483647 h 52"/>
                <a:gd name="T32" fmla="*/ 0 w 134"/>
                <a:gd name="T33" fmla="*/ 2147483647 h 52"/>
                <a:gd name="T34" fmla="*/ 0 w 134"/>
                <a:gd name="T35" fmla="*/ 2147483647 h 52"/>
                <a:gd name="T36" fmla="*/ 0 w 134"/>
                <a:gd name="T37" fmla="*/ 2147483647 h 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4"/>
                <a:gd name="T58" fmla="*/ 0 h 52"/>
                <a:gd name="T59" fmla="*/ 134 w 134"/>
                <a:gd name="T60" fmla="*/ 52 h 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4" h="52">
                  <a:moveTo>
                    <a:pt x="0" y="22"/>
                  </a:moveTo>
                  <a:lnTo>
                    <a:pt x="7" y="22"/>
                  </a:lnTo>
                  <a:lnTo>
                    <a:pt x="22" y="6"/>
                  </a:lnTo>
                  <a:lnTo>
                    <a:pt x="44" y="13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77" y="22"/>
                  </a:lnTo>
                  <a:lnTo>
                    <a:pt x="86" y="45"/>
                  </a:lnTo>
                  <a:lnTo>
                    <a:pt x="99" y="45"/>
                  </a:lnTo>
                  <a:lnTo>
                    <a:pt x="94" y="52"/>
                  </a:lnTo>
                  <a:lnTo>
                    <a:pt x="134" y="52"/>
                  </a:lnTo>
                  <a:lnTo>
                    <a:pt x="127" y="45"/>
                  </a:lnTo>
                  <a:lnTo>
                    <a:pt x="121" y="45"/>
                  </a:lnTo>
                  <a:lnTo>
                    <a:pt x="121" y="28"/>
                  </a:lnTo>
                  <a:lnTo>
                    <a:pt x="44" y="0"/>
                  </a:lnTo>
                  <a:lnTo>
                    <a:pt x="14" y="6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158" name="S_BHS"/>
            <p:cNvGrpSpPr>
              <a:grpSpLocks/>
            </p:cNvGrpSpPr>
            <p:nvPr/>
          </p:nvGrpSpPr>
          <p:grpSpPr bwMode="auto">
            <a:xfrm>
              <a:off x="2512243" y="3505200"/>
              <a:ext cx="75912" cy="76200"/>
              <a:chOff x="2512243" y="3505200"/>
              <a:chExt cx="8" cy="8"/>
            </a:xfrm>
            <a:solidFill>
              <a:schemeClr val="bg1">
                <a:lumMod val="75000"/>
              </a:schemeClr>
            </a:solidFill>
          </p:grpSpPr>
          <p:sp>
            <p:nvSpPr>
              <p:cNvPr id="349" name="Freeform 348"/>
              <p:cNvSpPr>
                <a:spLocks/>
              </p:cNvSpPr>
              <p:nvPr/>
            </p:nvSpPr>
            <p:spPr bwMode="auto">
              <a:xfrm>
                <a:off x="2512245" y="3505200"/>
                <a:ext cx="6" cy="6"/>
              </a:xfrm>
              <a:custGeom>
                <a:avLst/>
                <a:gdLst>
                  <a:gd name="T0" fmla="*/ 0 w 25"/>
                  <a:gd name="T1" fmla="*/ 0 h 27"/>
                  <a:gd name="T2" fmla="*/ 0 w 25"/>
                  <a:gd name="T3" fmla="*/ 0 h 27"/>
                  <a:gd name="T4" fmla="*/ 1 w 25"/>
                  <a:gd name="T5" fmla="*/ 1 h 27"/>
                  <a:gd name="T6" fmla="*/ 1 w 25"/>
                  <a:gd name="T7" fmla="*/ 0 h 27"/>
                  <a:gd name="T8" fmla="*/ 0 w 25"/>
                  <a:gd name="T9" fmla="*/ 0 h 27"/>
                  <a:gd name="T10" fmla="*/ 0 w 25"/>
                  <a:gd name="T11" fmla="*/ 0 h 27"/>
                  <a:gd name="T12" fmla="*/ 0 w 25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27"/>
                  <a:gd name="T23" fmla="*/ 25 w 25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27">
                    <a:moveTo>
                      <a:pt x="0" y="0"/>
                    </a:moveTo>
                    <a:lnTo>
                      <a:pt x="0" y="10"/>
                    </a:lnTo>
                    <a:lnTo>
                      <a:pt x="25" y="27"/>
                    </a:lnTo>
                    <a:lnTo>
                      <a:pt x="25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50" name="Freeform 349"/>
              <p:cNvSpPr>
                <a:spLocks/>
              </p:cNvSpPr>
              <p:nvPr/>
            </p:nvSpPr>
            <p:spPr bwMode="auto">
              <a:xfrm>
                <a:off x="2512243" y="3505201"/>
                <a:ext cx="5" cy="7"/>
              </a:xfrm>
              <a:custGeom>
                <a:avLst/>
                <a:gdLst>
                  <a:gd name="T0" fmla="*/ 0 w 22"/>
                  <a:gd name="T1" fmla="*/ 0 h 34"/>
                  <a:gd name="T2" fmla="*/ 0 w 22"/>
                  <a:gd name="T3" fmla="*/ 0 h 34"/>
                  <a:gd name="T4" fmla="*/ 1 w 22"/>
                  <a:gd name="T5" fmla="*/ 1 h 34"/>
                  <a:gd name="T6" fmla="*/ 1 w 22"/>
                  <a:gd name="T7" fmla="*/ 0 h 34"/>
                  <a:gd name="T8" fmla="*/ 0 w 22"/>
                  <a:gd name="T9" fmla="*/ 0 h 34"/>
                  <a:gd name="T10" fmla="*/ 0 w 22"/>
                  <a:gd name="T11" fmla="*/ 0 h 34"/>
                  <a:gd name="T12" fmla="*/ 0 w 22"/>
                  <a:gd name="T13" fmla="*/ 0 h 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34"/>
                  <a:gd name="T23" fmla="*/ 22 w 22"/>
                  <a:gd name="T24" fmla="*/ 34 h 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34">
                    <a:moveTo>
                      <a:pt x="0" y="0"/>
                    </a:moveTo>
                    <a:lnTo>
                      <a:pt x="0" y="10"/>
                    </a:lnTo>
                    <a:lnTo>
                      <a:pt x="22" y="34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59" name="S_EGY"/>
            <p:cNvSpPr>
              <a:spLocks/>
            </p:cNvSpPr>
            <p:nvPr/>
          </p:nvSpPr>
          <p:spPr bwMode="auto">
            <a:xfrm>
              <a:off x="5385065" y="3276600"/>
              <a:ext cx="333903" cy="352425"/>
            </a:xfrm>
            <a:custGeom>
              <a:avLst/>
              <a:gdLst>
                <a:gd name="T0" fmla="*/ 703410692 w 158"/>
                <a:gd name="T1" fmla="*/ 672477566 h 167"/>
                <a:gd name="T2" fmla="*/ 565399825 w 158"/>
                <a:gd name="T3" fmla="*/ 743732810 h 167"/>
                <a:gd name="T4" fmla="*/ 543139536 w 158"/>
                <a:gd name="T5" fmla="*/ 703651340 h 167"/>
                <a:gd name="T6" fmla="*/ 31164229 w 158"/>
                <a:gd name="T7" fmla="*/ 703651340 h 167"/>
                <a:gd name="T8" fmla="*/ 31164229 w 158"/>
                <a:gd name="T9" fmla="*/ 231581192 h 167"/>
                <a:gd name="T10" fmla="*/ 0 w 158"/>
                <a:gd name="T11" fmla="*/ 164778741 h 167"/>
                <a:gd name="T12" fmla="*/ 31164229 w 158"/>
                <a:gd name="T13" fmla="*/ 0 h 167"/>
                <a:gd name="T14" fmla="*/ 31164229 w 158"/>
                <a:gd name="T15" fmla="*/ 66802467 h 167"/>
                <a:gd name="T16" fmla="*/ 155819059 w 158"/>
                <a:gd name="T17" fmla="*/ 66802467 h 167"/>
                <a:gd name="T18" fmla="*/ 253761642 w 158"/>
                <a:gd name="T19" fmla="*/ 106883954 h 167"/>
                <a:gd name="T20" fmla="*/ 409580701 w 158"/>
                <a:gd name="T21" fmla="*/ 66802467 h 167"/>
                <a:gd name="T22" fmla="*/ 449648984 w 158"/>
                <a:gd name="T23" fmla="*/ 66802467 h 167"/>
                <a:gd name="T24" fmla="*/ 449648984 w 158"/>
                <a:gd name="T25" fmla="*/ 106883954 h 167"/>
                <a:gd name="T26" fmla="*/ 516427347 w 158"/>
                <a:gd name="T27" fmla="*/ 66802467 h 167"/>
                <a:gd name="T28" fmla="*/ 516427347 w 158"/>
                <a:gd name="T29" fmla="*/ 106883954 h 167"/>
                <a:gd name="T30" fmla="*/ 565399825 w 158"/>
                <a:gd name="T31" fmla="*/ 66802467 h 167"/>
                <a:gd name="T32" fmla="*/ 605468109 w 158"/>
                <a:gd name="T33" fmla="*/ 209313005 h 167"/>
                <a:gd name="T34" fmla="*/ 565399825 w 158"/>
                <a:gd name="T35" fmla="*/ 338465180 h 167"/>
                <a:gd name="T36" fmla="*/ 516427347 w 158"/>
                <a:gd name="T37" fmla="*/ 133604935 h 167"/>
                <a:gd name="T38" fmla="*/ 516427347 w 158"/>
                <a:gd name="T39" fmla="*/ 209313005 h 167"/>
                <a:gd name="T40" fmla="*/ 703410692 w 158"/>
                <a:gd name="T41" fmla="*/ 672477566 h 167"/>
                <a:gd name="T42" fmla="*/ 703410692 w 158"/>
                <a:gd name="T43" fmla="*/ 672477566 h 167"/>
                <a:gd name="T44" fmla="*/ 703410692 w 158"/>
                <a:gd name="T45" fmla="*/ 672477566 h 16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8"/>
                <a:gd name="T70" fmla="*/ 0 h 167"/>
                <a:gd name="T71" fmla="*/ 158 w 158"/>
                <a:gd name="T72" fmla="*/ 167 h 16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8" h="167">
                  <a:moveTo>
                    <a:pt x="158" y="151"/>
                  </a:moveTo>
                  <a:lnTo>
                    <a:pt x="127" y="167"/>
                  </a:lnTo>
                  <a:lnTo>
                    <a:pt x="122" y="158"/>
                  </a:lnTo>
                  <a:lnTo>
                    <a:pt x="7" y="158"/>
                  </a:lnTo>
                  <a:lnTo>
                    <a:pt x="7" y="52"/>
                  </a:lnTo>
                  <a:lnTo>
                    <a:pt x="0" y="37"/>
                  </a:lnTo>
                  <a:lnTo>
                    <a:pt x="7" y="0"/>
                  </a:lnTo>
                  <a:lnTo>
                    <a:pt x="7" y="15"/>
                  </a:lnTo>
                  <a:lnTo>
                    <a:pt x="35" y="15"/>
                  </a:lnTo>
                  <a:lnTo>
                    <a:pt x="57" y="24"/>
                  </a:lnTo>
                  <a:lnTo>
                    <a:pt x="92" y="15"/>
                  </a:lnTo>
                  <a:lnTo>
                    <a:pt x="101" y="15"/>
                  </a:lnTo>
                  <a:lnTo>
                    <a:pt x="101" y="24"/>
                  </a:lnTo>
                  <a:lnTo>
                    <a:pt x="116" y="15"/>
                  </a:lnTo>
                  <a:lnTo>
                    <a:pt x="116" y="24"/>
                  </a:lnTo>
                  <a:lnTo>
                    <a:pt x="127" y="15"/>
                  </a:lnTo>
                  <a:lnTo>
                    <a:pt x="136" y="47"/>
                  </a:lnTo>
                  <a:lnTo>
                    <a:pt x="127" y="76"/>
                  </a:lnTo>
                  <a:lnTo>
                    <a:pt x="116" y="30"/>
                  </a:lnTo>
                  <a:lnTo>
                    <a:pt x="116" y="47"/>
                  </a:lnTo>
                  <a:lnTo>
                    <a:pt x="158" y="15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0" name="S_LBY"/>
            <p:cNvSpPr>
              <a:spLocks/>
            </p:cNvSpPr>
            <p:nvPr/>
          </p:nvSpPr>
          <p:spPr bwMode="auto">
            <a:xfrm>
              <a:off x="4977040" y="3257550"/>
              <a:ext cx="432106" cy="438150"/>
            </a:xfrm>
            <a:custGeom>
              <a:avLst/>
              <a:gdLst>
                <a:gd name="T0" fmla="*/ 128024399 w 204"/>
                <a:gd name="T1" fmla="*/ 660102870 h 213"/>
                <a:gd name="T2" fmla="*/ 88292554 w 204"/>
                <a:gd name="T3" fmla="*/ 567011450 h 213"/>
                <a:gd name="T4" fmla="*/ 66220458 w 204"/>
                <a:gd name="T5" fmla="*/ 567011450 h 213"/>
                <a:gd name="T6" fmla="*/ 0 w 204"/>
                <a:gd name="T7" fmla="*/ 473919901 h 213"/>
                <a:gd name="T8" fmla="*/ 35317445 w 204"/>
                <a:gd name="T9" fmla="*/ 410447823 h 213"/>
                <a:gd name="T10" fmla="*/ 35317445 w 204"/>
                <a:gd name="T11" fmla="*/ 262348987 h 213"/>
                <a:gd name="T12" fmla="*/ 0 w 204"/>
                <a:gd name="T13" fmla="*/ 211570914 h 213"/>
                <a:gd name="T14" fmla="*/ 0 w 204"/>
                <a:gd name="T15" fmla="*/ 181951571 h 213"/>
                <a:gd name="T16" fmla="*/ 35317445 w 204"/>
                <a:gd name="T17" fmla="*/ 160794897 h 213"/>
                <a:gd name="T18" fmla="*/ 35317445 w 204"/>
                <a:gd name="T19" fmla="*/ 118479461 h 213"/>
                <a:gd name="T20" fmla="*/ 88292554 w 204"/>
                <a:gd name="T21" fmla="*/ 33850694 h 213"/>
                <a:gd name="T22" fmla="*/ 88292554 w 204"/>
                <a:gd name="T23" fmla="*/ 0 h 213"/>
                <a:gd name="T24" fmla="*/ 176585108 w 204"/>
                <a:gd name="T25" fmla="*/ 0 h 213"/>
                <a:gd name="T26" fmla="*/ 282537460 w 204"/>
                <a:gd name="T27" fmla="*/ 33850694 h 213"/>
                <a:gd name="T28" fmla="*/ 375244398 w 204"/>
                <a:gd name="T29" fmla="*/ 33850694 h 213"/>
                <a:gd name="T30" fmla="*/ 375244398 w 204"/>
                <a:gd name="T31" fmla="*/ 118479461 h 213"/>
                <a:gd name="T32" fmla="*/ 591561417 w 204"/>
                <a:gd name="T33" fmla="*/ 181951571 h 213"/>
                <a:gd name="T34" fmla="*/ 622464429 w 204"/>
                <a:gd name="T35" fmla="*/ 160794897 h 213"/>
                <a:gd name="T36" fmla="*/ 622464429 w 204"/>
                <a:gd name="T37" fmla="*/ 71934779 h 213"/>
                <a:gd name="T38" fmla="*/ 719585783 w 204"/>
                <a:gd name="T39" fmla="*/ 0 h 213"/>
                <a:gd name="T40" fmla="*/ 812292720 w 204"/>
                <a:gd name="T41" fmla="*/ 33850694 h 213"/>
                <a:gd name="T42" fmla="*/ 812292720 w 204"/>
                <a:gd name="T43" fmla="*/ 71934779 h 213"/>
                <a:gd name="T44" fmla="*/ 900585241 w 204"/>
                <a:gd name="T45" fmla="*/ 71934779 h 213"/>
                <a:gd name="T46" fmla="*/ 878511060 w 204"/>
                <a:gd name="T47" fmla="*/ 211570914 h 213"/>
                <a:gd name="T48" fmla="*/ 900585241 w 204"/>
                <a:gd name="T49" fmla="*/ 283505725 h 213"/>
                <a:gd name="T50" fmla="*/ 900585241 w 204"/>
                <a:gd name="T51" fmla="*/ 846283654 h 213"/>
                <a:gd name="T52" fmla="*/ 878511060 w 204"/>
                <a:gd name="T53" fmla="*/ 880136389 h 213"/>
                <a:gd name="T54" fmla="*/ 843195733 w 204"/>
                <a:gd name="T55" fmla="*/ 901293062 h 213"/>
                <a:gd name="T56" fmla="*/ 414976242 w 204"/>
                <a:gd name="T57" fmla="*/ 660102870 h 213"/>
                <a:gd name="T58" fmla="*/ 309023956 w 204"/>
                <a:gd name="T59" fmla="*/ 689722213 h 213"/>
                <a:gd name="T60" fmla="*/ 282537460 w 204"/>
                <a:gd name="T61" fmla="*/ 660102870 h 213"/>
                <a:gd name="T62" fmla="*/ 128024399 w 204"/>
                <a:gd name="T63" fmla="*/ 660102870 h 213"/>
                <a:gd name="T64" fmla="*/ 128024399 w 204"/>
                <a:gd name="T65" fmla="*/ 660102870 h 213"/>
                <a:gd name="T66" fmla="*/ 128024399 w 204"/>
                <a:gd name="T67" fmla="*/ 660102870 h 21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4"/>
                <a:gd name="T103" fmla="*/ 0 h 213"/>
                <a:gd name="T104" fmla="*/ 204 w 204"/>
                <a:gd name="T105" fmla="*/ 213 h 21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4" h="213">
                  <a:moveTo>
                    <a:pt x="29" y="156"/>
                  </a:moveTo>
                  <a:lnTo>
                    <a:pt x="20" y="134"/>
                  </a:lnTo>
                  <a:lnTo>
                    <a:pt x="15" y="134"/>
                  </a:lnTo>
                  <a:lnTo>
                    <a:pt x="0" y="112"/>
                  </a:lnTo>
                  <a:lnTo>
                    <a:pt x="8" y="97"/>
                  </a:lnTo>
                  <a:lnTo>
                    <a:pt x="8" y="62"/>
                  </a:lnTo>
                  <a:lnTo>
                    <a:pt x="0" y="50"/>
                  </a:lnTo>
                  <a:lnTo>
                    <a:pt x="0" y="43"/>
                  </a:lnTo>
                  <a:lnTo>
                    <a:pt x="8" y="38"/>
                  </a:lnTo>
                  <a:lnTo>
                    <a:pt x="8" y="28"/>
                  </a:lnTo>
                  <a:lnTo>
                    <a:pt x="20" y="8"/>
                  </a:lnTo>
                  <a:lnTo>
                    <a:pt x="20" y="0"/>
                  </a:lnTo>
                  <a:lnTo>
                    <a:pt x="40" y="0"/>
                  </a:lnTo>
                  <a:lnTo>
                    <a:pt x="64" y="8"/>
                  </a:lnTo>
                  <a:lnTo>
                    <a:pt x="85" y="8"/>
                  </a:lnTo>
                  <a:lnTo>
                    <a:pt x="85" y="28"/>
                  </a:lnTo>
                  <a:lnTo>
                    <a:pt x="134" y="43"/>
                  </a:lnTo>
                  <a:lnTo>
                    <a:pt x="141" y="38"/>
                  </a:lnTo>
                  <a:lnTo>
                    <a:pt x="141" y="17"/>
                  </a:lnTo>
                  <a:lnTo>
                    <a:pt x="163" y="0"/>
                  </a:lnTo>
                  <a:lnTo>
                    <a:pt x="184" y="8"/>
                  </a:lnTo>
                  <a:lnTo>
                    <a:pt x="184" y="17"/>
                  </a:lnTo>
                  <a:lnTo>
                    <a:pt x="204" y="17"/>
                  </a:lnTo>
                  <a:lnTo>
                    <a:pt x="199" y="50"/>
                  </a:lnTo>
                  <a:lnTo>
                    <a:pt x="204" y="67"/>
                  </a:lnTo>
                  <a:lnTo>
                    <a:pt x="204" y="200"/>
                  </a:lnTo>
                  <a:lnTo>
                    <a:pt x="199" y="208"/>
                  </a:lnTo>
                  <a:lnTo>
                    <a:pt x="191" y="213"/>
                  </a:lnTo>
                  <a:lnTo>
                    <a:pt x="94" y="156"/>
                  </a:lnTo>
                  <a:lnTo>
                    <a:pt x="70" y="163"/>
                  </a:lnTo>
                  <a:lnTo>
                    <a:pt x="64" y="156"/>
                  </a:lnTo>
                  <a:lnTo>
                    <a:pt x="29" y="15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1" name="S_DZA"/>
            <p:cNvSpPr>
              <a:spLocks/>
            </p:cNvSpPr>
            <p:nvPr/>
          </p:nvSpPr>
          <p:spPr bwMode="auto">
            <a:xfrm>
              <a:off x="4472337" y="3095625"/>
              <a:ext cx="571126" cy="600075"/>
            </a:xfrm>
            <a:custGeom>
              <a:avLst/>
              <a:gdLst>
                <a:gd name="T0" fmla="*/ 2147483647 w 275"/>
                <a:gd name="T1" fmla="*/ 2147483647 h 287"/>
                <a:gd name="T2" fmla="*/ 2147483647 w 275"/>
                <a:gd name="T3" fmla="*/ 2147483647 h 287"/>
                <a:gd name="T4" fmla="*/ 2147483647 w 275"/>
                <a:gd name="T5" fmla="*/ 2147483647 h 287"/>
                <a:gd name="T6" fmla="*/ 2147483647 w 275"/>
                <a:gd name="T7" fmla="*/ 2147483647 h 287"/>
                <a:gd name="T8" fmla="*/ 2147483647 w 275"/>
                <a:gd name="T9" fmla="*/ 2147483647 h 287"/>
                <a:gd name="T10" fmla="*/ 0 w 275"/>
                <a:gd name="T11" fmla="*/ 2147483647 h 287"/>
                <a:gd name="T12" fmla="*/ 0 w 275"/>
                <a:gd name="T13" fmla="*/ 2147483647 h 287"/>
                <a:gd name="T14" fmla="*/ 2147483647 w 275"/>
                <a:gd name="T15" fmla="*/ 2147483647 h 287"/>
                <a:gd name="T16" fmla="*/ 2147483647 w 275"/>
                <a:gd name="T17" fmla="*/ 2147483647 h 287"/>
                <a:gd name="T18" fmla="*/ 2147483647 w 275"/>
                <a:gd name="T19" fmla="*/ 2147483647 h 287"/>
                <a:gd name="T20" fmla="*/ 2147483647 w 275"/>
                <a:gd name="T21" fmla="*/ 2147483647 h 287"/>
                <a:gd name="T22" fmla="*/ 2147483647 w 275"/>
                <a:gd name="T23" fmla="*/ 2147483647 h 287"/>
                <a:gd name="T24" fmla="*/ 2147483647 w 275"/>
                <a:gd name="T25" fmla="*/ 2147483647 h 287"/>
                <a:gd name="T26" fmla="*/ 2147483647 w 275"/>
                <a:gd name="T27" fmla="*/ 2147483647 h 287"/>
                <a:gd name="T28" fmla="*/ 2147483647 w 275"/>
                <a:gd name="T29" fmla="*/ 2147483647 h 287"/>
                <a:gd name="T30" fmla="*/ 2147483647 w 275"/>
                <a:gd name="T31" fmla="*/ 2147483647 h 287"/>
                <a:gd name="T32" fmla="*/ 2147483647 w 275"/>
                <a:gd name="T33" fmla="*/ 2147483647 h 287"/>
                <a:gd name="T34" fmla="*/ 2147483647 w 275"/>
                <a:gd name="T35" fmla="*/ 2147483647 h 287"/>
                <a:gd name="T36" fmla="*/ 2147483647 w 275"/>
                <a:gd name="T37" fmla="*/ 2147483647 h 287"/>
                <a:gd name="T38" fmla="*/ 2147483647 w 275"/>
                <a:gd name="T39" fmla="*/ 2147483647 h 287"/>
                <a:gd name="T40" fmla="*/ 2147483647 w 275"/>
                <a:gd name="T41" fmla="*/ 2147483647 h 287"/>
                <a:gd name="T42" fmla="*/ 2147483647 w 275"/>
                <a:gd name="T43" fmla="*/ 2147483647 h 287"/>
                <a:gd name="T44" fmla="*/ 2147483647 w 275"/>
                <a:gd name="T45" fmla="*/ 2147483647 h 287"/>
                <a:gd name="T46" fmla="*/ 2147483647 w 275"/>
                <a:gd name="T47" fmla="*/ 0 h 287"/>
                <a:gd name="T48" fmla="*/ 2147483647 w 275"/>
                <a:gd name="T49" fmla="*/ 2147483647 h 287"/>
                <a:gd name="T50" fmla="*/ 2147483647 w 275"/>
                <a:gd name="T51" fmla="*/ 0 h 287"/>
                <a:gd name="T52" fmla="*/ 2147483647 w 275"/>
                <a:gd name="T53" fmla="*/ 2147483647 h 287"/>
                <a:gd name="T54" fmla="*/ 2147483647 w 275"/>
                <a:gd name="T55" fmla="*/ 0 h 287"/>
                <a:gd name="T56" fmla="*/ 2147483647 w 275"/>
                <a:gd name="T57" fmla="*/ 2147483647 h 287"/>
                <a:gd name="T58" fmla="*/ 2147483647 w 275"/>
                <a:gd name="T59" fmla="*/ 2147483647 h 287"/>
                <a:gd name="T60" fmla="*/ 2147483647 w 275"/>
                <a:gd name="T61" fmla="*/ 2147483647 h 287"/>
                <a:gd name="T62" fmla="*/ 2147483647 w 275"/>
                <a:gd name="T63" fmla="*/ 2147483647 h 287"/>
                <a:gd name="T64" fmla="*/ 2147483647 w 275"/>
                <a:gd name="T65" fmla="*/ 2147483647 h 28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5"/>
                <a:gd name="T100" fmla="*/ 0 h 287"/>
                <a:gd name="T101" fmla="*/ 275 w 275"/>
                <a:gd name="T102" fmla="*/ 287 h 28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5" h="287">
                  <a:moveTo>
                    <a:pt x="87" y="33"/>
                  </a:moveTo>
                  <a:lnTo>
                    <a:pt x="94" y="33"/>
                  </a:lnTo>
                  <a:lnTo>
                    <a:pt x="101" y="79"/>
                  </a:lnTo>
                  <a:lnTo>
                    <a:pt x="65" y="87"/>
                  </a:lnTo>
                  <a:lnTo>
                    <a:pt x="65" y="101"/>
                  </a:lnTo>
                  <a:lnTo>
                    <a:pt x="0" y="138"/>
                  </a:lnTo>
                  <a:lnTo>
                    <a:pt x="0" y="163"/>
                  </a:lnTo>
                  <a:lnTo>
                    <a:pt x="129" y="257"/>
                  </a:lnTo>
                  <a:lnTo>
                    <a:pt x="136" y="274"/>
                  </a:lnTo>
                  <a:lnTo>
                    <a:pt x="166" y="287"/>
                  </a:lnTo>
                  <a:lnTo>
                    <a:pt x="188" y="287"/>
                  </a:lnTo>
                  <a:lnTo>
                    <a:pt x="275" y="228"/>
                  </a:lnTo>
                  <a:lnTo>
                    <a:pt x="265" y="207"/>
                  </a:lnTo>
                  <a:lnTo>
                    <a:pt x="260" y="207"/>
                  </a:lnTo>
                  <a:lnTo>
                    <a:pt x="243" y="185"/>
                  </a:lnTo>
                  <a:lnTo>
                    <a:pt x="251" y="170"/>
                  </a:lnTo>
                  <a:lnTo>
                    <a:pt x="251" y="134"/>
                  </a:lnTo>
                  <a:lnTo>
                    <a:pt x="243" y="124"/>
                  </a:lnTo>
                  <a:lnTo>
                    <a:pt x="243" y="87"/>
                  </a:lnTo>
                  <a:lnTo>
                    <a:pt x="221" y="79"/>
                  </a:lnTo>
                  <a:lnTo>
                    <a:pt x="215" y="65"/>
                  </a:lnTo>
                  <a:lnTo>
                    <a:pt x="230" y="42"/>
                  </a:lnTo>
                  <a:lnTo>
                    <a:pt x="221" y="6"/>
                  </a:lnTo>
                  <a:lnTo>
                    <a:pt x="230" y="0"/>
                  </a:lnTo>
                  <a:lnTo>
                    <a:pt x="221" y="6"/>
                  </a:lnTo>
                  <a:lnTo>
                    <a:pt x="201" y="0"/>
                  </a:lnTo>
                  <a:lnTo>
                    <a:pt x="188" y="6"/>
                  </a:lnTo>
                  <a:lnTo>
                    <a:pt x="173" y="0"/>
                  </a:lnTo>
                  <a:lnTo>
                    <a:pt x="151" y="6"/>
                  </a:lnTo>
                  <a:lnTo>
                    <a:pt x="129" y="6"/>
                  </a:lnTo>
                  <a:lnTo>
                    <a:pt x="87" y="3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2" name="S_MLI"/>
            <p:cNvSpPr>
              <a:spLocks/>
            </p:cNvSpPr>
            <p:nvPr/>
          </p:nvSpPr>
          <p:spPr bwMode="auto">
            <a:xfrm>
              <a:off x="4367958" y="3514725"/>
              <a:ext cx="470061" cy="476250"/>
            </a:xfrm>
            <a:custGeom>
              <a:avLst/>
              <a:gdLst>
                <a:gd name="T0" fmla="*/ 438039213 w 223"/>
                <a:gd name="T1" fmla="*/ 0 h 232"/>
                <a:gd name="T2" fmla="*/ 784089675 w 223"/>
                <a:gd name="T3" fmla="*/ 257053881 h 232"/>
                <a:gd name="T4" fmla="*/ 814751197 w 223"/>
                <a:gd name="T5" fmla="*/ 320263799 h 232"/>
                <a:gd name="T6" fmla="*/ 946162503 w 223"/>
                <a:gd name="T7" fmla="*/ 383473653 h 232"/>
                <a:gd name="T8" fmla="*/ 976826118 w 223"/>
                <a:gd name="T9" fmla="*/ 383473653 h 232"/>
                <a:gd name="T10" fmla="*/ 976826118 w 223"/>
                <a:gd name="T11" fmla="*/ 573103344 h 232"/>
                <a:gd name="T12" fmla="*/ 946162503 w 223"/>
                <a:gd name="T13" fmla="*/ 632098797 h 232"/>
                <a:gd name="T14" fmla="*/ 661439402 w 223"/>
                <a:gd name="T15" fmla="*/ 665811951 h 232"/>
                <a:gd name="T16" fmla="*/ 600112172 w 223"/>
                <a:gd name="T17" fmla="*/ 729021805 h 232"/>
                <a:gd name="T18" fmla="*/ 503744866 w 223"/>
                <a:gd name="T19" fmla="*/ 758518505 h 232"/>
                <a:gd name="T20" fmla="*/ 411756115 w 223"/>
                <a:gd name="T21" fmla="*/ 948148068 h 232"/>
                <a:gd name="T22" fmla="*/ 381094593 w 223"/>
                <a:gd name="T23" fmla="*/ 977646821 h 232"/>
                <a:gd name="T24" fmla="*/ 315388940 w 223"/>
                <a:gd name="T25" fmla="*/ 948148068 h 232"/>
                <a:gd name="T26" fmla="*/ 284725325 w 223"/>
                <a:gd name="T27" fmla="*/ 977646821 h 232"/>
                <a:gd name="T28" fmla="*/ 249681129 w 223"/>
                <a:gd name="T29" fmla="*/ 977646821 h 232"/>
                <a:gd name="T30" fmla="*/ 183975475 w 223"/>
                <a:gd name="T31" fmla="*/ 830157161 h 232"/>
                <a:gd name="T32" fmla="*/ 96369301 w 223"/>
                <a:gd name="T33" fmla="*/ 859655914 h 232"/>
                <a:gd name="T34" fmla="*/ 30663623 w 223"/>
                <a:gd name="T35" fmla="*/ 859655914 h 232"/>
                <a:gd name="T36" fmla="*/ 56944637 w 223"/>
                <a:gd name="T37" fmla="*/ 830157161 h 232"/>
                <a:gd name="T38" fmla="*/ 0 w 223"/>
                <a:gd name="T39" fmla="*/ 665811951 h 232"/>
                <a:gd name="T40" fmla="*/ 56944637 w 223"/>
                <a:gd name="T41" fmla="*/ 632098797 h 232"/>
                <a:gd name="T42" fmla="*/ 96369301 w 223"/>
                <a:gd name="T43" fmla="*/ 665811951 h 232"/>
                <a:gd name="T44" fmla="*/ 118269790 w 223"/>
                <a:gd name="T45" fmla="*/ 632098797 h 232"/>
                <a:gd name="T46" fmla="*/ 411756115 w 223"/>
                <a:gd name="T47" fmla="*/ 632098797 h 232"/>
                <a:gd name="T48" fmla="*/ 315388940 w 223"/>
                <a:gd name="T49" fmla="*/ 0 h 232"/>
                <a:gd name="T50" fmla="*/ 438039213 w 223"/>
                <a:gd name="T51" fmla="*/ 0 h 232"/>
                <a:gd name="T52" fmla="*/ 438039213 w 223"/>
                <a:gd name="T53" fmla="*/ 0 h 23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23"/>
                <a:gd name="T82" fmla="*/ 0 h 232"/>
                <a:gd name="T83" fmla="*/ 223 w 223"/>
                <a:gd name="T84" fmla="*/ 232 h 23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23" h="232">
                  <a:moveTo>
                    <a:pt x="100" y="0"/>
                  </a:moveTo>
                  <a:lnTo>
                    <a:pt x="179" y="61"/>
                  </a:lnTo>
                  <a:lnTo>
                    <a:pt x="186" y="76"/>
                  </a:lnTo>
                  <a:lnTo>
                    <a:pt x="216" y="91"/>
                  </a:lnTo>
                  <a:lnTo>
                    <a:pt x="223" y="91"/>
                  </a:lnTo>
                  <a:lnTo>
                    <a:pt x="223" y="136"/>
                  </a:lnTo>
                  <a:lnTo>
                    <a:pt x="216" y="150"/>
                  </a:lnTo>
                  <a:lnTo>
                    <a:pt x="151" y="158"/>
                  </a:lnTo>
                  <a:lnTo>
                    <a:pt x="137" y="173"/>
                  </a:lnTo>
                  <a:lnTo>
                    <a:pt x="115" y="180"/>
                  </a:lnTo>
                  <a:lnTo>
                    <a:pt x="94" y="225"/>
                  </a:lnTo>
                  <a:lnTo>
                    <a:pt x="87" y="232"/>
                  </a:lnTo>
                  <a:lnTo>
                    <a:pt x="72" y="225"/>
                  </a:lnTo>
                  <a:lnTo>
                    <a:pt x="65" y="232"/>
                  </a:lnTo>
                  <a:lnTo>
                    <a:pt x="57" y="232"/>
                  </a:lnTo>
                  <a:lnTo>
                    <a:pt x="42" y="197"/>
                  </a:lnTo>
                  <a:lnTo>
                    <a:pt x="22" y="204"/>
                  </a:lnTo>
                  <a:lnTo>
                    <a:pt x="7" y="204"/>
                  </a:lnTo>
                  <a:lnTo>
                    <a:pt x="13" y="197"/>
                  </a:lnTo>
                  <a:lnTo>
                    <a:pt x="0" y="158"/>
                  </a:lnTo>
                  <a:lnTo>
                    <a:pt x="13" y="150"/>
                  </a:lnTo>
                  <a:lnTo>
                    <a:pt x="22" y="158"/>
                  </a:lnTo>
                  <a:lnTo>
                    <a:pt x="27" y="150"/>
                  </a:lnTo>
                  <a:lnTo>
                    <a:pt x="94" y="150"/>
                  </a:lnTo>
                  <a:lnTo>
                    <a:pt x="72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3" name="S_CIV"/>
            <p:cNvSpPr>
              <a:spLocks/>
            </p:cNvSpPr>
            <p:nvPr/>
          </p:nvSpPr>
          <p:spPr bwMode="auto">
            <a:xfrm>
              <a:off x="4472337" y="3981450"/>
              <a:ext cx="180290" cy="190500"/>
            </a:xfrm>
            <a:custGeom>
              <a:avLst/>
              <a:gdLst>
                <a:gd name="T0" fmla="*/ 349051813 w 85"/>
                <a:gd name="T1" fmla="*/ 339032225 h 89"/>
                <a:gd name="T2" fmla="*/ 349051813 w 85"/>
                <a:gd name="T3" fmla="*/ 247401690 h 89"/>
                <a:gd name="T4" fmla="*/ 385317061 w 85"/>
                <a:gd name="T5" fmla="*/ 146607960 h 89"/>
                <a:gd name="T6" fmla="*/ 349051813 w 85"/>
                <a:gd name="T7" fmla="*/ 77886681 h 89"/>
                <a:gd name="T8" fmla="*/ 285587097 w 85"/>
                <a:gd name="T9" fmla="*/ 36653060 h 89"/>
                <a:gd name="T10" fmla="*/ 217591554 w 85"/>
                <a:gd name="T11" fmla="*/ 36653060 h 89"/>
                <a:gd name="T12" fmla="*/ 190392086 w 85"/>
                <a:gd name="T13" fmla="*/ 0 h 89"/>
                <a:gd name="T14" fmla="*/ 167725507 w 85"/>
                <a:gd name="T15" fmla="*/ 36653060 h 89"/>
                <a:gd name="T16" fmla="*/ 90662088 w 85"/>
                <a:gd name="T17" fmla="*/ 0 h 89"/>
                <a:gd name="T18" fmla="*/ 67997623 w 85"/>
                <a:gd name="T19" fmla="*/ 36653060 h 89"/>
                <a:gd name="T20" fmla="*/ 27199476 w 85"/>
                <a:gd name="T21" fmla="*/ 36653060 h 89"/>
                <a:gd name="T22" fmla="*/ 27199476 w 85"/>
                <a:gd name="T23" fmla="*/ 215331347 h 89"/>
                <a:gd name="T24" fmla="*/ 0 w 85"/>
                <a:gd name="T25" fmla="*/ 215331347 h 89"/>
                <a:gd name="T26" fmla="*/ 0 w 85"/>
                <a:gd name="T27" fmla="*/ 284054800 h 89"/>
                <a:gd name="T28" fmla="*/ 67997623 w 85"/>
                <a:gd name="T29" fmla="*/ 316125143 h 89"/>
                <a:gd name="T30" fmla="*/ 67997623 w 85"/>
                <a:gd name="T31" fmla="*/ 407755612 h 89"/>
                <a:gd name="T32" fmla="*/ 167725507 w 85"/>
                <a:gd name="T33" fmla="*/ 339032225 h 89"/>
                <a:gd name="T34" fmla="*/ 349051813 w 85"/>
                <a:gd name="T35" fmla="*/ 339032225 h 89"/>
                <a:gd name="T36" fmla="*/ 349051813 w 85"/>
                <a:gd name="T37" fmla="*/ 339032225 h 8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5"/>
                <a:gd name="T58" fmla="*/ 0 h 89"/>
                <a:gd name="T59" fmla="*/ 85 w 85"/>
                <a:gd name="T60" fmla="*/ 89 h 8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5" h="89">
                  <a:moveTo>
                    <a:pt x="77" y="74"/>
                  </a:moveTo>
                  <a:lnTo>
                    <a:pt x="77" y="54"/>
                  </a:lnTo>
                  <a:lnTo>
                    <a:pt x="85" y="32"/>
                  </a:lnTo>
                  <a:lnTo>
                    <a:pt x="77" y="17"/>
                  </a:lnTo>
                  <a:lnTo>
                    <a:pt x="63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37" y="8"/>
                  </a:lnTo>
                  <a:lnTo>
                    <a:pt x="20" y="0"/>
                  </a:lnTo>
                  <a:lnTo>
                    <a:pt x="15" y="8"/>
                  </a:lnTo>
                  <a:lnTo>
                    <a:pt x="6" y="8"/>
                  </a:lnTo>
                  <a:lnTo>
                    <a:pt x="6" y="47"/>
                  </a:lnTo>
                  <a:lnTo>
                    <a:pt x="0" y="47"/>
                  </a:lnTo>
                  <a:lnTo>
                    <a:pt x="0" y="62"/>
                  </a:lnTo>
                  <a:lnTo>
                    <a:pt x="15" y="69"/>
                  </a:lnTo>
                  <a:lnTo>
                    <a:pt x="15" y="89"/>
                  </a:lnTo>
                  <a:lnTo>
                    <a:pt x="37" y="74"/>
                  </a:lnTo>
                  <a:lnTo>
                    <a:pt x="77" y="7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4" name="S_GHA"/>
            <p:cNvSpPr>
              <a:spLocks/>
            </p:cNvSpPr>
            <p:nvPr/>
          </p:nvSpPr>
          <p:spPr bwMode="auto">
            <a:xfrm>
              <a:off x="4643138" y="3962400"/>
              <a:ext cx="85401" cy="180975"/>
            </a:xfrm>
            <a:custGeom>
              <a:avLst/>
              <a:gdLst>
                <a:gd name="T0" fmla="*/ 0 w 46"/>
                <a:gd name="T1" fmla="*/ 129813146 h 87"/>
                <a:gd name="T2" fmla="*/ 0 w 46"/>
                <a:gd name="T3" fmla="*/ 0 h 87"/>
                <a:gd name="T4" fmla="*/ 90296378 w 46"/>
                <a:gd name="T5" fmla="*/ 0 h 87"/>
                <a:gd name="T6" fmla="*/ 159755997 w 46"/>
                <a:gd name="T7" fmla="*/ 281262224 h 87"/>
                <a:gd name="T8" fmla="*/ 159755997 w 46"/>
                <a:gd name="T9" fmla="*/ 320207198 h 87"/>
                <a:gd name="T10" fmla="*/ 27784216 w 46"/>
                <a:gd name="T11" fmla="*/ 376459201 h 87"/>
                <a:gd name="T12" fmla="*/ 0 w 46"/>
                <a:gd name="T13" fmla="*/ 376459201 h 87"/>
                <a:gd name="T14" fmla="*/ 0 w 46"/>
                <a:gd name="T15" fmla="*/ 281262224 h 87"/>
                <a:gd name="T16" fmla="*/ 27784216 w 46"/>
                <a:gd name="T17" fmla="*/ 186065182 h 87"/>
                <a:gd name="T18" fmla="*/ 0 w 46"/>
                <a:gd name="T19" fmla="*/ 129813146 h 87"/>
                <a:gd name="T20" fmla="*/ 0 w 46"/>
                <a:gd name="T21" fmla="*/ 129813146 h 87"/>
                <a:gd name="T22" fmla="*/ 0 w 46"/>
                <a:gd name="T23" fmla="*/ 129813146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87"/>
                <a:gd name="T38" fmla="*/ 46 w 46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87">
                  <a:moveTo>
                    <a:pt x="0" y="30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46" y="65"/>
                  </a:lnTo>
                  <a:lnTo>
                    <a:pt x="46" y="74"/>
                  </a:lnTo>
                  <a:lnTo>
                    <a:pt x="8" y="87"/>
                  </a:lnTo>
                  <a:lnTo>
                    <a:pt x="0" y="87"/>
                  </a:lnTo>
                  <a:lnTo>
                    <a:pt x="0" y="65"/>
                  </a:lnTo>
                  <a:lnTo>
                    <a:pt x="8" y="43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5" name="S_GAB"/>
            <p:cNvSpPr>
              <a:spLocks/>
            </p:cNvSpPr>
            <p:nvPr/>
          </p:nvSpPr>
          <p:spPr bwMode="auto">
            <a:xfrm>
              <a:off x="4948573" y="4238625"/>
              <a:ext cx="161312" cy="190500"/>
            </a:xfrm>
            <a:custGeom>
              <a:avLst/>
              <a:gdLst>
                <a:gd name="T0" fmla="*/ 92426376 w 79"/>
                <a:gd name="T1" fmla="*/ 71330992 h 93"/>
                <a:gd name="T2" fmla="*/ 147042255 w 79"/>
                <a:gd name="T3" fmla="*/ 71330992 h 93"/>
                <a:gd name="T4" fmla="*/ 147042255 w 79"/>
                <a:gd name="T5" fmla="*/ 0 h 93"/>
                <a:gd name="T6" fmla="*/ 268877512 w 79"/>
                <a:gd name="T7" fmla="*/ 0 h 93"/>
                <a:gd name="T8" fmla="*/ 268877512 w 79"/>
                <a:gd name="T9" fmla="*/ 71330992 h 93"/>
                <a:gd name="T10" fmla="*/ 294084510 w 79"/>
                <a:gd name="T11" fmla="*/ 37762020 h 93"/>
                <a:gd name="T12" fmla="*/ 331895008 w 79"/>
                <a:gd name="T13" fmla="*/ 71330992 h 93"/>
                <a:gd name="T14" fmla="*/ 331895008 w 79"/>
                <a:gd name="T15" fmla="*/ 268537443 h 93"/>
                <a:gd name="T16" fmla="*/ 239468599 w 79"/>
                <a:gd name="T17" fmla="*/ 268537443 h 93"/>
                <a:gd name="T18" fmla="*/ 189054602 w 79"/>
                <a:gd name="T19" fmla="*/ 306299447 h 93"/>
                <a:gd name="T20" fmla="*/ 189054602 w 79"/>
                <a:gd name="T21" fmla="*/ 327279021 h 93"/>
                <a:gd name="T22" fmla="*/ 147042255 w 79"/>
                <a:gd name="T23" fmla="*/ 327279021 h 93"/>
                <a:gd name="T24" fmla="*/ 147042255 w 79"/>
                <a:gd name="T25" fmla="*/ 390217742 h 93"/>
                <a:gd name="T26" fmla="*/ 0 w 79"/>
                <a:gd name="T27" fmla="*/ 197206419 h 93"/>
                <a:gd name="T28" fmla="*/ 63017512 w 79"/>
                <a:gd name="T29" fmla="*/ 134267697 h 93"/>
                <a:gd name="T30" fmla="*/ 63017512 w 79"/>
                <a:gd name="T31" fmla="*/ 109092996 h 93"/>
                <a:gd name="T32" fmla="*/ 92426376 w 79"/>
                <a:gd name="T33" fmla="*/ 71330992 h 93"/>
                <a:gd name="T34" fmla="*/ 92426376 w 79"/>
                <a:gd name="T35" fmla="*/ 71330992 h 93"/>
                <a:gd name="T36" fmla="*/ 92426376 w 79"/>
                <a:gd name="T37" fmla="*/ 71330992 h 9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9"/>
                <a:gd name="T58" fmla="*/ 0 h 93"/>
                <a:gd name="T59" fmla="*/ 79 w 79"/>
                <a:gd name="T60" fmla="*/ 93 h 9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9" h="93">
                  <a:moveTo>
                    <a:pt x="22" y="17"/>
                  </a:moveTo>
                  <a:lnTo>
                    <a:pt x="35" y="17"/>
                  </a:lnTo>
                  <a:lnTo>
                    <a:pt x="35" y="0"/>
                  </a:lnTo>
                  <a:lnTo>
                    <a:pt x="64" y="0"/>
                  </a:lnTo>
                  <a:lnTo>
                    <a:pt x="64" y="17"/>
                  </a:lnTo>
                  <a:lnTo>
                    <a:pt x="70" y="9"/>
                  </a:lnTo>
                  <a:lnTo>
                    <a:pt x="79" y="17"/>
                  </a:lnTo>
                  <a:lnTo>
                    <a:pt x="79" y="64"/>
                  </a:lnTo>
                  <a:lnTo>
                    <a:pt x="57" y="64"/>
                  </a:lnTo>
                  <a:lnTo>
                    <a:pt x="45" y="73"/>
                  </a:lnTo>
                  <a:lnTo>
                    <a:pt x="45" y="78"/>
                  </a:lnTo>
                  <a:lnTo>
                    <a:pt x="35" y="78"/>
                  </a:lnTo>
                  <a:lnTo>
                    <a:pt x="35" y="93"/>
                  </a:lnTo>
                  <a:lnTo>
                    <a:pt x="0" y="47"/>
                  </a:lnTo>
                  <a:lnTo>
                    <a:pt x="15" y="32"/>
                  </a:lnTo>
                  <a:lnTo>
                    <a:pt x="15" y="26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6" name="S_CMR"/>
            <p:cNvSpPr>
              <a:spLocks/>
            </p:cNvSpPr>
            <p:nvPr/>
          </p:nvSpPr>
          <p:spPr bwMode="auto">
            <a:xfrm>
              <a:off x="4948573" y="3886200"/>
              <a:ext cx="218246" cy="361950"/>
            </a:xfrm>
            <a:custGeom>
              <a:avLst/>
              <a:gdLst>
                <a:gd name="T0" fmla="*/ 0 w 105"/>
                <a:gd name="T1" fmla="*/ 533152292 h 171"/>
                <a:gd name="T2" fmla="*/ 91416874 w 105"/>
                <a:gd name="T3" fmla="*/ 434587627 h 171"/>
                <a:gd name="T4" fmla="*/ 113182490 w 105"/>
                <a:gd name="T5" fmla="*/ 434587627 h 171"/>
                <a:gd name="T6" fmla="*/ 143654803 w 105"/>
                <a:gd name="T7" fmla="*/ 474910113 h 171"/>
                <a:gd name="T8" fmla="*/ 187186037 w 105"/>
                <a:gd name="T9" fmla="*/ 434587627 h 171"/>
                <a:gd name="T10" fmla="*/ 269898300 w 105"/>
                <a:gd name="T11" fmla="*/ 309139189 h 171"/>
                <a:gd name="T12" fmla="*/ 326488551 w 105"/>
                <a:gd name="T13" fmla="*/ 103045680 h 171"/>
                <a:gd name="T14" fmla="*/ 326488551 w 105"/>
                <a:gd name="T15" fmla="*/ 0 h 171"/>
                <a:gd name="T16" fmla="*/ 326488551 w 105"/>
                <a:gd name="T17" fmla="*/ 71685157 h 171"/>
                <a:gd name="T18" fmla="*/ 422259768 w 105"/>
                <a:gd name="T19" fmla="*/ 232975133 h 171"/>
                <a:gd name="T20" fmla="*/ 326488551 w 105"/>
                <a:gd name="T21" fmla="*/ 232975133 h 171"/>
                <a:gd name="T22" fmla="*/ 326488551 w 105"/>
                <a:gd name="T23" fmla="*/ 268816637 h 171"/>
                <a:gd name="T24" fmla="*/ 422259768 w 105"/>
                <a:gd name="T25" fmla="*/ 403224988 h 171"/>
                <a:gd name="T26" fmla="*/ 326488551 w 105"/>
                <a:gd name="T27" fmla="*/ 501791770 h 171"/>
                <a:gd name="T28" fmla="*/ 361315207 w 105"/>
                <a:gd name="T29" fmla="*/ 533152292 h 171"/>
                <a:gd name="T30" fmla="*/ 457084337 w 105"/>
                <a:gd name="T31" fmla="*/ 667560710 h 171"/>
                <a:gd name="T32" fmla="*/ 457084337 w 105"/>
                <a:gd name="T33" fmla="*/ 766127491 h 171"/>
                <a:gd name="T34" fmla="*/ 91416874 w 105"/>
                <a:gd name="T35" fmla="*/ 730285987 h 171"/>
                <a:gd name="T36" fmla="*/ 91416874 w 105"/>
                <a:gd name="T37" fmla="*/ 667560710 h 171"/>
                <a:gd name="T38" fmla="*/ 56592288 w 105"/>
                <a:gd name="T39" fmla="*/ 640679053 h 171"/>
                <a:gd name="T40" fmla="*/ 0 w 105"/>
                <a:gd name="T41" fmla="*/ 600356567 h 171"/>
                <a:gd name="T42" fmla="*/ 0 w 105"/>
                <a:gd name="T43" fmla="*/ 533152292 h 171"/>
                <a:gd name="T44" fmla="*/ 0 w 105"/>
                <a:gd name="T45" fmla="*/ 533152292 h 171"/>
                <a:gd name="T46" fmla="*/ 0 w 105"/>
                <a:gd name="T47" fmla="*/ 533152292 h 1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5"/>
                <a:gd name="T73" fmla="*/ 0 h 171"/>
                <a:gd name="T74" fmla="*/ 105 w 105"/>
                <a:gd name="T75" fmla="*/ 171 h 1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5" h="171">
                  <a:moveTo>
                    <a:pt x="0" y="119"/>
                  </a:moveTo>
                  <a:lnTo>
                    <a:pt x="21" y="97"/>
                  </a:lnTo>
                  <a:lnTo>
                    <a:pt x="26" y="97"/>
                  </a:lnTo>
                  <a:lnTo>
                    <a:pt x="33" y="106"/>
                  </a:lnTo>
                  <a:lnTo>
                    <a:pt x="43" y="97"/>
                  </a:lnTo>
                  <a:lnTo>
                    <a:pt x="62" y="69"/>
                  </a:lnTo>
                  <a:lnTo>
                    <a:pt x="75" y="23"/>
                  </a:lnTo>
                  <a:lnTo>
                    <a:pt x="75" y="0"/>
                  </a:lnTo>
                  <a:lnTo>
                    <a:pt x="75" y="16"/>
                  </a:lnTo>
                  <a:lnTo>
                    <a:pt x="97" y="52"/>
                  </a:lnTo>
                  <a:lnTo>
                    <a:pt x="75" y="52"/>
                  </a:lnTo>
                  <a:lnTo>
                    <a:pt x="75" y="60"/>
                  </a:lnTo>
                  <a:lnTo>
                    <a:pt x="97" y="90"/>
                  </a:lnTo>
                  <a:lnTo>
                    <a:pt x="75" y="112"/>
                  </a:lnTo>
                  <a:lnTo>
                    <a:pt x="83" y="119"/>
                  </a:lnTo>
                  <a:lnTo>
                    <a:pt x="105" y="149"/>
                  </a:lnTo>
                  <a:lnTo>
                    <a:pt x="105" y="171"/>
                  </a:lnTo>
                  <a:lnTo>
                    <a:pt x="21" y="163"/>
                  </a:lnTo>
                  <a:lnTo>
                    <a:pt x="21" y="149"/>
                  </a:lnTo>
                  <a:lnTo>
                    <a:pt x="13" y="143"/>
                  </a:lnTo>
                  <a:lnTo>
                    <a:pt x="0" y="134"/>
                  </a:lnTo>
                  <a:lnTo>
                    <a:pt x="0" y="11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7" name="S_NGA"/>
            <p:cNvSpPr>
              <a:spLocks/>
            </p:cNvSpPr>
            <p:nvPr/>
          </p:nvSpPr>
          <p:spPr bwMode="auto">
            <a:xfrm>
              <a:off x="4790574" y="3867150"/>
              <a:ext cx="319311" cy="304800"/>
            </a:xfrm>
            <a:custGeom>
              <a:avLst/>
              <a:gdLst>
                <a:gd name="T0" fmla="*/ 2147483647 w 156"/>
                <a:gd name="T1" fmla="*/ 2147483647 h 144"/>
                <a:gd name="T2" fmla="*/ 2147483647 w 156"/>
                <a:gd name="T3" fmla="*/ 2147483647 h 144"/>
                <a:gd name="T4" fmla="*/ 2147483647 w 156"/>
                <a:gd name="T5" fmla="*/ 2147483647 h 144"/>
                <a:gd name="T6" fmla="*/ 2147483647 w 156"/>
                <a:gd name="T7" fmla="*/ 2147483647 h 144"/>
                <a:gd name="T8" fmla="*/ 2147483647 w 156"/>
                <a:gd name="T9" fmla="*/ 2147483647 h 144"/>
                <a:gd name="T10" fmla="*/ 2147483647 w 156"/>
                <a:gd name="T11" fmla="*/ 2147483647 h 144"/>
                <a:gd name="T12" fmla="*/ 2147483647 w 156"/>
                <a:gd name="T13" fmla="*/ 2147483647 h 144"/>
                <a:gd name="T14" fmla="*/ 2147483647 w 156"/>
                <a:gd name="T15" fmla="*/ 0 h 144"/>
                <a:gd name="T16" fmla="*/ 2147483647 w 156"/>
                <a:gd name="T17" fmla="*/ 0 h 144"/>
                <a:gd name="T18" fmla="*/ 2147483647 w 156"/>
                <a:gd name="T19" fmla="*/ 2147483647 h 144"/>
                <a:gd name="T20" fmla="*/ 2147483647 w 156"/>
                <a:gd name="T21" fmla="*/ 2147483647 h 144"/>
                <a:gd name="T22" fmla="*/ 2147483647 w 156"/>
                <a:gd name="T23" fmla="*/ 2147483647 h 144"/>
                <a:gd name="T24" fmla="*/ 2147483647 w 156"/>
                <a:gd name="T25" fmla="*/ 2147483647 h 144"/>
                <a:gd name="T26" fmla="*/ 2147483647 w 156"/>
                <a:gd name="T27" fmla="*/ 2147483647 h 144"/>
                <a:gd name="T28" fmla="*/ 2147483647 w 156"/>
                <a:gd name="T29" fmla="*/ 0 h 144"/>
                <a:gd name="T30" fmla="*/ 2147483647 w 156"/>
                <a:gd name="T31" fmla="*/ 0 h 144"/>
                <a:gd name="T32" fmla="*/ 2147483647 w 156"/>
                <a:gd name="T33" fmla="*/ 2147483647 h 144"/>
                <a:gd name="T34" fmla="*/ 2147483647 w 156"/>
                <a:gd name="T35" fmla="*/ 2147483647 h 144"/>
                <a:gd name="T36" fmla="*/ 0 w 156"/>
                <a:gd name="T37" fmla="*/ 2147483647 h 144"/>
                <a:gd name="T38" fmla="*/ 0 w 156"/>
                <a:gd name="T39" fmla="*/ 2147483647 h 144"/>
                <a:gd name="T40" fmla="*/ 2147483647 w 156"/>
                <a:gd name="T41" fmla="*/ 2147483647 h 144"/>
                <a:gd name="T42" fmla="*/ 2147483647 w 156"/>
                <a:gd name="T43" fmla="*/ 2147483647 h 144"/>
                <a:gd name="T44" fmla="*/ 2147483647 w 156"/>
                <a:gd name="T45" fmla="*/ 2147483647 h 144"/>
                <a:gd name="T46" fmla="*/ 2147483647 w 156"/>
                <a:gd name="T47" fmla="*/ 2147483647 h 144"/>
                <a:gd name="T48" fmla="*/ 2147483647 w 156"/>
                <a:gd name="T49" fmla="*/ 2147483647 h 144"/>
                <a:gd name="T50" fmla="*/ 2147483647 w 156"/>
                <a:gd name="T51" fmla="*/ 2147483647 h 144"/>
                <a:gd name="T52" fmla="*/ 2147483647 w 156"/>
                <a:gd name="T53" fmla="*/ 2147483647 h 14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6"/>
                <a:gd name="T82" fmla="*/ 0 h 144"/>
                <a:gd name="T83" fmla="*/ 156 w 156"/>
                <a:gd name="T84" fmla="*/ 144 h 14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6" h="144">
                  <a:moveTo>
                    <a:pt x="79" y="129"/>
                  </a:moveTo>
                  <a:lnTo>
                    <a:pt x="100" y="107"/>
                  </a:lnTo>
                  <a:lnTo>
                    <a:pt x="107" y="107"/>
                  </a:lnTo>
                  <a:lnTo>
                    <a:pt x="114" y="117"/>
                  </a:lnTo>
                  <a:lnTo>
                    <a:pt x="142" y="77"/>
                  </a:lnTo>
                  <a:lnTo>
                    <a:pt x="156" y="32"/>
                  </a:lnTo>
                  <a:lnTo>
                    <a:pt x="156" y="8"/>
                  </a:lnTo>
                  <a:lnTo>
                    <a:pt x="151" y="0"/>
                  </a:lnTo>
                  <a:lnTo>
                    <a:pt x="142" y="0"/>
                  </a:lnTo>
                  <a:lnTo>
                    <a:pt x="134" y="8"/>
                  </a:lnTo>
                  <a:lnTo>
                    <a:pt x="107" y="8"/>
                  </a:lnTo>
                  <a:lnTo>
                    <a:pt x="94" y="23"/>
                  </a:lnTo>
                  <a:lnTo>
                    <a:pt x="72" y="8"/>
                  </a:lnTo>
                  <a:lnTo>
                    <a:pt x="64" y="8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13" y="23"/>
                  </a:lnTo>
                  <a:lnTo>
                    <a:pt x="13" y="53"/>
                  </a:lnTo>
                  <a:lnTo>
                    <a:pt x="0" y="84"/>
                  </a:lnTo>
                  <a:lnTo>
                    <a:pt x="0" y="117"/>
                  </a:lnTo>
                  <a:lnTo>
                    <a:pt x="30" y="117"/>
                  </a:lnTo>
                  <a:lnTo>
                    <a:pt x="30" y="124"/>
                  </a:lnTo>
                  <a:lnTo>
                    <a:pt x="37" y="144"/>
                  </a:lnTo>
                  <a:lnTo>
                    <a:pt x="79" y="144"/>
                  </a:lnTo>
                  <a:lnTo>
                    <a:pt x="79" y="12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8" name="S_NER"/>
            <p:cNvSpPr>
              <a:spLocks/>
            </p:cNvSpPr>
            <p:nvPr/>
          </p:nvSpPr>
          <p:spPr bwMode="auto">
            <a:xfrm>
              <a:off x="4719049" y="3581400"/>
              <a:ext cx="447770" cy="361950"/>
            </a:xfrm>
            <a:custGeom>
              <a:avLst/>
              <a:gdLst>
                <a:gd name="T0" fmla="*/ 777493378 w 216"/>
                <a:gd name="T1" fmla="*/ 631719206 h 171"/>
                <a:gd name="T2" fmla="*/ 777493378 w 216"/>
                <a:gd name="T3" fmla="*/ 586915738 h 171"/>
                <a:gd name="T4" fmla="*/ 893472259 w 216"/>
                <a:gd name="T5" fmla="*/ 421146799 h 171"/>
                <a:gd name="T6" fmla="*/ 927837523 w 216"/>
                <a:gd name="T7" fmla="*/ 192652647 h 171"/>
                <a:gd name="T8" fmla="*/ 833334601 w 216"/>
                <a:gd name="T9" fmla="*/ 89604851 h 171"/>
                <a:gd name="T10" fmla="*/ 833334601 w 216"/>
                <a:gd name="T11" fmla="*/ 26881665 h 171"/>
                <a:gd name="T12" fmla="*/ 790380611 w 216"/>
                <a:gd name="T13" fmla="*/ 0 h 171"/>
                <a:gd name="T14" fmla="*/ 657218062 w 216"/>
                <a:gd name="T15" fmla="*/ 0 h 171"/>
                <a:gd name="T16" fmla="*/ 279210388 w 216"/>
                <a:gd name="T17" fmla="*/ 264335655 h 171"/>
                <a:gd name="T18" fmla="*/ 214776230 w 216"/>
                <a:gd name="T19" fmla="*/ 264335655 h 171"/>
                <a:gd name="T20" fmla="*/ 214776230 w 216"/>
                <a:gd name="T21" fmla="*/ 465948149 h 171"/>
                <a:gd name="T22" fmla="*/ 189003837 w 216"/>
                <a:gd name="T23" fmla="*/ 519711463 h 171"/>
                <a:gd name="T24" fmla="*/ 0 w 216"/>
                <a:gd name="T25" fmla="*/ 555555216 h 171"/>
                <a:gd name="T26" fmla="*/ 0 w 216"/>
                <a:gd name="T27" fmla="*/ 631719206 h 171"/>
                <a:gd name="T28" fmla="*/ 64434109 w 216"/>
                <a:gd name="T29" fmla="*/ 730285987 h 171"/>
                <a:gd name="T30" fmla="*/ 94502955 w 216"/>
                <a:gd name="T31" fmla="*/ 730285987 h 171"/>
                <a:gd name="T32" fmla="*/ 94502955 w 216"/>
                <a:gd name="T33" fmla="*/ 766127491 h 171"/>
                <a:gd name="T34" fmla="*/ 94502955 w 216"/>
                <a:gd name="T35" fmla="*/ 730285987 h 171"/>
                <a:gd name="T36" fmla="*/ 128866146 w 216"/>
                <a:gd name="T37" fmla="*/ 730285987 h 171"/>
                <a:gd name="T38" fmla="*/ 189003837 w 216"/>
                <a:gd name="T39" fmla="*/ 766127491 h 171"/>
                <a:gd name="T40" fmla="*/ 189003837 w 216"/>
                <a:gd name="T41" fmla="*/ 730285987 h 171"/>
                <a:gd name="T42" fmla="*/ 253437930 w 216"/>
                <a:gd name="T43" fmla="*/ 631719206 h 171"/>
                <a:gd name="T44" fmla="*/ 433850969 w 216"/>
                <a:gd name="T45" fmla="*/ 654119881 h 171"/>
                <a:gd name="T46" fmla="*/ 524055383 w 216"/>
                <a:gd name="T47" fmla="*/ 730285987 h 171"/>
                <a:gd name="T48" fmla="*/ 584193171 w 216"/>
                <a:gd name="T49" fmla="*/ 654119881 h 171"/>
                <a:gd name="T50" fmla="*/ 713061357 w 216"/>
                <a:gd name="T51" fmla="*/ 654119881 h 171"/>
                <a:gd name="T52" fmla="*/ 743130186 w 216"/>
                <a:gd name="T53" fmla="*/ 631719206 h 171"/>
                <a:gd name="T54" fmla="*/ 777493378 w 216"/>
                <a:gd name="T55" fmla="*/ 631719206 h 171"/>
                <a:gd name="T56" fmla="*/ 777493378 w 216"/>
                <a:gd name="T57" fmla="*/ 631719206 h 1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71"/>
                <a:gd name="T89" fmla="*/ 216 w 216"/>
                <a:gd name="T90" fmla="*/ 171 h 17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71">
                  <a:moveTo>
                    <a:pt x="181" y="141"/>
                  </a:moveTo>
                  <a:lnTo>
                    <a:pt x="181" y="131"/>
                  </a:lnTo>
                  <a:lnTo>
                    <a:pt x="208" y="94"/>
                  </a:lnTo>
                  <a:lnTo>
                    <a:pt x="216" y="43"/>
                  </a:lnTo>
                  <a:lnTo>
                    <a:pt x="194" y="20"/>
                  </a:lnTo>
                  <a:lnTo>
                    <a:pt x="194" y="6"/>
                  </a:lnTo>
                  <a:lnTo>
                    <a:pt x="184" y="0"/>
                  </a:lnTo>
                  <a:lnTo>
                    <a:pt x="153" y="0"/>
                  </a:lnTo>
                  <a:lnTo>
                    <a:pt x="65" y="59"/>
                  </a:lnTo>
                  <a:lnTo>
                    <a:pt x="50" y="59"/>
                  </a:lnTo>
                  <a:lnTo>
                    <a:pt x="50" y="104"/>
                  </a:lnTo>
                  <a:lnTo>
                    <a:pt x="44" y="116"/>
                  </a:lnTo>
                  <a:lnTo>
                    <a:pt x="0" y="124"/>
                  </a:lnTo>
                  <a:lnTo>
                    <a:pt x="0" y="141"/>
                  </a:lnTo>
                  <a:lnTo>
                    <a:pt x="15" y="163"/>
                  </a:lnTo>
                  <a:lnTo>
                    <a:pt x="22" y="163"/>
                  </a:lnTo>
                  <a:lnTo>
                    <a:pt x="22" y="171"/>
                  </a:lnTo>
                  <a:lnTo>
                    <a:pt x="22" y="163"/>
                  </a:lnTo>
                  <a:lnTo>
                    <a:pt x="30" y="163"/>
                  </a:lnTo>
                  <a:lnTo>
                    <a:pt x="44" y="171"/>
                  </a:lnTo>
                  <a:lnTo>
                    <a:pt x="44" y="163"/>
                  </a:lnTo>
                  <a:lnTo>
                    <a:pt x="59" y="141"/>
                  </a:lnTo>
                  <a:lnTo>
                    <a:pt x="101" y="146"/>
                  </a:lnTo>
                  <a:lnTo>
                    <a:pt x="122" y="163"/>
                  </a:lnTo>
                  <a:lnTo>
                    <a:pt x="136" y="146"/>
                  </a:lnTo>
                  <a:lnTo>
                    <a:pt x="166" y="146"/>
                  </a:lnTo>
                  <a:lnTo>
                    <a:pt x="173" y="141"/>
                  </a:lnTo>
                  <a:lnTo>
                    <a:pt x="181" y="14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9" name="S_TCD"/>
            <p:cNvSpPr>
              <a:spLocks/>
            </p:cNvSpPr>
            <p:nvPr/>
          </p:nvSpPr>
          <p:spPr bwMode="auto">
            <a:xfrm>
              <a:off x="5090908" y="3581400"/>
              <a:ext cx="284669" cy="495300"/>
            </a:xfrm>
            <a:custGeom>
              <a:avLst/>
              <a:gdLst>
                <a:gd name="T0" fmla="*/ 31286 w 137"/>
                <a:gd name="T1" fmla="*/ 16719 h 237"/>
                <a:gd name="T2" fmla="*/ 31286 w 137"/>
                <a:gd name="T3" fmla="*/ 45977 h 237"/>
                <a:gd name="T4" fmla="*/ 79259 w 137"/>
                <a:gd name="T5" fmla="*/ 89865 h 237"/>
                <a:gd name="T6" fmla="*/ 62573 w 137"/>
                <a:gd name="T7" fmla="*/ 200628 h 237"/>
                <a:gd name="T8" fmla="*/ 0 w 137"/>
                <a:gd name="T9" fmla="*/ 273773 h 237"/>
                <a:gd name="T10" fmla="*/ 0 w 137"/>
                <a:gd name="T11" fmla="*/ 290492 h 237"/>
                <a:gd name="T12" fmla="*/ 12515 w 137"/>
                <a:gd name="T13" fmla="*/ 309301 h 237"/>
                <a:gd name="T14" fmla="*/ 12515 w 137"/>
                <a:gd name="T15" fmla="*/ 340649 h 237"/>
                <a:gd name="T16" fmla="*/ 62573 w 137"/>
                <a:gd name="T17" fmla="*/ 417975 h 237"/>
                <a:gd name="T18" fmla="*/ 12515 w 137"/>
                <a:gd name="T19" fmla="*/ 417975 h 237"/>
                <a:gd name="T20" fmla="*/ 12515 w 137"/>
                <a:gd name="T21" fmla="*/ 434694 h 237"/>
                <a:gd name="T22" fmla="*/ 31286 w 137"/>
                <a:gd name="T23" fmla="*/ 449323 h 237"/>
                <a:gd name="T24" fmla="*/ 62573 w 137"/>
                <a:gd name="T25" fmla="*/ 495300 h 237"/>
                <a:gd name="T26" fmla="*/ 166861 w 137"/>
                <a:gd name="T27" fmla="*/ 449323 h 237"/>
                <a:gd name="T28" fmla="*/ 139746 w 137"/>
                <a:gd name="T29" fmla="*/ 449323 h 237"/>
                <a:gd name="T30" fmla="*/ 198148 w 137"/>
                <a:gd name="T31" fmla="*/ 434694 h 237"/>
                <a:gd name="T32" fmla="*/ 260721 w 137"/>
                <a:gd name="T33" fmla="*/ 371998 h 237"/>
                <a:gd name="T34" fmla="*/ 271150 w 137"/>
                <a:gd name="T35" fmla="*/ 371998 h 237"/>
                <a:gd name="T36" fmla="*/ 229434 w 137"/>
                <a:gd name="T37" fmla="*/ 309301 h 237"/>
                <a:gd name="T38" fmla="*/ 271150 w 137"/>
                <a:gd name="T39" fmla="*/ 244515 h 237"/>
                <a:gd name="T40" fmla="*/ 285750 w 137"/>
                <a:gd name="T41" fmla="*/ 244515 h 237"/>
                <a:gd name="T42" fmla="*/ 285750 w 137"/>
                <a:gd name="T43" fmla="*/ 123303 h 237"/>
                <a:gd name="T44" fmla="*/ 79259 w 137"/>
                <a:gd name="T45" fmla="*/ 0 h 237"/>
                <a:gd name="T46" fmla="*/ 31286 w 137"/>
                <a:gd name="T47" fmla="*/ 16719 h 237"/>
                <a:gd name="T48" fmla="*/ 31286 w 137"/>
                <a:gd name="T49" fmla="*/ 16719 h 237"/>
                <a:gd name="T50" fmla="*/ 31286 w 137"/>
                <a:gd name="T51" fmla="*/ 16719 h 2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7"/>
                <a:gd name="T79" fmla="*/ 0 h 237"/>
                <a:gd name="T80" fmla="*/ 137 w 137"/>
                <a:gd name="T81" fmla="*/ 237 h 23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7" h="237">
                  <a:moveTo>
                    <a:pt x="15" y="8"/>
                  </a:moveTo>
                  <a:lnTo>
                    <a:pt x="15" y="22"/>
                  </a:lnTo>
                  <a:lnTo>
                    <a:pt x="38" y="43"/>
                  </a:lnTo>
                  <a:lnTo>
                    <a:pt x="30" y="96"/>
                  </a:lnTo>
                  <a:lnTo>
                    <a:pt x="0" y="131"/>
                  </a:lnTo>
                  <a:lnTo>
                    <a:pt x="0" y="139"/>
                  </a:lnTo>
                  <a:lnTo>
                    <a:pt x="6" y="148"/>
                  </a:lnTo>
                  <a:lnTo>
                    <a:pt x="6" y="163"/>
                  </a:lnTo>
                  <a:lnTo>
                    <a:pt x="30" y="200"/>
                  </a:lnTo>
                  <a:lnTo>
                    <a:pt x="6" y="200"/>
                  </a:lnTo>
                  <a:lnTo>
                    <a:pt x="6" y="208"/>
                  </a:lnTo>
                  <a:lnTo>
                    <a:pt x="15" y="215"/>
                  </a:lnTo>
                  <a:lnTo>
                    <a:pt x="30" y="237"/>
                  </a:lnTo>
                  <a:lnTo>
                    <a:pt x="80" y="215"/>
                  </a:lnTo>
                  <a:lnTo>
                    <a:pt x="67" y="215"/>
                  </a:lnTo>
                  <a:lnTo>
                    <a:pt x="95" y="208"/>
                  </a:lnTo>
                  <a:lnTo>
                    <a:pt x="125" y="178"/>
                  </a:lnTo>
                  <a:lnTo>
                    <a:pt x="130" y="178"/>
                  </a:lnTo>
                  <a:lnTo>
                    <a:pt x="110" y="148"/>
                  </a:lnTo>
                  <a:lnTo>
                    <a:pt x="130" y="117"/>
                  </a:lnTo>
                  <a:lnTo>
                    <a:pt x="137" y="117"/>
                  </a:lnTo>
                  <a:lnTo>
                    <a:pt x="137" y="59"/>
                  </a:lnTo>
                  <a:lnTo>
                    <a:pt x="38" y="0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de-DE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de-DE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0" name="S_SDN"/>
            <p:cNvSpPr>
              <a:spLocks/>
            </p:cNvSpPr>
            <p:nvPr/>
          </p:nvSpPr>
          <p:spPr bwMode="auto">
            <a:xfrm>
              <a:off x="5318643" y="3590925"/>
              <a:ext cx="476238" cy="600075"/>
            </a:xfrm>
            <a:custGeom>
              <a:avLst/>
              <a:gdLst>
                <a:gd name="T0" fmla="*/ 69201843 w 229"/>
                <a:gd name="T1" fmla="*/ 754489396 h 289"/>
                <a:gd name="T2" fmla="*/ 121102680 w 229"/>
                <a:gd name="T3" fmla="*/ 849340657 h 289"/>
                <a:gd name="T4" fmla="*/ 121102680 w 229"/>
                <a:gd name="T5" fmla="*/ 922632832 h 289"/>
                <a:gd name="T6" fmla="*/ 185980840 w 229"/>
                <a:gd name="T7" fmla="*/ 957123633 h 289"/>
                <a:gd name="T8" fmla="*/ 346011260 w 229"/>
                <a:gd name="T9" fmla="*/ 1146824339 h 289"/>
                <a:gd name="T10" fmla="*/ 367635916 w 229"/>
                <a:gd name="T11" fmla="*/ 1215805942 h 289"/>
                <a:gd name="T12" fmla="*/ 488738564 w 229"/>
                <a:gd name="T13" fmla="*/ 1215805942 h 289"/>
                <a:gd name="T14" fmla="*/ 527666272 w 229"/>
                <a:gd name="T15" fmla="*/ 1245986171 h 289"/>
                <a:gd name="T16" fmla="*/ 592542449 w 229"/>
                <a:gd name="T17" fmla="*/ 1245986171 h 289"/>
                <a:gd name="T18" fmla="*/ 709321414 w 229"/>
                <a:gd name="T19" fmla="*/ 1215805942 h 289"/>
                <a:gd name="T20" fmla="*/ 830424062 w 229"/>
                <a:gd name="T21" fmla="*/ 1215805942 h 289"/>
                <a:gd name="T22" fmla="*/ 830424062 w 229"/>
                <a:gd name="T23" fmla="*/ 1125267328 h 289"/>
                <a:gd name="T24" fmla="*/ 804473643 w 229"/>
                <a:gd name="T25" fmla="*/ 1125267328 h 289"/>
                <a:gd name="T26" fmla="*/ 709321414 w 229"/>
                <a:gd name="T27" fmla="*/ 1013171445 h 289"/>
                <a:gd name="T28" fmla="*/ 679045232 w 229"/>
                <a:gd name="T29" fmla="*/ 957123633 h 289"/>
                <a:gd name="T30" fmla="*/ 860700243 w 229"/>
                <a:gd name="T31" fmla="*/ 616526190 h 289"/>
                <a:gd name="T32" fmla="*/ 895302188 w 229"/>
                <a:gd name="T33" fmla="*/ 392334813 h 289"/>
                <a:gd name="T34" fmla="*/ 990454417 w 229"/>
                <a:gd name="T35" fmla="*/ 362154583 h 289"/>
                <a:gd name="T36" fmla="*/ 990454417 w 229"/>
                <a:gd name="T37" fmla="*/ 327663782 h 289"/>
                <a:gd name="T38" fmla="*/ 925578370 w 229"/>
                <a:gd name="T39" fmla="*/ 297485628 h 289"/>
                <a:gd name="T40" fmla="*/ 895302188 w 229"/>
                <a:gd name="T41" fmla="*/ 34490818 h 289"/>
                <a:gd name="T42" fmla="*/ 830424062 w 229"/>
                <a:gd name="T43" fmla="*/ 0 h 289"/>
                <a:gd name="T44" fmla="*/ 709321414 w 229"/>
                <a:gd name="T45" fmla="*/ 73294283 h 289"/>
                <a:gd name="T46" fmla="*/ 679045232 w 229"/>
                <a:gd name="T47" fmla="*/ 34490818 h 289"/>
                <a:gd name="T48" fmla="*/ 185980840 w 229"/>
                <a:gd name="T49" fmla="*/ 34490818 h 289"/>
                <a:gd name="T50" fmla="*/ 185980840 w 229"/>
                <a:gd name="T51" fmla="*/ 168143501 h 289"/>
                <a:gd name="T52" fmla="*/ 121102680 w 229"/>
                <a:gd name="T53" fmla="*/ 224191312 h 289"/>
                <a:gd name="T54" fmla="*/ 121102680 w 229"/>
                <a:gd name="T55" fmla="*/ 487183998 h 289"/>
                <a:gd name="T56" fmla="*/ 90828578 w 229"/>
                <a:gd name="T57" fmla="*/ 487183998 h 289"/>
                <a:gd name="T58" fmla="*/ 0 w 229"/>
                <a:gd name="T59" fmla="*/ 616526190 h 289"/>
                <a:gd name="T60" fmla="*/ 90828578 w 229"/>
                <a:gd name="T61" fmla="*/ 754489396 h 289"/>
                <a:gd name="T62" fmla="*/ 69201843 w 229"/>
                <a:gd name="T63" fmla="*/ 754489396 h 289"/>
                <a:gd name="T64" fmla="*/ 69201843 w 229"/>
                <a:gd name="T65" fmla="*/ 754489396 h 289"/>
                <a:gd name="T66" fmla="*/ 69201843 w 229"/>
                <a:gd name="T67" fmla="*/ 754489396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9"/>
                <a:gd name="T103" fmla="*/ 0 h 289"/>
                <a:gd name="T104" fmla="*/ 229 w 229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9" h="289">
                  <a:moveTo>
                    <a:pt x="16" y="175"/>
                  </a:moveTo>
                  <a:lnTo>
                    <a:pt x="28" y="197"/>
                  </a:lnTo>
                  <a:lnTo>
                    <a:pt x="28" y="214"/>
                  </a:lnTo>
                  <a:lnTo>
                    <a:pt x="43" y="222"/>
                  </a:lnTo>
                  <a:lnTo>
                    <a:pt x="80" y="266"/>
                  </a:lnTo>
                  <a:lnTo>
                    <a:pt x="85" y="282"/>
                  </a:lnTo>
                  <a:lnTo>
                    <a:pt x="113" y="282"/>
                  </a:lnTo>
                  <a:lnTo>
                    <a:pt x="122" y="289"/>
                  </a:lnTo>
                  <a:lnTo>
                    <a:pt x="137" y="289"/>
                  </a:lnTo>
                  <a:lnTo>
                    <a:pt x="164" y="282"/>
                  </a:lnTo>
                  <a:lnTo>
                    <a:pt x="192" y="282"/>
                  </a:lnTo>
                  <a:lnTo>
                    <a:pt x="192" y="261"/>
                  </a:lnTo>
                  <a:lnTo>
                    <a:pt x="186" y="261"/>
                  </a:lnTo>
                  <a:lnTo>
                    <a:pt x="164" y="235"/>
                  </a:lnTo>
                  <a:lnTo>
                    <a:pt x="157" y="222"/>
                  </a:lnTo>
                  <a:lnTo>
                    <a:pt x="199" y="143"/>
                  </a:lnTo>
                  <a:lnTo>
                    <a:pt x="207" y="91"/>
                  </a:lnTo>
                  <a:lnTo>
                    <a:pt x="229" y="84"/>
                  </a:lnTo>
                  <a:lnTo>
                    <a:pt x="229" y="76"/>
                  </a:lnTo>
                  <a:lnTo>
                    <a:pt x="214" y="69"/>
                  </a:lnTo>
                  <a:lnTo>
                    <a:pt x="207" y="8"/>
                  </a:lnTo>
                  <a:lnTo>
                    <a:pt x="192" y="0"/>
                  </a:lnTo>
                  <a:lnTo>
                    <a:pt x="164" y="17"/>
                  </a:lnTo>
                  <a:lnTo>
                    <a:pt x="157" y="8"/>
                  </a:lnTo>
                  <a:lnTo>
                    <a:pt x="43" y="8"/>
                  </a:lnTo>
                  <a:lnTo>
                    <a:pt x="43" y="39"/>
                  </a:lnTo>
                  <a:lnTo>
                    <a:pt x="28" y="52"/>
                  </a:lnTo>
                  <a:lnTo>
                    <a:pt x="28" y="113"/>
                  </a:lnTo>
                  <a:lnTo>
                    <a:pt x="21" y="113"/>
                  </a:lnTo>
                  <a:lnTo>
                    <a:pt x="0" y="143"/>
                  </a:lnTo>
                  <a:lnTo>
                    <a:pt x="21" y="175"/>
                  </a:lnTo>
                  <a:lnTo>
                    <a:pt x="16" y="17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1" name="S_KEN"/>
            <p:cNvSpPr>
              <a:spLocks/>
            </p:cNvSpPr>
            <p:nvPr/>
          </p:nvSpPr>
          <p:spPr bwMode="auto">
            <a:xfrm>
              <a:off x="5662035" y="4171950"/>
              <a:ext cx="237224" cy="266700"/>
            </a:xfrm>
            <a:custGeom>
              <a:avLst/>
              <a:gdLst>
                <a:gd name="T0" fmla="*/ 2147483647 w 112"/>
                <a:gd name="T1" fmla="*/ 2147483647 h 130"/>
                <a:gd name="T2" fmla="*/ 2147483647 w 112"/>
                <a:gd name="T3" fmla="*/ 0 h 130"/>
                <a:gd name="T4" fmla="*/ 2147483647 w 112"/>
                <a:gd name="T5" fmla="*/ 2147483647 h 130"/>
                <a:gd name="T6" fmla="*/ 0 w 112"/>
                <a:gd name="T7" fmla="*/ 0 h 130"/>
                <a:gd name="T8" fmla="*/ 2147483647 w 112"/>
                <a:gd name="T9" fmla="*/ 2147483647 h 130"/>
                <a:gd name="T10" fmla="*/ 2147483647 w 112"/>
                <a:gd name="T11" fmla="*/ 2147483647 h 130"/>
                <a:gd name="T12" fmla="*/ 0 w 112"/>
                <a:gd name="T13" fmla="*/ 2147483647 h 130"/>
                <a:gd name="T14" fmla="*/ 0 w 112"/>
                <a:gd name="T15" fmla="*/ 2147483647 h 130"/>
                <a:gd name="T16" fmla="*/ 2147483647 w 112"/>
                <a:gd name="T17" fmla="*/ 2147483647 h 130"/>
                <a:gd name="T18" fmla="*/ 2147483647 w 112"/>
                <a:gd name="T19" fmla="*/ 2147483647 h 130"/>
                <a:gd name="T20" fmla="*/ 2147483647 w 112"/>
                <a:gd name="T21" fmla="*/ 2147483647 h 130"/>
                <a:gd name="T22" fmla="*/ 2147483647 w 112"/>
                <a:gd name="T23" fmla="*/ 2147483647 h 130"/>
                <a:gd name="T24" fmla="*/ 2147483647 w 112"/>
                <a:gd name="T25" fmla="*/ 2147483647 h 130"/>
                <a:gd name="T26" fmla="*/ 2147483647 w 112"/>
                <a:gd name="T27" fmla="*/ 2147483647 h 130"/>
                <a:gd name="T28" fmla="*/ 2147483647 w 112"/>
                <a:gd name="T29" fmla="*/ 2147483647 h 130"/>
                <a:gd name="T30" fmla="*/ 2147483647 w 112"/>
                <a:gd name="T31" fmla="*/ 2147483647 h 130"/>
                <a:gd name="T32" fmla="*/ 2147483647 w 112"/>
                <a:gd name="T33" fmla="*/ 2147483647 h 130"/>
                <a:gd name="T34" fmla="*/ 2147483647 w 112"/>
                <a:gd name="T35" fmla="*/ 2147483647 h 130"/>
                <a:gd name="T36" fmla="*/ 2147483647 w 112"/>
                <a:gd name="T37" fmla="*/ 2147483647 h 130"/>
                <a:gd name="T38" fmla="*/ 2147483647 w 112"/>
                <a:gd name="T39" fmla="*/ 2147483647 h 13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2"/>
                <a:gd name="T61" fmla="*/ 0 h 130"/>
                <a:gd name="T62" fmla="*/ 112 w 112"/>
                <a:gd name="T63" fmla="*/ 130 h 13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2" h="130">
                  <a:moveTo>
                    <a:pt x="112" y="10"/>
                  </a:moveTo>
                  <a:lnTo>
                    <a:pt x="90" y="0"/>
                  </a:lnTo>
                  <a:lnTo>
                    <a:pt x="70" y="10"/>
                  </a:lnTo>
                  <a:lnTo>
                    <a:pt x="0" y="0"/>
                  </a:lnTo>
                  <a:lnTo>
                    <a:pt x="8" y="10"/>
                  </a:lnTo>
                  <a:lnTo>
                    <a:pt x="22" y="39"/>
                  </a:lnTo>
                  <a:lnTo>
                    <a:pt x="0" y="62"/>
                  </a:lnTo>
                  <a:lnTo>
                    <a:pt x="0" y="76"/>
                  </a:lnTo>
                  <a:lnTo>
                    <a:pt x="8" y="76"/>
                  </a:lnTo>
                  <a:lnTo>
                    <a:pt x="48" y="101"/>
                  </a:lnTo>
                  <a:lnTo>
                    <a:pt x="48" y="121"/>
                  </a:lnTo>
                  <a:lnTo>
                    <a:pt x="77" y="130"/>
                  </a:lnTo>
                  <a:lnTo>
                    <a:pt x="83" y="101"/>
                  </a:lnTo>
                  <a:lnTo>
                    <a:pt x="90" y="101"/>
                  </a:lnTo>
                  <a:lnTo>
                    <a:pt x="105" y="84"/>
                  </a:lnTo>
                  <a:lnTo>
                    <a:pt x="90" y="76"/>
                  </a:lnTo>
                  <a:lnTo>
                    <a:pt x="90" y="30"/>
                  </a:lnTo>
                  <a:lnTo>
                    <a:pt x="112" y="1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2" name="S_UGA"/>
            <p:cNvSpPr>
              <a:spLocks/>
            </p:cNvSpPr>
            <p:nvPr/>
          </p:nvSpPr>
          <p:spPr bwMode="auto">
            <a:xfrm>
              <a:off x="5548168" y="4171950"/>
              <a:ext cx="161312" cy="171450"/>
            </a:xfrm>
            <a:custGeom>
              <a:avLst/>
              <a:gdLst>
                <a:gd name="T0" fmla="*/ 245128851 w 76"/>
                <a:gd name="T1" fmla="*/ 0 h 82"/>
                <a:gd name="T2" fmla="*/ 272366330 w 76"/>
                <a:gd name="T3" fmla="*/ 39345686 h 82"/>
                <a:gd name="T4" fmla="*/ 344996121 w 76"/>
                <a:gd name="T5" fmla="*/ 170494482 h 82"/>
                <a:gd name="T6" fmla="*/ 245128851 w 76"/>
                <a:gd name="T7" fmla="*/ 266671623 h 82"/>
                <a:gd name="T8" fmla="*/ 245128851 w 76"/>
                <a:gd name="T9" fmla="*/ 332247108 h 82"/>
                <a:gd name="T10" fmla="*/ 63551292 w 76"/>
                <a:gd name="T11" fmla="*/ 332247108 h 82"/>
                <a:gd name="T12" fmla="*/ 0 w 76"/>
                <a:gd name="T13" fmla="*/ 358476857 h 82"/>
                <a:gd name="T14" fmla="*/ 13618743 w 76"/>
                <a:gd name="T15" fmla="*/ 236069901 h 82"/>
                <a:gd name="T16" fmla="*/ 63551292 w 76"/>
                <a:gd name="T17" fmla="*/ 205468178 h 82"/>
                <a:gd name="T18" fmla="*/ 90788788 w 76"/>
                <a:gd name="T19" fmla="*/ 131150870 h 82"/>
                <a:gd name="T20" fmla="*/ 63551292 w 76"/>
                <a:gd name="T21" fmla="*/ 131150870 h 82"/>
                <a:gd name="T22" fmla="*/ 63551292 w 76"/>
                <a:gd name="T23" fmla="*/ 39345686 h 82"/>
                <a:gd name="T24" fmla="*/ 122564426 w 76"/>
                <a:gd name="T25" fmla="*/ 39345686 h 82"/>
                <a:gd name="T26" fmla="*/ 245128851 w 76"/>
                <a:gd name="T27" fmla="*/ 0 h 82"/>
                <a:gd name="T28" fmla="*/ 245128851 w 76"/>
                <a:gd name="T29" fmla="*/ 0 h 82"/>
                <a:gd name="T30" fmla="*/ 245128851 w 76"/>
                <a:gd name="T31" fmla="*/ 0 h 8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6"/>
                <a:gd name="T49" fmla="*/ 0 h 82"/>
                <a:gd name="T50" fmla="*/ 76 w 76"/>
                <a:gd name="T51" fmla="*/ 82 h 8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6" h="82">
                  <a:moveTo>
                    <a:pt x="54" y="0"/>
                  </a:moveTo>
                  <a:lnTo>
                    <a:pt x="60" y="9"/>
                  </a:lnTo>
                  <a:lnTo>
                    <a:pt x="76" y="39"/>
                  </a:lnTo>
                  <a:lnTo>
                    <a:pt x="54" y="61"/>
                  </a:lnTo>
                  <a:lnTo>
                    <a:pt x="54" y="76"/>
                  </a:lnTo>
                  <a:lnTo>
                    <a:pt x="14" y="76"/>
                  </a:lnTo>
                  <a:lnTo>
                    <a:pt x="0" y="82"/>
                  </a:lnTo>
                  <a:lnTo>
                    <a:pt x="3" y="54"/>
                  </a:lnTo>
                  <a:lnTo>
                    <a:pt x="14" y="47"/>
                  </a:lnTo>
                  <a:lnTo>
                    <a:pt x="20" y="30"/>
                  </a:lnTo>
                  <a:lnTo>
                    <a:pt x="14" y="30"/>
                  </a:lnTo>
                  <a:lnTo>
                    <a:pt x="14" y="9"/>
                  </a:lnTo>
                  <a:lnTo>
                    <a:pt x="27" y="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3" name="S_TZA"/>
            <p:cNvSpPr>
              <a:spLocks/>
            </p:cNvSpPr>
            <p:nvPr/>
          </p:nvSpPr>
          <p:spPr bwMode="auto">
            <a:xfrm>
              <a:off x="5548168" y="4333875"/>
              <a:ext cx="294158" cy="314325"/>
            </a:xfrm>
            <a:custGeom>
              <a:avLst/>
              <a:gdLst>
                <a:gd name="T0" fmla="*/ 214886877 w 141"/>
                <a:gd name="T1" fmla="*/ 548680006 h 153"/>
                <a:gd name="T2" fmla="*/ 87709235 w 141"/>
                <a:gd name="T3" fmla="*/ 455824611 h 153"/>
                <a:gd name="T4" fmla="*/ 61396248 w 141"/>
                <a:gd name="T5" fmla="*/ 455824611 h 153"/>
                <a:gd name="T6" fmla="*/ 0 w 141"/>
                <a:gd name="T7" fmla="*/ 354531880 h 153"/>
                <a:gd name="T8" fmla="*/ 0 w 141"/>
                <a:gd name="T9" fmla="*/ 227912306 h 153"/>
                <a:gd name="T10" fmla="*/ 61396248 w 141"/>
                <a:gd name="T11" fmla="*/ 130839302 h 153"/>
                <a:gd name="T12" fmla="*/ 61396248 w 141"/>
                <a:gd name="T13" fmla="*/ 0 h 153"/>
                <a:gd name="T14" fmla="*/ 271897963 w 141"/>
                <a:gd name="T15" fmla="*/ 0 h 153"/>
                <a:gd name="T16" fmla="*/ 464859111 w 141"/>
                <a:gd name="T17" fmla="*/ 101294818 h 153"/>
                <a:gd name="T18" fmla="*/ 464859111 w 141"/>
                <a:gd name="T19" fmla="*/ 194148062 h 153"/>
                <a:gd name="T20" fmla="*/ 578881413 w 141"/>
                <a:gd name="T21" fmla="*/ 227912306 h 153"/>
                <a:gd name="T22" fmla="*/ 556953589 w 141"/>
                <a:gd name="T23" fmla="*/ 287001337 h 153"/>
                <a:gd name="T24" fmla="*/ 578881413 w 141"/>
                <a:gd name="T25" fmla="*/ 384074309 h 153"/>
                <a:gd name="T26" fmla="*/ 578881413 w 141"/>
                <a:gd name="T27" fmla="*/ 548680006 h 153"/>
                <a:gd name="T28" fmla="*/ 618349821 w 141"/>
                <a:gd name="T29" fmla="*/ 582444249 h 153"/>
                <a:gd name="T30" fmla="*/ 556953589 w 141"/>
                <a:gd name="T31" fmla="*/ 645752977 h 153"/>
                <a:gd name="T32" fmla="*/ 337679407 w 141"/>
                <a:gd name="T33" fmla="*/ 645752977 h 153"/>
                <a:gd name="T34" fmla="*/ 271897963 w 141"/>
                <a:gd name="T35" fmla="*/ 548680006 h 153"/>
                <a:gd name="T36" fmla="*/ 214886877 w 141"/>
                <a:gd name="T37" fmla="*/ 548680006 h 153"/>
                <a:gd name="T38" fmla="*/ 214886877 w 141"/>
                <a:gd name="T39" fmla="*/ 548680006 h 153"/>
                <a:gd name="T40" fmla="*/ 214886877 w 141"/>
                <a:gd name="T41" fmla="*/ 548680006 h 15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41"/>
                <a:gd name="T64" fmla="*/ 0 h 153"/>
                <a:gd name="T65" fmla="*/ 141 w 141"/>
                <a:gd name="T66" fmla="*/ 153 h 15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41" h="153">
                  <a:moveTo>
                    <a:pt x="49" y="130"/>
                  </a:moveTo>
                  <a:lnTo>
                    <a:pt x="20" y="108"/>
                  </a:lnTo>
                  <a:lnTo>
                    <a:pt x="14" y="108"/>
                  </a:lnTo>
                  <a:lnTo>
                    <a:pt x="0" y="84"/>
                  </a:lnTo>
                  <a:lnTo>
                    <a:pt x="0" y="54"/>
                  </a:lnTo>
                  <a:lnTo>
                    <a:pt x="14" y="31"/>
                  </a:lnTo>
                  <a:lnTo>
                    <a:pt x="14" y="0"/>
                  </a:lnTo>
                  <a:lnTo>
                    <a:pt x="62" y="0"/>
                  </a:lnTo>
                  <a:lnTo>
                    <a:pt x="106" y="24"/>
                  </a:lnTo>
                  <a:lnTo>
                    <a:pt x="106" y="46"/>
                  </a:lnTo>
                  <a:lnTo>
                    <a:pt x="132" y="54"/>
                  </a:lnTo>
                  <a:lnTo>
                    <a:pt x="127" y="68"/>
                  </a:lnTo>
                  <a:lnTo>
                    <a:pt x="132" y="91"/>
                  </a:lnTo>
                  <a:lnTo>
                    <a:pt x="132" y="130"/>
                  </a:lnTo>
                  <a:lnTo>
                    <a:pt x="141" y="138"/>
                  </a:lnTo>
                  <a:lnTo>
                    <a:pt x="127" y="153"/>
                  </a:lnTo>
                  <a:lnTo>
                    <a:pt x="77" y="153"/>
                  </a:lnTo>
                  <a:lnTo>
                    <a:pt x="62" y="130"/>
                  </a:lnTo>
                  <a:lnTo>
                    <a:pt x="49" y="13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4" name="S_COD"/>
            <p:cNvSpPr>
              <a:spLocks/>
            </p:cNvSpPr>
            <p:nvPr/>
          </p:nvSpPr>
          <p:spPr bwMode="auto">
            <a:xfrm>
              <a:off x="5062441" y="4143375"/>
              <a:ext cx="523683" cy="561975"/>
            </a:xfrm>
            <a:custGeom>
              <a:avLst/>
              <a:gdLst>
                <a:gd name="T0" fmla="*/ 874670445 w 253"/>
                <a:gd name="T1" fmla="*/ 0 h 272"/>
                <a:gd name="T2" fmla="*/ 617414751 w 253"/>
                <a:gd name="T3" fmla="*/ 0 h 272"/>
                <a:gd name="T4" fmla="*/ 595977294 w 253"/>
                <a:gd name="T5" fmla="*/ 64030014 h 272"/>
                <a:gd name="T6" fmla="*/ 463059963 w 253"/>
                <a:gd name="T7" fmla="*/ 64030014 h 272"/>
                <a:gd name="T8" fmla="*/ 428759618 w 253"/>
                <a:gd name="T9" fmla="*/ 0 h 272"/>
                <a:gd name="T10" fmla="*/ 398747593 w 253"/>
                <a:gd name="T11" fmla="*/ 0 h 272"/>
                <a:gd name="T12" fmla="*/ 343007721 w 253"/>
                <a:gd name="T13" fmla="*/ 102448855 h 272"/>
                <a:gd name="T14" fmla="*/ 278693280 w 253"/>
                <a:gd name="T15" fmla="*/ 388452777 h 272"/>
                <a:gd name="T16" fmla="*/ 218667093 w 253"/>
                <a:gd name="T17" fmla="*/ 461019832 h 272"/>
                <a:gd name="T18" fmla="*/ 184366748 w 253"/>
                <a:gd name="T19" fmla="*/ 580544966 h 272"/>
                <a:gd name="T20" fmla="*/ 90040250 w 253"/>
                <a:gd name="T21" fmla="*/ 618961725 h 272"/>
                <a:gd name="T22" fmla="*/ 34300361 w 253"/>
                <a:gd name="T23" fmla="*/ 618961725 h 272"/>
                <a:gd name="T24" fmla="*/ 0 w 253"/>
                <a:gd name="T25" fmla="*/ 674454665 h 272"/>
                <a:gd name="T26" fmla="*/ 0 w 253"/>
                <a:gd name="T27" fmla="*/ 747023787 h 272"/>
                <a:gd name="T28" fmla="*/ 64314457 w 253"/>
                <a:gd name="T29" fmla="*/ 674454665 h 272"/>
                <a:gd name="T30" fmla="*/ 248681189 w 253"/>
                <a:gd name="T31" fmla="*/ 674454665 h 272"/>
                <a:gd name="T32" fmla="*/ 248681189 w 253"/>
                <a:gd name="T33" fmla="*/ 776903488 h 272"/>
                <a:gd name="T34" fmla="*/ 308707376 w 253"/>
                <a:gd name="T35" fmla="*/ 840935552 h 272"/>
                <a:gd name="T36" fmla="*/ 398747593 w 253"/>
                <a:gd name="T37" fmla="*/ 802516727 h 272"/>
                <a:gd name="T38" fmla="*/ 398747593 w 253"/>
                <a:gd name="T39" fmla="*/ 776903488 h 272"/>
                <a:gd name="T40" fmla="*/ 463059963 w 253"/>
                <a:gd name="T41" fmla="*/ 776903488 h 272"/>
                <a:gd name="T42" fmla="*/ 531662724 w 253"/>
                <a:gd name="T43" fmla="*/ 802516727 h 272"/>
                <a:gd name="T44" fmla="*/ 531662724 w 253"/>
                <a:gd name="T45" fmla="*/ 934845251 h 272"/>
                <a:gd name="T46" fmla="*/ 595977294 w 253"/>
                <a:gd name="T47" fmla="*/ 977532605 h 272"/>
                <a:gd name="T48" fmla="*/ 531662724 w 253"/>
                <a:gd name="T49" fmla="*/ 1003145844 h 272"/>
                <a:gd name="T50" fmla="*/ 531662724 w 253"/>
                <a:gd name="T51" fmla="*/ 1024488488 h 272"/>
                <a:gd name="T52" fmla="*/ 643140528 w 253"/>
                <a:gd name="T53" fmla="*/ 1003145844 h 272"/>
                <a:gd name="T54" fmla="*/ 810356004 w 253"/>
                <a:gd name="T55" fmla="*/ 1097057868 h 272"/>
                <a:gd name="T56" fmla="*/ 831795531 w 253"/>
                <a:gd name="T57" fmla="*/ 1024488488 h 272"/>
                <a:gd name="T58" fmla="*/ 926121997 w 253"/>
                <a:gd name="T59" fmla="*/ 1126937569 h 272"/>
                <a:gd name="T60" fmla="*/ 990436438 w 253"/>
                <a:gd name="T61" fmla="*/ 1161087865 h 272"/>
                <a:gd name="T62" fmla="*/ 990436438 w 253"/>
                <a:gd name="T63" fmla="*/ 1097057868 h 272"/>
                <a:gd name="T64" fmla="*/ 926121997 w 253"/>
                <a:gd name="T65" fmla="*/ 1097057868 h 272"/>
                <a:gd name="T66" fmla="*/ 926121997 w 253"/>
                <a:gd name="T67" fmla="*/ 840935552 h 272"/>
                <a:gd name="T68" fmla="*/ 1046174240 w 253"/>
                <a:gd name="T69" fmla="*/ 840935552 h 272"/>
                <a:gd name="T70" fmla="*/ 990436438 w 253"/>
                <a:gd name="T71" fmla="*/ 747023787 h 272"/>
                <a:gd name="T72" fmla="*/ 990436438 w 253"/>
                <a:gd name="T73" fmla="*/ 486633071 h 272"/>
                <a:gd name="T74" fmla="*/ 926121997 w 253"/>
                <a:gd name="T75" fmla="*/ 486633071 h 272"/>
                <a:gd name="T76" fmla="*/ 990436438 w 253"/>
                <a:gd name="T77" fmla="*/ 422601007 h 272"/>
                <a:gd name="T78" fmla="*/ 1016162215 w 253"/>
                <a:gd name="T79" fmla="*/ 294541012 h 272"/>
                <a:gd name="T80" fmla="*/ 1046174240 w 253"/>
                <a:gd name="T81" fmla="*/ 264659180 h 272"/>
                <a:gd name="T82" fmla="*/ 1084762905 w 253"/>
                <a:gd name="T83" fmla="*/ 200629182 h 272"/>
                <a:gd name="T84" fmla="*/ 1046174240 w 253"/>
                <a:gd name="T85" fmla="*/ 200629182 h 272"/>
                <a:gd name="T86" fmla="*/ 1046174240 w 253"/>
                <a:gd name="T87" fmla="*/ 102448855 h 272"/>
                <a:gd name="T88" fmla="*/ 1016162215 w 253"/>
                <a:gd name="T89" fmla="*/ 64030014 h 272"/>
                <a:gd name="T90" fmla="*/ 896107901 w 253"/>
                <a:gd name="T91" fmla="*/ 64030014 h 272"/>
                <a:gd name="T92" fmla="*/ 874670445 w 253"/>
                <a:gd name="T93" fmla="*/ 0 h 272"/>
                <a:gd name="T94" fmla="*/ 874670445 w 253"/>
                <a:gd name="T95" fmla="*/ 0 h 272"/>
                <a:gd name="T96" fmla="*/ 874670445 w 253"/>
                <a:gd name="T97" fmla="*/ 0 h 2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3"/>
                <a:gd name="T148" fmla="*/ 0 h 272"/>
                <a:gd name="T149" fmla="*/ 253 w 253"/>
                <a:gd name="T150" fmla="*/ 272 h 2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3" h="272">
                  <a:moveTo>
                    <a:pt x="204" y="0"/>
                  </a:moveTo>
                  <a:lnTo>
                    <a:pt x="144" y="0"/>
                  </a:lnTo>
                  <a:lnTo>
                    <a:pt x="139" y="15"/>
                  </a:lnTo>
                  <a:lnTo>
                    <a:pt x="108" y="15"/>
                  </a:lnTo>
                  <a:lnTo>
                    <a:pt x="100" y="0"/>
                  </a:lnTo>
                  <a:lnTo>
                    <a:pt x="93" y="0"/>
                  </a:lnTo>
                  <a:lnTo>
                    <a:pt x="80" y="24"/>
                  </a:lnTo>
                  <a:lnTo>
                    <a:pt x="65" y="91"/>
                  </a:lnTo>
                  <a:lnTo>
                    <a:pt x="51" y="108"/>
                  </a:lnTo>
                  <a:lnTo>
                    <a:pt x="43" y="136"/>
                  </a:lnTo>
                  <a:lnTo>
                    <a:pt x="21" y="145"/>
                  </a:lnTo>
                  <a:lnTo>
                    <a:pt x="8" y="145"/>
                  </a:lnTo>
                  <a:lnTo>
                    <a:pt x="0" y="158"/>
                  </a:lnTo>
                  <a:lnTo>
                    <a:pt x="0" y="175"/>
                  </a:lnTo>
                  <a:lnTo>
                    <a:pt x="15" y="158"/>
                  </a:lnTo>
                  <a:lnTo>
                    <a:pt x="58" y="158"/>
                  </a:lnTo>
                  <a:lnTo>
                    <a:pt x="58" y="182"/>
                  </a:lnTo>
                  <a:lnTo>
                    <a:pt x="72" y="197"/>
                  </a:lnTo>
                  <a:lnTo>
                    <a:pt x="93" y="188"/>
                  </a:lnTo>
                  <a:lnTo>
                    <a:pt x="93" y="182"/>
                  </a:lnTo>
                  <a:lnTo>
                    <a:pt x="108" y="182"/>
                  </a:lnTo>
                  <a:lnTo>
                    <a:pt x="124" y="188"/>
                  </a:lnTo>
                  <a:lnTo>
                    <a:pt x="124" y="219"/>
                  </a:lnTo>
                  <a:lnTo>
                    <a:pt x="139" y="229"/>
                  </a:lnTo>
                  <a:lnTo>
                    <a:pt x="124" y="235"/>
                  </a:lnTo>
                  <a:lnTo>
                    <a:pt x="124" y="240"/>
                  </a:lnTo>
                  <a:lnTo>
                    <a:pt x="150" y="235"/>
                  </a:lnTo>
                  <a:lnTo>
                    <a:pt x="189" y="257"/>
                  </a:lnTo>
                  <a:lnTo>
                    <a:pt x="194" y="240"/>
                  </a:lnTo>
                  <a:lnTo>
                    <a:pt x="216" y="264"/>
                  </a:lnTo>
                  <a:lnTo>
                    <a:pt x="231" y="272"/>
                  </a:lnTo>
                  <a:lnTo>
                    <a:pt x="231" y="257"/>
                  </a:lnTo>
                  <a:lnTo>
                    <a:pt x="216" y="257"/>
                  </a:lnTo>
                  <a:lnTo>
                    <a:pt x="216" y="197"/>
                  </a:lnTo>
                  <a:lnTo>
                    <a:pt x="244" y="197"/>
                  </a:lnTo>
                  <a:lnTo>
                    <a:pt x="231" y="175"/>
                  </a:lnTo>
                  <a:lnTo>
                    <a:pt x="231" y="114"/>
                  </a:lnTo>
                  <a:lnTo>
                    <a:pt x="216" y="114"/>
                  </a:lnTo>
                  <a:lnTo>
                    <a:pt x="231" y="99"/>
                  </a:lnTo>
                  <a:lnTo>
                    <a:pt x="237" y="69"/>
                  </a:lnTo>
                  <a:lnTo>
                    <a:pt x="244" y="62"/>
                  </a:lnTo>
                  <a:lnTo>
                    <a:pt x="253" y="47"/>
                  </a:lnTo>
                  <a:lnTo>
                    <a:pt x="244" y="47"/>
                  </a:lnTo>
                  <a:lnTo>
                    <a:pt x="244" y="24"/>
                  </a:lnTo>
                  <a:lnTo>
                    <a:pt x="237" y="15"/>
                  </a:lnTo>
                  <a:lnTo>
                    <a:pt x="209" y="15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5" name="S_ZWB"/>
            <p:cNvSpPr>
              <a:spLocks/>
            </p:cNvSpPr>
            <p:nvPr/>
          </p:nvSpPr>
          <p:spPr bwMode="auto">
            <a:xfrm>
              <a:off x="5318643" y="4552950"/>
              <a:ext cx="343392" cy="295275"/>
            </a:xfrm>
            <a:custGeom>
              <a:avLst/>
              <a:gdLst>
                <a:gd name="T0" fmla="*/ 122406924 w 164"/>
                <a:gd name="T1" fmla="*/ 157755312 h 143"/>
                <a:gd name="T2" fmla="*/ 275415635 w 164"/>
                <a:gd name="T3" fmla="*/ 251555673 h 143"/>
                <a:gd name="T4" fmla="*/ 306017358 w 164"/>
                <a:gd name="T5" fmla="*/ 187600788 h 143"/>
                <a:gd name="T6" fmla="*/ 402194500 w 164"/>
                <a:gd name="T7" fmla="*/ 281401214 h 143"/>
                <a:gd name="T8" fmla="*/ 467767828 w 164"/>
                <a:gd name="T9" fmla="*/ 324036428 h 143"/>
                <a:gd name="T10" fmla="*/ 467767828 w 164"/>
                <a:gd name="T11" fmla="*/ 251555673 h 143"/>
                <a:gd name="T12" fmla="*/ 402194500 w 164"/>
                <a:gd name="T13" fmla="*/ 251555673 h 143"/>
                <a:gd name="T14" fmla="*/ 402194500 w 164"/>
                <a:gd name="T15" fmla="*/ 0 h 143"/>
                <a:gd name="T16" fmla="*/ 563945100 w 164"/>
                <a:gd name="T17" fmla="*/ 0 h 143"/>
                <a:gd name="T18" fmla="*/ 686351991 w 164"/>
                <a:gd name="T19" fmla="*/ 93800394 h 143"/>
                <a:gd name="T20" fmla="*/ 716953714 w 164"/>
                <a:gd name="T21" fmla="*/ 157755312 h 143"/>
                <a:gd name="T22" fmla="*/ 686351991 w 164"/>
                <a:gd name="T23" fmla="*/ 187600788 h 143"/>
                <a:gd name="T24" fmla="*/ 686351991 w 164"/>
                <a:gd name="T25" fmla="*/ 251555673 h 143"/>
                <a:gd name="T26" fmla="*/ 655750269 w 164"/>
                <a:gd name="T27" fmla="*/ 324036428 h 143"/>
                <a:gd name="T28" fmla="*/ 686351991 w 164"/>
                <a:gd name="T29" fmla="*/ 353881903 h 143"/>
                <a:gd name="T30" fmla="*/ 493997577 w 164"/>
                <a:gd name="T31" fmla="*/ 447682265 h 143"/>
                <a:gd name="T32" fmla="*/ 493997577 w 164"/>
                <a:gd name="T33" fmla="*/ 481791675 h 143"/>
                <a:gd name="T34" fmla="*/ 402194500 w 164"/>
                <a:gd name="T35" fmla="*/ 481791675 h 143"/>
                <a:gd name="T36" fmla="*/ 402194500 w 164"/>
                <a:gd name="T37" fmla="*/ 515901085 h 143"/>
                <a:gd name="T38" fmla="*/ 306017358 w 164"/>
                <a:gd name="T39" fmla="*/ 609701576 h 143"/>
                <a:gd name="T40" fmla="*/ 187982375 w 164"/>
                <a:gd name="T41" fmla="*/ 609701576 h 143"/>
                <a:gd name="T42" fmla="*/ 122406924 w 164"/>
                <a:gd name="T43" fmla="*/ 537218692 h 143"/>
                <a:gd name="T44" fmla="*/ 91805201 w 164"/>
                <a:gd name="T45" fmla="*/ 609701576 h 143"/>
                <a:gd name="T46" fmla="*/ 0 w 164"/>
                <a:gd name="T47" fmla="*/ 515901085 h 143"/>
                <a:gd name="T48" fmla="*/ 0 w 164"/>
                <a:gd name="T49" fmla="*/ 324036428 h 143"/>
                <a:gd name="T50" fmla="*/ 153008679 w 164"/>
                <a:gd name="T51" fmla="*/ 281401214 h 143"/>
                <a:gd name="T52" fmla="*/ 122406924 w 164"/>
                <a:gd name="T53" fmla="*/ 157755312 h 143"/>
                <a:gd name="T54" fmla="*/ 122406924 w 164"/>
                <a:gd name="T55" fmla="*/ 157755312 h 143"/>
                <a:gd name="T56" fmla="*/ 122406924 w 164"/>
                <a:gd name="T57" fmla="*/ 157755312 h 14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4"/>
                <a:gd name="T88" fmla="*/ 0 h 143"/>
                <a:gd name="T89" fmla="*/ 164 w 164"/>
                <a:gd name="T90" fmla="*/ 143 h 14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4" h="143">
                  <a:moveTo>
                    <a:pt x="28" y="37"/>
                  </a:moveTo>
                  <a:lnTo>
                    <a:pt x="63" y="59"/>
                  </a:lnTo>
                  <a:lnTo>
                    <a:pt x="70" y="44"/>
                  </a:lnTo>
                  <a:lnTo>
                    <a:pt x="92" y="66"/>
                  </a:lnTo>
                  <a:lnTo>
                    <a:pt x="107" y="76"/>
                  </a:lnTo>
                  <a:lnTo>
                    <a:pt x="107" y="59"/>
                  </a:lnTo>
                  <a:lnTo>
                    <a:pt x="92" y="59"/>
                  </a:lnTo>
                  <a:lnTo>
                    <a:pt x="92" y="0"/>
                  </a:lnTo>
                  <a:lnTo>
                    <a:pt x="129" y="0"/>
                  </a:lnTo>
                  <a:lnTo>
                    <a:pt x="157" y="22"/>
                  </a:lnTo>
                  <a:lnTo>
                    <a:pt x="164" y="37"/>
                  </a:lnTo>
                  <a:lnTo>
                    <a:pt x="157" y="44"/>
                  </a:lnTo>
                  <a:lnTo>
                    <a:pt x="157" y="59"/>
                  </a:lnTo>
                  <a:lnTo>
                    <a:pt x="150" y="76"/>
                  </a:lnTo>
                  <a:lnTo>
                    <a:pt x="157" y="83"/>
                  </a:lnTo>
                  <a:lnTo>
                    <a:pt x="113" y="105"/>
                  </a:lnTo>
                  <a:lnTo>
                    <a:pt x="113" y="113"/>
                  </a:lnTo>
                  <a:lnTo>
                    <a:pt x="92" y="113"/>
                  </a:lnTo>
                  <a:lnTo>
                    <a:pt x="92" y="121"/>
                  </a:lnTo>
                  <a:lnTo>
                    <a:pt x="70" y="143"/>
                  </a:lnTo>
                  <a:lnTo>
                    <a:pt x="43" y="143"/>
                  </a:lnTo>
                  <a:lnTo>
                    <a:pt x="28" y="126"/>
                  </a:lnTo>
                  <a:lnTo>
                    <a:pt x="21" y="143"/>
                  </a:lnTo>
                  <a:lnTo>
                    <a:pt x="0" y="121"/>
                  </a:lnTo>
                  <a:lnTo>
                    <a:pt x="0" y="76"/>
                  </a:lnTo>
                  <a:lnTo>
                    <a:pt x="35" y="66"/>
                  </a:lnTo>
                  <a:lnTo>
                    <a:pt x="28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6" name="S_MAR"/>
            <p:cNvSpPr>
              <a:spLocks/>
            </p:cNvSpPr>
            <p:nvPr/>
          </p:nvSpPr>
          <p:spPr bwMode="auto">
            <a:xfrm>
              <a:off x="4339491" y="3152775"/>
              <a:ext cx="341602" cy="285750"/>
            </a:xfrm>
            <a:custGeom>
              <a:avLst/>
              <a:gdLst>
                <a:gd name="T0" fmla="*/ 644311187 w 166"/>
                <a:gd name="T1" fmla="*/ 26488601 h 136"/>
                <a:gd name="T2" fmla="*/ 674180658 w 166"/>
                <a:gd name="T3" fmla="*/ 26488601 h 136"/>
                <a:gd name="T4" fmla="*/ 708315721 w 166"/>
                <a:gd name="T5" fmla="*/ 229560167 h 136"/>
                <a:gd name="T6" fmla="*/ 550439248 w 166"/>
                <a:gd name="T7" fmla="*/ 264877590 h 136"/>
                <a:gd name="T8" fmla="*/ 550439248 w 166"/>
                <a:gd name="T9" fmla="*/ 326683672 h 136"/>
                <a:gd name="T10" fmla="*/ 460832772 w 166"/>
                <a:gd name="T11" fmla="*/ 392902003 h 136"/>
                <a:gd name="T12" fmla="*/ 302954233 w 166"/>
                <a:gd name="T13" fmla="*/ 467951265 h 136"/>
                <a:gd name="T14" fmla="*/ 273084762 w 166"/>
                <a:gd name="T15" fmla="*/ 490023342 h 136"/>
                <a:gd name="T16" fmla="*/ 273084762 w 166"/>
                <a:gd name="T17" fmla="*/ 600390159 h 136"/>
                <a:gd name="T18" fmla="*/ 0 w 166"/>
                <a:gd name="T19" fmla="*/ 556243905 h 136"/>
                <a:gd name="T20" fmla="*/ 89606379 w 166"/>
                <a:gd name="T21" fmla="*/ 556243905 h 136"/>
                <a:gd name="T22" fmla="*/ 153610945 w 166"/>
                <a:gd name="T23" fmla="*/ 467951265 h 136"/>
                <a:gd name="T24" fmla="*/ 179212759 w 166"/>
                <a:gd name="T25" fmla="*/ 392902003 h 136"/>
                <a:gd name="T26" fmla="*/ 179212759 w 166"/>
                <a:gd name="T27" fmla="*/ 326683672 h 136"/>
                <a:gd name="T28" fmla="*/ 273084762 w 166"/>
                <a:gd name="T29" fmla="*/ 163341836 h 136"/>
                <a:gd name="T30" fmla="*/ 358425518 w 166"/>
                <a:gd name="T31" fmla="*/ 97121372 h 136"/>
                <a:gd name="T32" fmla="*/ 430963301 w 166"/>
                <a:gd name="T33" fmla="*/ 0 h 136"/>
                <a:gd name="T34" fmla="*/ 460832772 w 166"/>
                <a:gd name="T35" fmla="*/ 0 h 136"/>
                <a:gd name="T36" fmla="*/ 486434585 w 166"/>
                <a:gd name="T37" fmla="*/ 26488601 h 136"/>
                <a:gd name="T38" fmla="*/ 644311187 w 166"/>
                <a:gd name="T39" fmla="*/ 26488601 h 136"/>
                <a:gd name="T40" fmla="*/ 644311187 w 166"/>
                <a:gd name="T41" fmla="*/ 26488601 h 1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6"/>
                <a:gd name="T64" fmla="*/ 0 h 136"/>
                <a:gd name="T65" fmla="*/ 166 w 166"/>
                <a:gd name="T66" fmla="*/ 136 h 1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6" h="136">
                  <a:moveTo>
                    <a:pt x="151" y="6"/>
                  </a:moveTo>
                  <a:lnTo>
                    <a:pt x="158" y="6"/>
                  </a:lnTo>
                  <a:lnTo>
                    <a:pt x="166" y="52"/>
                  </a:lnTo>
                  <a:lnTo>
                    <a:pt x="129" y="60"/>
                  </a:lnTo>
                  <a:lnTo>
                    <a:pt x="129" y="74"/>
                  </a:lnTo>
                  <a:lnTo>
                    <a:pt x="108" y="89"/>
                  </a:lnTo>
                  <a:lnTo>
                    <a:pt x="71" y="106"/>
                  </a:lnTo>
                  <a:lnTo>
                    <a:pt x="64" y="111"/>
                  </a:lnTo>
                  <a:lnTo>
                    <a:pt x="64" y="136"/>
                  </a:lnTo>
                  <a:lnTo>
                    <a:pt x="0" y="126"/>
                  </a:lnTo>
                  <a:lnTo>
                    <a:pt x="21" y="126"/>
                  </a:lnTo>
                  <a:lnTo>
                    <a:pt x="36" y="106"/>
                  </a:lnTo>
                  <a:lnTo>
                    <a:pt x="42" y="89"/>
                  </a:lnTo>
                  <a:lnTo>
                    <a:pt x="42" y="74"/>
                  </a:lnTo>
                  <a:lnTo>
                    <a:pt x="64" y="37"/>
                  </a:lnTo>
                  <a:lnTo>
                    <a:pt x="84" y="22"/>
                  </a:lnTo>
                  <a:lnTo>
                    <a:pt x="101" y="0"/>
                  </a:lnTo>
                  <a:lnTo>
                    <a:pt x="108" y="0"/>
                  </a:lnTo>
                  <a:lnTo>
                    <a:pt x="114" y="6"/>
                  </a:lnTo>
                  <a:lnTo>
                    <a:pt x="151" y="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7" name="S_ETH"/>
            <p:cNvSpPr>
              <a:spLocks/>
            </p:cNvSpPr>
            <p:nvPr/>
          </p:nvSpPr>
          <p:spPr bwMode="auto">
            <a:xfrm>
              <a:off x="5643057" y="3743325"/>
              <a:ext cx="413127" cy="447675"/>
            </a:xfrm>
            <a:custGeom>
              <a:avLst/>
              <a:gdLst>
                <a:gd name="T0" fmla="*/ 2147483647 w 199"/>
                <a:gd name="T1" fmla="*/ 2147483647 h 215"/>
                <a:gd name="T2" fmla="*/ 2147483647 w 199"/>
                <a:gd name="T3" fmla="*/ 2147483647 h 215"/>
                <a:gd name="T4" fmla="*/ 2147483647 w 199"/>
                <a:gd name="T5" fmla="*/ 2147483647 h 215"/>
                <a:gd name="T6" fmla="*/ 2147483647 w 199"/>
                <a:gd name="T7" fmla="*/ 2147483647 h 215"/>
                <a:gd name="T8" fmla="*/ 2147483647 w 199"/>
                <a:gd name="T9" fmla="*/ 2147483647 h 215"/>
                <a:gd name="T10" fmla="*/ 2147483647 w 199"/>
                <a:gd name="T11" fmla="*/ 2147483647 h 215"/>
                <a:gd name="T12" fmla="*/ 2147483647 w 199"/>
                <a:gd name="T13" fmla="*/ 2147483647 h 215"/>
                <a:gd name="T14" fmla="*/ 2147483647 w 199"/>
                <a:gd name="T15" fmla="*/ 2147483647 h 215"/>
                <a:gd name="T16" fmla="*/ 2147483647 w 199"/>
                <a:gd name="T17" fmla="*/ 2147483647 h 215"/>
                <a:gd name="T18" fmla="*/ 2147483647 w 199"/>
                <a:gd name="T19" fmla="*/ 2147483647 h 215"/>
                <a:gd name="T20" fmla="*/ 2147483647 w 199"/>
                <a:gd name="T21" fmla="*/ 2147483647 h 215"/>
                <a:gd name="T22" fmla="*/ 2147483647 w 199"/>
                <a:gd name="T23" fmla="*/ 2147483647 h 215"/>
                <a:gd name="T24" fmla="*/ 2147483647 w 199"/>
                <a:gd name="T25" fmla="*/ 2147483647 h 215"/>
                <a:gd name="T26" fmla="*/ 2147483647 w 199"/>
                <a:gd name="T27" fmla="*/ 2147483647 h 215"/>
                <a:gd name="T28" fmla="*/ 2147483647 w 199"/>
                <a:gd name="T29" fmla="*/ 2147483647 h 215"/>
                <a:gd name="T30" fmla="*/ 2147483647 w 199"/>
                <a:gd name="T31" fmla="*/ 2147483647 h 215"/>
                <a:gd name="T32" fmla="*/ 0 w 199"/>
                <a:gd name="T33" fmla="*/ 2147483647 h 215"/>
                <a:gd name="T34" fmla="*/ 2147483647 w 199"/>
                <a:gd name="T35" fmla="*/ 2147483647 h 215"/>
                <a:gd name="T36" fmla="*/ 2147483647 w 199"/>
                <a:gd name="T37" fmla="*/ 2147483647 h 215"/>
                <a:gd name="T38" fmla="*/ 2147483647 w 199"/>
                <a:gd name="T39" fmla="*/ 2147483647 h 215"/>
                <a:gd name="T40" fmla="*/ 2147483647 w 199"/>
                <a:gd name="T41" fmla="*/ 2147483647 h 215"/>
                <a:gd name="T42" fmla="*/ 2147483647 w 199"/>
                <a:gd name="T43" fmla="*/ 2147483647 h 215"/>
                <a:gd name="T44" fmla="*/ 2147483647 w 199"/>
                <a:gd name="T45" fmla="*/ 0 h 215"/>
                <a:gd name="T46" fmla="*/ 2147483647 w 199"/>
                <a:gd name="T47" fmla="*/ 2147483647 h 215"/>
                <a:gd name="T48" fmla="*/ 2147483647 w 199"/>
                <a:gd name="T49" fmla="*/ 2147483647 h 215"/>
                <a:gd name="T50" fmla="*/ 2147483647 w 199"/>
                <a:gd name="T51" fmla="*/ 2147483647 h 215"/>
                <a:gd name="T52" fmla="*/ 2147483647 w 199"/>
                <a:gd name="T53" fmla="*/ 2147483647 h 21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9"/>
                <a:gd name="T82" fmla="*/ 0 h 215"/>
                <a:gd name="T83" fmla="*/ 199 w 199"/>
                <a:gd name="T84" fmla="*/ 215 h 21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9" h="215">
                  <a:moveTo>
                    <a:pt x="127" y="86"/>
                  </a:moveTo>
                  <a:lnTo>
                    <a:pt x="120" y="86"/>
                  </a:lnTo>
                  <a:lnTo>
                    <a:pt x="120" y="114"/>
                  </a:lnTo>
                  <a:lnTo>
                    <a:pt x="127" y="114"/>
                  </a:lnTo>
                  <a:lnTo>
                    <a:pt x="127" y="123"/>
                  </a:lnTo>
                  <a:lnTo>
                    <a:pt x="142" y="140"/>
                  </a:lnTo>
                  <a:lnTo>
                    <a:pt x="199" y="146"/>
                  </a:lnTo>
                  <a:lnTo>
                    <a:pt x="162" y="192"/>
                  </a:lnTo>
                  <a:lnTo>
                    <a:pt x="137" y="192"/>
                  </a:lnTo>
                  <a:lnTo>
                    <a:pt x="120" y="215"/>
                  </a:lnTo>
                  <a:lnTo>
                    <a:pt x="99" y="208"/>
                  </a:lnTo>
                  <a:lnTo>
                    <a:pt x="80" y="215"/>
                  </a:lnTo>
                  <a:lnTo>
                    <a:pt x="35" y="208"/>
                  </a:lnTo>
                  <a:lnTo>
                    <a:pt x="35" y="187"/>
                  </a:lnTo>
                  <a:lnTo>
                    <a:pt x="28" y="187"/>
                  </a:lnTo>
                  <a:lnTo>
                    <a:pt x="8" y="161"/>
                  </a:lnTo>
                  <a:lnTo>
                    <a:pt x="0" y="146"/>
                  </a:lnTo>
                  <a:lnTo>
                    <a:pt x="8" y="140"/>
                  </a:lnTo>
                  <a:lnTo>
                    <a:pt x="15" y="114"/>
                  </a:lnTo>
                  <a:lnTo>
                    <a:pt x="43" y="69"/>
                  </a:lnTo>
                  <a:lnTo>
                    <a:pt x="50" y="15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85" y="37"/>
                  </a:lnTo>
                  <a:lnTo>
                    <a:pt x="127" y="8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8" name="S_SOM"/>
            <p:cNvSpPr>
              <a:spLocks/>
            </p:cNvSpPr>
            <p:nvPr/>
          </p:nvSpPr>
          <p:spPr bwMode="auto">
            <a:xfrm>
              <a:off x="5851814" y="3943350"/>
              <a:ext cx="295947" cy="400050"/>
            </a:xfrm>
            <a:custGeom>
              <a:avLst/>
              <a:gdLst>
                <a:gd name="T0" fmla="*/ 93800394 w 143"/>
                <a:gd name="T1" fmla="*/ 506985614 h 193"/>
                <a:gd name="T2" fmla="*/ 0 w 143"/>
                <a:gd name="T3" fmla="*/ 605806354 h 193"/>
                <a:gd name="T4" fmla="*/ 0 w 143"/>
                <a:gd name="T5" fmla="*/ 803443428 h 193"/>
                <a:gd name="T6" fmla="*/ 63954902 w 143"/>
                <a:gd name="T7" fmla="*/ 829222808 h 193"/>
                <a:gd name="T8" fmla="*/ 157755312 w 143"/>
                <a:gd name="T9" fmla="*/ 708921800 h 193"/>
                <a:gd name="T10" fmla="*/ 422100724 w 143"/>
                <a:gd name="T11" fmla="*/ 476911399 h 193"/>
                <a:gd name="T12" fmla="*/ 477527741 w 143"/>
                <a:gd name="T13" fmla="*/ 390981515 h 193"/>
                <a:gd name="T14" fmla="*/ 609701576 w 143"/>
                <a:gd name="T15" fmla="*/ 85929916 h 193"/>
                <a:gd name="T16" fmla="*/ 609701576 w 143"/>
                <a:gd name="T17" fmla="*/ 0 h 193"/>
                <a:gd name="T18" fmla="*/ 545746690 w 143"/>
                <a:gd name="T19" fmla="*/ 0 h 193"/>
                <a:gd name="T20" fmla="*/ 243027805 w 143"/>
                <a:gd name="T21" fmla="*/ 124597949 h 193"/>
                <a:gd name="T22" fmla="*/ 187600788 w 143"/>
                <a:gd name="T23" fmla="*/ 85929916 h 193"/>
                <a:gd name="T24" fmla="*/ 157755312 w 143"/>
                <a:gd name="T25" fmla="*/ 30076297 h 193"/>
                <a:gd name="T26" fmla="*/ 123645870 w 143"/>
                <a:gd name="T27" fmla="*/ 85929916 h 193"/>
                <a:gd name="T28" fmla="*/ 123645870 w 143"/>
                <a:gd name="T29" fmla="*/ 124597949 h 193"/>
                <a:gd name="T30" fmla="*/ 187600788 w 143"/>
                <a:gd name="T31" fmla="*/ 197639212 h 193"/>
                <a:gd name="T32" fmla="*/ 422100724 w 143"/>
                <a:gd name="T33" fmla="*/ 223416519 h 193"/>
                <a:gd name="T34" fmla="*/ 264345412 w 143"/>
                <a:gd name="T35" fmla="*/ 412463986 h 193"/>
                <a:gd name="T36" fmla="*/ 157755312 w 143"/>
                <a:gd name="T37" fmla="*/ 412463986 h 193"/>
                <a:gd name="T38" fmla="*/ 93800394 w 143"/>
                <a:gd name="T39" fmla="*/ 506985614 h 193"/>
                <a:gd name="T40" fmla="*/ 93800394 w 143"/>
                <a:gd name="T41" fmla="*/ 506985614 h 193"/>
                <a:gd name="T42" fmla="*/ 93800394 w 143"/>
                <a:gd name="T43" fmla="*/ 506985614 h 1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3"/>
                <a:gd name="T67" fmla="*/ 0 h 193"/>
                <a:gd name="T68" fmla="*/ 143 w 143"/>
                <a:gd name="T69" fmla="*/ 193 h 1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3" h="193">
                  <a:moveTo>
                    <a:pt x="22" y="118"/>
                  </a:moveTo>
                  <a:lnTo>
                    <a:pt x="0" y="141"/>
                  </a:lnTo>
                  <a:lnTo>
                    <a:pt x="0" y="187"/>
                  </a:lnTo>
                  <a:lnTo>
                    <a:pt x="15" y="193"/>
                  </a:lnTo>
                  <a:lnTo>
                    <a:pt x="37" y="165"/>
                  </a:lnTo>
                  <a:lnTo>
                    <a:pt x="99" y="111"/>
                  </a:lnTo>
                  <a:lnTo>
                    <a:pt x="112" y="91"/>
                  </a:lnTo>
                  <a:lnTo>
                    <a:pt x="143" y="20"/>
                  </a:lnTo>
                  <a:lnTo>
                    <a:pt x="143" y="0"/>
                  </a:lnTo>
                  <a:lnTo>
                    <a:pt x="128" y="0"/>
                  </a:lnTo>
                  <a:lnTo>
                    <a:pt x="57" y="29"/>
                  </a:lnTo>
                  <a:lnTo>
                    <a:pt x="44" y="20"/>
                  </a:lnTo>
                  <a:lnTo>
                    <a:pt x="37" y="7"/>
                  </a:lnTo>
                  <a:lnTo>
                    <a:pt x="29" y="20"/>
                  </a:lnTo>
                  <a:lnTo>
                    <a:pt x="29" y="29"/>
                  </a:lnTo>
                  <a:lnTo>
                    <a:pt x="44" y="46"/>
                  </a:lnTo>
                  <a:lnTo>
                    <a:pt x="99" y="52"/>
                  </a:lnTo>
                  <a:lnTo>
                    <a:pt x="62" y="96"/>
                  </a:lnTo>
                  <a:lnTo>
                    <a:pt x="37" y="96"/>
                  </a:lnTo>
                  <a:lnTo>
                    <a:pt x="22" y="11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9" name="S_MRT"/>
            <p:cNvSpPr>
              <a:spLocks/>
            </p:cNvSpPr>
            <p:nvPr/>
          </p:nvSpPr>
          <p:spPr bwMode="auto">
            <a:xfrm>
              <a:off x="4238426" y="3438525"/>
              <a:ext cx="338289" cy="400050"/>
            </a:xfrm>
            <a:custGeom>
              <a:avLst/>
              <a:gdLst>
                <a:gd name="T0" fmla="*/ 0 w 161"/>
                <a:gd name="T1" fmla="*/ 425592135 h 190"/>
                <a:gd name="T2" fmla="*/ 22680385 w 161"/>
                <a:gd name="T3" fmla="*/ 394558792 h 190"/>
                <a:gd name="T4" fmla="*/ 217732965 w 161"/>
                <a:gd name="T5" fmla="*/ 394558792 h 190"/>
                <a:gd name="T6" fmla="*/ 217732965 w 161"/>
                <a:gd name="T7" fmla="*/ 328059976 h 190"/>
                <a:gd name="T8" fmla="*/ 317527543 w 161"/>
                <a:gd name="T9" fmla="*/ 297026634 h 190"/>
                <a:gd name="T10" fmla="*/ 317527543 w 161"/>
                <a:gd name="T11" fmla="*/ 88665823 h 190"/>
                <a:gd name="T12" fmla="*/ 498970559 w 161"/>
                <a:gd name="T13" fmla="*/ 88665823 h 190"/>
                <a:gd name="T14" fmla="*/ 498970559 w 161"/>
                <a:gd name="T15" fmla="*/ 0 h 190"/>
                <a:gd name="T16" fmla="*/ 730313095 w 161"/>
                <a:gd name="T17" fmla="*/ 146296198 h 190"/>
                <a:gd name="T18" fmla="*/ 607838207 w 161"/>
                <a:gd name="T19" fmla="*/ 146296198 h 190"/>
                <a:gd name="T20" fmla="*/ 698559715 w 161"/>
                <a:gd name="T21" fmla="*/ 811282453 h 190"/>
                <a:gd name="T22" fmla="*/ 408249051 w 161"/>
                <a:gd name="T23" fmla="*/ 811282453 h 190"/>
                <a:gd name="T24" fmla="*/ 381032173 w 161"/>
                <a:gd name="T25" fmla="*/ 842315795 h 190"/>
                <a:gd name="T26" fmla="*/ 349280922 w 161"/>
                <a:gd name="T27" fmla="*/ 811282453 h 190"/>
                <a:gd name="T28" fmla="*/ 290310664 w 161"/>
                <a:gd name="T29" fmla="*/ 842315795 h 190"/>
                <a:gd name="T30" fmla="*/ 217732965 w 161"/>
                <a:gd name="T31" fmla="*/ 744783637 h 190"/>
                <a:gd name="T32" fmla="*/ 122474922 w 161"/>
                <a:gd name="T33" fmla="*/ 713752400 h 190"/>
                <a:gd name="T34" fmla="*/ 22680385 w 161"/>
                <a:gd name="T35" fmla="*/ 713752400 h 190"/>
                <a:gd name="T36" fmla="*/ 0 w 161"/>
                <a:gd name="T37" fmla="*/ 744783637 h 190"/>
                <a:gd name="T38" fmla="*/ 22680385 w 161"/>
                <a:gd name="T39" fmla="*/ 616220241 h 190"/>
                <a:gd name="T40" fmla="*/ 0 w 161"/>
                <a:gd name="T41" fmla="*/ 549721293 h 190"/>
                <a:gd name="T42" fmla="*/ 22680385 w 161"/>
                <a:gd name="T43" fmla="*/ 483222477 h 190"/>
                <a:gd name="T44" fmla="*/ 0 w 161"/>
                <a:gd name="T45" fmla="*/ 425592135 h 190"/>
                <a:gd name="T46" fmla="*/ 0 w 161"/>
                <a:gd name="T47" fmla="*/ 425592135 h 190"/>
                <a:gd name="T48" fmla="*/ 0 w 161"/>
                <a:gd name="T49" fmla="*/ 425592135 h 1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61"/>
                <a:gd name="T76" fmla="*/ 0 h 190"/>
                <a:gd name="T77" fmla="*/ 161 w 161"/>
                <a:gd name="T78" fmla="*/ 190 h 19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61" h="190">
                  <a:moveTo>
                    <a:pt x="0" y="96"/>
                  </a:moveTo>
                  <a:lnTo>
                    <a:pt x="5" y="89"/>
                  </a:lnTo>
                  <a:lnTo>
                    <a:pt x="48" y="89"/>
                  </a:lnTo>
                  <a:lnTo>
                    <a:pt x="48" y="74"/>
                  </a:lnTo>
                  <a:lnTo>
                    <a:pt x="70" y="67"/>
                  </a:lnTo>
                  <a:lnTo>
                    <a:pt x="70" y="20"/>
                  </a:lnTo>
                  <a:lnTo>
                    <a:pt x="110" y="20"/>
                  </a:lnTo>
                  <a:lnTo>
                    <a:pt x="110" y="0"/>
                  </a:lnTo>
                  <a:lnTo>
                    <a:pt x="161" y="33"/>
                  </a:lnTo>
                  <a:lnTo>
                    <a:pt x="134" y="33"/>
                  </a:lnTo>
                  <a:lnTo>
                    <a:pt x="154" y="183"/>
                  </a:lnTo>
                  <a:lnTo>
                    <a:pt x="90" y="183"/>
                  </a:lnTo>
                  <a:lnTo>
                    <a:pt x="84" y="190"/>
                  </a:lnTo>
                  <a:lnTo>
                    <a:pt x="77" y="183"/>
                  </a:lnTo>
                  <a:lnTo>
                    <a:pt x="64" y="190"/>
                  </a:lnTo>
                  <a:lnTo>
                    <a:pt x="48" y="168"/>
                  </a:lnTo>
                  <a:lnTo>
                    <a:pt x="27" y="161"/>
                  </a:lnTo>
                  <a:lnTo>
                    <a:pt x="5" y="161"/>
                  </a:lnTo>
                  <a:lnTo>
                    <a:pt x="0" y="168"/>
                  </a:lnTo>
                  <a:lnTo>
                    <a:pt x="5" y="139"/>
                  </a:lnTo>
                  <a:lnTo>
                    <a:pt x="0" y="124"/>
                  </a:lnTo>
                  <a:lnTo>
                    <a:pt x="5" y="109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0" name="S_ESH"/>
            <p:cNvSpPr>
              <a:spLocks/>
            </p:cNvSpPr>
            <p:nvPr/>
          </p:nvSpPr>
          <p:spPr bwMode="auto">
            <a:xfrm>
              <a:off x="4238426" y="3419475"/>
              <a:ext cx="233911" cy="219075"/>
            </a:xfrm>
            <a:custGeom>
              <a:avLst/>
              <a:gdLst>
                <a:gd name="T0" fmla="*/ 0 w 114"/>
                <a:gd name="T1" fmla="*/ 448540707 h 107"/>
                <a:gd name="T2" fmla="*/ 30542664 w 114"/>
                <a:gd name="T3" fmla="*/ 423388038 h 107"/>
                <a:gd name="T4" fmla="*/ 218158017 w 114"/>
                <a:gd name="T5" fmla="*/ 423388038 h 107"/>
                <a:gd name="T6" fmla="*/ 218158017 w 114"/>
                <a:gd name="T7" fmla="*/ 364700523 h 107"/>
                <a:gd name="T8" fmla="*/ 305420427 w 114"/>
                <a:gd name="T9" fmla="*/ 322781456 h 107"/>
                <a:gd name="T10" fmla="*/ 305420427 w 114"/>
                <a:gd name="T11" fmla="*/ 134143506 h 107"/>
                <a:gd name="T12" fmla="*/ 497399257 w 114"/>
                <a:gd name="T13" fmla="*/ 134143506 h 107"/>
                <a:gd name="T14" fmla="*/ 497399257 w 114"/>
                <a:gd name="T15" fmla="*/ 41919084 h 107"/>
                <a:gd name="T16" fmla="*/ 218158017 w 114"/>
                <a:gd name="T17" fmla="*/ 0 h 107"/>
                <a:gd name="T18" fmla="*/ 117805034 w 114"/>
                <a:gd name="T19" fmla="*/ 230559033 h 107"/>
                <a:gd name="T20" fmla="*/ 0 w 114"/>
                <a:gd name="T21" fmla="*/ 385662105 h 107"/>
                <a:gd name="T22" fmla="*/ 0 w 114"/>
                <a:gd name="T23" fmla="*/ 448540707 h 107"/>
                <a:gd name="T24" fmla="*/ 0 w 114"/>
                <a:gd name="T25" fmla="*/ 448540707 h 107"/>
                <a:gd name="T26" fmla="*/ 0 w 114"/>
                <a:gd name="T27" fmla="*/ 448540707 h 10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4"/>
                <a:gd name="T43" fmla="*/ 0 h 107"/>
                <a:gd name="T44" fmla="*/ 114 w 114"/>
                <a:gd name="T45" fmla="*/ 107 h 10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4" h="107">
                  <a:moveTo>
                    <a:pt x="0" y="107"/>
                  </a:moveTo>
                  <a:lnTo>
                    <a:pt x="7" y="101"/>
                  </a:lnTo>
                  <a:lnTo>
                    <a:pt x="50" y="101"/>
                  </a:lnTo>
                  <a:lnTo>
                    <a:pt x="50" y="87"/>
                  </a:lnTo>
                  <a:lnTo>
                    <a:pt x="70" y="77"/>
                  </a:lnTo>
                  <a:lnTo>
                    <a:pt x="70" y="32"/>
                  </a:lnTo>
                  <a:lnTo>
                    <a:pt x="114" y="32"/>
                  </a:lnTo>
                  <a:lnTo>
                    <a:pt x="114" y="10"/>
                  </a:lnTo>
                  <a:lnTo>
                    <a:pt x="50" y="0"/>
                  </a:lnTo>
                  <a:lnTo>
                    <a:pt x="27" y="55"/>
                  </a:lnTo>
                  <a:lnTo>
                    <a:pt x="0" y="92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1" name="S_SEN"/>
            <p:cNvSpPr>
              <a:spLocks/>
            </p:cNvSpPr>
            <p:nvPr/>
          </p:nvSpPr>
          <p:spPr bwMode="auto">
            <a:xfrm>
              <a:off x="4219448" y="3781425"/>
              <a:ext cx="176977" cy="142875"/>
            </a:xfrm>
            <a:custGeom>
              <a:avLst/>
              <a:gdLst>
                <a:gd name="T0" fmla="*/ 39854485 w 86"/>
                <a:gd name="T1" fmla="*/ 231529935 h 69"/>
                <a:gd name="T2" fmla="*/ 70853825 w 86"/>
                <a:gd name="T3" fmla="*/ 231529935 h 69"/>
                <a:gd name="T4" fmla="*/ 163847618 w 86"/>
                <a:gd name="T5" fmla="*/ 192941278 h 69"/>
                <a:gd name="T6" fmla="*/ 185989691 w 86"/>
                <a:gd name="T7" fmla="*/ 231529935 h 69"/>
                <a:gd name="T8" fmla="*/ 225844159 w 86"/>
                <a:gd name="T9" fmla="*/ 192941278 h 69"/>
                <a:gd name="T10" fmla="*/ 39854485 w 86"/>
                <a:gd name="T11" fmla="*/ 192941278 h 69"/>
                <a:gd name="T12" fmla="*/ 0 w 86"/>
                <a:gd name="T13" fmla="*/ 128628889 h 69"/>
                <a:gd name="T14" fmla="*/ 39854485 w 86"/>
                <a:gd name="T15" fmla="*/ 34300354 h 69"/>
                <a:gd name="T16" fmla="*/ 70853825 w 86"/>
                <a:gd name="T17" fmla="*/ 0 h 69"/>
                <a:gd name="T18" fmla="*/ 163847618 w 86"/>
                <a:gd name="T19" fmla="*/ 0 h 69"/>
                <a:gd name="T20" fmla="*/ 261271055 w 86"/>
                <a:gd name="T21" fmla="*/ 34300354 h 69"/>
                <a:gd name="T22" fmla="*/ 323267663 w 86"/>
                <a:gd name="T23" fmla="*/ 128628889 h 69"/>
                <a:gd name="T24" fmla="*/ 380836632 w 86"/>
                <a:gd name="T25" fmla="*/ 295844428 h 69"/>
                <a:gd name="T26" fmla="*/ 39854485 w 86"/>
                <a:gd name="T27" fmla="*/ 295844428 h 69"/>
                <a:gd name="T28" fmla="*/ 39854485 w 86"/>
                <a:gd name="T29" fmla="*/ 231529935 h 69"/>
                <a:gd name="T30" fmla="*/ 39854485 w 86"/>
                <a:gd name="T31" fmla="*/ 231529935 h 69"/>
                <a:gd name="T32" fmla="*/ 39854485 w 86"/>
                <a:gd name="T33" fmla="*/ 231529935 h 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6"/>
                <a:gd name="T52" fmla="*/ 0 h 69"/>
                <a:gd name="T53" fmla="*/ 86 w 86"/>
                <a:gd name="T54" fmla="*/ 69 h 6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6" h="69">
                  <a:moveTo>
                    <a:pt x="9" y="54"/>
                  </a:moveTo>
                  <a:lnTo>
                    <a:pt x="16" y="54"/>
                  </a:lnTo>
                  <a:lnTo>
                    <a:pt x="37" y="45"/>
                  </a:lnTo>
                  <a:lnTo>
                    <a:pt x="42" y="54"/>
                  </a:lnTo>
                  <a:lnTo>
                    <a:pt x="51" y="45"/>
                  </a:lnTo>
                  <a:lnTo>
                    <a:pt x="9" y="45"/>
                  </a:lnTo>
                  <a:lnTo>
                    <a:pt x="0" y="30"/>
                  </a:lnTo>
                  <a:lnTo>
                    <a:pt x="9" y="8"/>
                  </a:lnTo>
                  <a:lnTo>
                    <a:pt x="16" y="0"/>
                  </a:lnTo>
                  <a:lnTo>
                    <a:pt x="37" y="0"/>
                  </a:lnTo>
                  <a:lnTo>
                    <a:pt x="59" y="8"/>
                  </a:lnTo>
                  <a:lnTo>
                    <a:pt x="73" y="30"/>
                  </a:lnTo>
                  <a:lnTo>
                    <a:pt x="86" y="69"/>
                  </a:lnTo>
                  <a:lnTo>
                    <a:pt x="9" y="69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2" name="S_GMB"/>
            <p:cNvSpPr>
              <a:spLocks/>
            </p:cNvSpPr>
            <p:nvPr/>
          </p:nvSpPr>
          <p:spPr bwMode="auto">
            <a:xfrm>
              <a:off x="4238426" y="3876675"/>
              <a:ext cx="82088" cy="57150"/>
            </a:xfrm>
            <a:custGeom>
              <a:avLst/>
              <a:gdLst>
                <a:gd name="T0" fmla="*/ 0 w 42"/>
                <a:gd name="T1" fmla="*/ 130644896 h 25"/>
                <a:gd name="T2" fmla="*/ 29160785 w 42"/>
                <a:gd name="T3" fmla="*/ 130644896 h 25"/>
                <a:gd name="T4" fmla="*/ 116647222 w 42"/>
                <a:gd name="T5" fmla="*/ 0 h 25"/>
                <a:gd name="T6" fmla="*/ 137476380 w 42"/>
                <a:gd name="T7" fmla="*/ 130644896 h 25"/>
                <a:gd name="T8" fmla="*/ 174970848 w 42"/>
                <a:gd name="T9" fmla="*/ 0 h 25"/>
                <a:gd name="T10" fmla="*/ 0 w 42"/>
                <a:gd name="T11" fmla="*/ 0 h 25"/>
                <a:gd name="T12" fmla="*/ 0 w 42"/>
                <a:gd name="T13" fmla="*/ 130644896 h 25"/>
                <a:gd name="T14" fmla="*/ 0 w 42"/>
                <a:gd name="T15" fmla="*/ 130644896 h 25"/>
                <a:gd name="T16" fmla="*/ 0 w 42"/>
                <a:gd name="T17" fmla="*/ 130644896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25"/>
                <a:gd name="T29" fmla="*/ 42 w 42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25">
                  <a:moveTo>
                    <a:pt x="0" y="25"/>
                  </a:moveTo>
                  <a:lnTo>
                    <a:pt x="7" y="25"/>
                  </a:lnTo>
                  <a:lnTo>
                    <a:pt x="28" y="0"/>
                  </a:lnTo>
                  <a:lnTo>
                    <a:pt x="33" y="25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3" name="S_GNB"/>
            <p:cNvSpPr>
              <a:spLocks/>
            </p:cNvSpPr>
            <p:nvPr/>
          </p:nvSpPr>
          <p:spPr bwMode="auto">
            <a:xfrm>
              <a:off x="4238426" y="3924300"/>
              <a:ext cx="82088" cy="57150"/>
            </a:xfrm>
            <a:custGeom>
              <a:avLst/>
              <a:gdLst>
                <a:gd name="T0" fmla="*/ 116647222 w 42"/>
                <a:gd name="T1" fmla="*/ 108870752 h 30"/>
                <a:gd name="T2" fmla="*/ 174970848 w 42"/>
                <a:gd name="T3" fmla="*/ 29032200 h 30"/>
                <a:gd name="T4" fmla="*/ 174970848 w 42"/>
                <a:gd name="T5" fmla="*/ 0 h 30"/>
                <a:gd name="T6" fmla="*/ 0 w 42"/>
                <a:gd name="T7" fmla="*/ 0 h 30"/>
                <a:gd name="T8" fmla="*/ 83318578 w 42"/>
                <a:gd name="T9" fmla="*/ 29032200 h 30"/>
                <a:gd name="T10" fmla="*/ 83318578 w 42"/>
                <a:gd name="T11" fmla="*/ 61693424 h 30"/>
                <a:gd name="T12" fmla="*/ 116647222 w 42"/>
                <a:gd name="T13" fmla="*/ 108870752 h 30"/>
                <a:gd name="T14" fmla="*/ 116647222 w 42"/>
                <a:gd name="T15" fmla="*/ 108870752 h 30"/>
                <a:gd name="T16" fmla="*/ 116647222 w 42"/>
                <a:gd name="T17" fmla="*/ 10887075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30"/>
                <a:gd name="T29" fmla="*/ 42 w 42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30">
                  <a:moveTo>
                    <a:pt x="28" y="30"/>
                  </a:moveTo>
                  <a:lnTo>
                    <a:pt x="42" y="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20" y="8"/>
                  </a:lnTo>
                  <a:lnTo>
                    <a:pt x="20" y="17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4" name="S_GIN"/>
            <p:cNvSpPr>
              <a:spLocks/>
            </p:cNvSpPr>
            <p:nvPr/>
          </p:nvSpPr>
          <p:spPr bwMode="auto">
            <a:xfrm>
              <a:off x="4292047" y="3924300"/>
              <a:ext cx="189779" cy="152400"/>
            </a:xfrm>
            <a:custGeom>
              <a:avLst/>
              <a:gdLst>
                <a:gd name="T0" fmla="*/ 364445144 w 92"/>
                <a:gd name="T1" fmla="*/ 322579996 h 72"/>
                <a:gd name="T2" fmla="*/ 394459238 w 92"/>
                <a:gd name="T3" fmla="*/ 322579996 h 72"/>
                <a:gd name="T4" fmla="*/ 394459238 w 92"/>
                <a:gd name="T5" fmla="*/ 156809016 h 72"/>
                <a:gd name="T6" fmla="*/ 334433122 w 92"/>
                <a:gd name="T7" fmla="*/ 0 h 72"/>
                <a:gd name="T8" fmla="*/ 248681167 w 92"/>
                <a:gd name="T9" fmla="*/ 35841518 h 72"/>
                <a:gd name="T10" fmla="*/ 184366732 w 92"/>
                <a:gd name="T11" fmla="*/ 35841518 h 72"/>
                <a:gd name="T12" fmla="*/ 205804187 w 92"/>
                <a:gd name="T13" fmla="*/ 0 h 72"/>
                <a:gd name="T14" fmla="*/ 64314451 w 92"/>
                <a:gd name="T15" fmla="*/ 0 h 72"/>
                <a:gd name="T16" fmla="*/ 64314451 w 92"/>
                <a:gd name="T17" fmla="*/ 35841518 h 72"/>
                <a:gd name="T18" fmla="*/ 0 w 92"/>
                <a:gd name="T19" fmla="*/ 125448463 h 72"/>
                <a:gd name="T20" fmla="*/ 90040242 w 92"/>
                <a:gd name="T21" fmla="*/ 192652634 h 72"/>
                <a:gd name="T22" fmla="*/ 158640958 w 92"/>
                <a:gd name="T23" fmla="*/ 156809016 h 72"/>
                <a:gd name="T24" fmla="*/ 184366732 w 92"/>
                <a:gd name="T25" fmla="*/ 156809016 h 72"/>
                <a:gd name="T26" fmla="*/ 248681167 w 92"/>
                <a:gd name="T27" fmla="*/ 232975117 h 72"/>
                <a:gd name="T28" fmla="*/ 248681167 w 92"/>
                <a:gd name="T29" fmla="*/ 264335637 h 72"/>
                <a:gd name="T30" fmla="*/ 270118622 w 92"/>
                <a:gd name="T31" fmla="*/ 232975117 h 72"/>
                <a:gd name="T32" fmla="*/ 334433122 w 92"/>
                <a:gd name="T33" fmla="*/ 322579996 h 72"/>
                <a:gd name="T34" fmla="*/ 364445144 w 92"/>
                <a:gd name="T35" fmla="*/ 322579996 h 72"/>
                <a:gd name="T36" fmla="*/ 364445144 w 92"/>
                <a:gd name="T37" fmla="*/ 322579996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2"/>
                <a:gd name="T58" fmla="*/ 0 h 72"/>
                <a:gd name="T59" fmla="*/ 92 w 92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2" h="72">
                  <a:moveTo>
                    <a:pt x="85" y="72"/>
                  </a:moveTo>
                  <a:lnTo>
                    <a:pt x="92" y="72"/>
                  </a:lnTo>
                  <a:lnTo>
                    <a:pt x="92" y="35"/>
                  </a:lnTo>
                  <a:lnTo>
                    <a:pt x="78" y="0"/>
                  </a:lnTo>
                  <a:lnTo>
                    <a:pt x="58" y="8"/>
                  </a:lnTo>
                  <a:lnTo>
                    <a:pt x="43" y="8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15" y="8"/>
                  </a:lnTo>
                  <a:lnTo>
                    <a:pt x="0" y="28"/>
                  </a:lnTo>
                  <a:lnTo>
                    <a:pt x="21" y="43"/>
                  </a:lnTo>
                  <a:lnTo>
                    <a:pt x="37" y="35"/>
                  </a:lnTo>
                  <a:lnTo>
                    <a:pt x="43" y="35"/>
                  </a:lnTo>
                  <a:lnTo>
                    <a:pt x="58" y="52"/>
                  </a:lnTo>
                  <a:lnTo>
                    <a:pt x="58" y="59"/>
                  </a:lnTo>
                  <a:lnTo>
                    <a:pt x="63" y="52"/>
                  </a:lnTo>
                  <a:lnTo>
                    <a:pt x="78" y="72"/>
                  </a:lnTo>
                  <a:lnTo>
                    <a:pt x="85" y="7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5" name="S_SLE"/>
            <p:cNvSpPr>
              <a:spLocks/>
            </p:cNvSpPr>
            <p:nvPr/>
          </p:nvSpPr>
          <p:spPr bwMode="auto">
            <a:xfrm>
              <a:off x="4330002" y="3990975"/>
              <a:ext cx="75912" cy="104775"/>
            </a:xfrm>
            <a:custGeom>
              <a:avLst/>
              <a:gdLst>
                <a:gd name="T0" fmla="*/ 0 w 37"/>
                <a:gd name="T1" fmla="*/ 39756544 h 47"/>
                <a:gd name="T2" fmla="*/ 63620811 w 37"/>
                <a:gd name="T3" fmla="*/ 0 h 47"/>
                <a:gd name="T4" fmla="*/ 93309983 w 37"/>
                <a:gd name="T5" fmla="*/ 0 h 47"/>
                <a:gd name="T6" fmla="*/ 156930810 w 37"/>
                <a:gd name="T7" fmla="*/ 84482096 h 47"/>
                <a:gd name="T8" fmla="*/ 156930810 w 37"/>
                <a:gd name="T9" fmla="*/ 124238623 h 47"/>
                <a:gd name="T10" fmla="*/ 93309983 w 37"/>
                <a:gd name="T11" fmla="*/ 233570220 h 47"/>
                <a:gd name="T12" fmla="*/ 63620811 w 37"/>
                <a:gd name="T13" fmla="*/ 193813693 h 47"/>
                <a:gd name="T14" fmla="*/ 0 w 37"/>
                <a:gd name="T15" fmla="*/ 193813693 h 47"/>
                <a:gd name="T16" fmla="*/ 0 w 37"/>
                <a:gd name="T17" fmla="*/ 39756544 h 47"/>
                <a:gd name="T18" fmla="*/ 0 w 37"/>
                <a:gd name="T19" fmla="*/ 39756544 h 47"/>
                <a:gd name="T20" fmla="*/ 0 w 37"/>
                <a:gd name="T21" fmla="*/ 39756544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"/>
                <a:gd name="T34" fmla="*/ 0 h 47"/>
                <a:gd name="T35" fmla="*/ 37 w 37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" h="47">
                  <a:moveTo>
                    <a:pt x="0" y="8"/>
                  </a:moveTo>
                  <a:lnTo>
                    <a:pt x="15" y="0"/>
                  </a:lnTo>
                  <a:lnTo>
                    <a:pt x="22" y="0"/>
                  </a:lnTo>
                  <a:lnTo>
                    <a:pt x="37" y="17"/>
                  </a:lnTo>
                  <a:lnTo>
                    <a:pt x="37" y="25"/>
                  </a:lnTo>
                  <a:lnTo>
                    <a:pt x="22" y="47"/>
                  </a:lnTo>
                  <a:lnTo>
                    <a:pt x="15" y="39"/>
                  </a:lnTo>
                  <a:lnTo>
                    <a:pt x="0" y="39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6" name="S_LBR"/>
            <p:cNvSpPr>
              <a:spLocks/>
            </p:cNvSpPr>
            <p:nvPr/>
          </p:nvSpPr>
          <p:spPr bwMode="auto">
            <a:xfrm>
              <a:off x="4377447" y="4029075"/>
              <a:ext cx="123356" cy="142875"/>
            </a:xfrm>
            <a:custGeom>
              <a:avLst/>
              <a:gdLst>
                <a:gd name="T0" fmla="*/ 264355698 w 58"/>
                <a:gd name="T1" fmla="*/ 304675601 h 67"/>
                <a:gd name="T2" fmla="*/ 264355698 w 58"/>
                <a:gd name="T3" fmla="*/ 213728175 h 67"/>
                <a:gd name="T4" fmla="*/ 195987236 w 58"/>
                <a:gd name="T5" fmla="*/ 177348378 h 67"/>
                <a:gd name="T6" fmla="*/ 195987236 w 58"/>
                <a:gd name="T7" fmla="*/ 100042342 h 67"/>
                <a:gd name="T8" fmla="*/ 159525053 w 58"/>
                <a:gd name="T9" fmla="*/ 100042342 h 67"/>
                <a:gd name="T10" fmla="*/ 95714598 w 58"/>
                <a:gd name="T11" fmla="*/ 0 h 67"/>
                <a:gd name="T12" fmla="*/ 0 w 58"/>
                <a:gd name="T13" fmla="*/ 136422139 h 67"/>
                <a:gd name="T14" fmla="*/ 195987236 w 58"/>
                <a:gd name="T15" fmla="*/ 304675601 h 67"/>
                <a:gd name="T16" fmla="*/ 264355698 w 58"/>
                <a:gd name="T17" fmla="*/ 304675601 h 67"/>
                <a:gd name="T18" fmla="*/ 264355698 w 58"/>
                <a:gd name="T19" fmla="*/ 304675601 h 6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67"/>
                <a:gd name="T32" fmla="*/ 58 w 58"/>
                <a:gd name="T33" fmla="*/ 67 h 6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67">
                  <a:moveTo>
                    <a:pt x="58" y="67"/>
                  </a:moveTo>
                  <a:lnTo>
                    <a:pt x="58" y="47"/>
                  </a:lnTo>
                  <a:lnTo>
                    <a:pt x="43" y="39"/>
                  </a:lnTo>
                  <a:lnTo>
                    <a:pt x="43" y="22"/>
                  </a:lnTo>
                  <a:lnTo>
                    <a:pt x="35" y="22"/>
                  </a:lnTo>
                  <a:lnTo>
                    <a:pt x="21" y="0"/>
                  </a:lnTo>
                  <a:lnTo>
                    <a:pt x="0" y="30"/>
                  </a:lnTo>
                  <a:lnTo>
                    <a:pt x="43" y="67"/>
                  </a:lnTo>
                  <a:lnTo>
                    <a:pt x="58" y="6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7" name="S_BFA"/>
            <p:cNvSpPr>
              <a:spLocks/>
            </p:cNvSpPr>
            <p:nvPr/>
          </p:nvSpPr>
          <p:spPr bwMode="auto">
            <a:xfrm>
              <a:off x="4557737" y="3848100"/>
              <a:ext cx="208757" cy="161925"/>
            </a:xfrm>
            <a:custGeom>
              <a:avLst/>
              <a:gdLst>
                <a:gd name="T0" fmla="*/ 0 w 99"/>
                <a:gd name="T1" fmla="*/ 266293784 h 80"/>
                <a:gd name="T2" fmla="*/ 94085837 w 99"/>
                <a:gd name="T3" fmla="*/ 90129476 h 80"/>
                <a:gd name="T4" fmla="*/ 179211828 w 99"/>
                <a:gd name="T5" fmla="*/ 69645972 h 80"/>
                <a:gd name="T6" fmla="*/ 255375821 w 99"/>
                <a:gd name="T7" fmla="*/ 0 h 80"/>
                <a:gd name="T8" fmla="*/ 344980709 w 99"/>
                <a:gd name="T9" fmla="*/ 0 h 80"/>
                <a:gd name="T10" fmla="*/ 344980709 w 99"/>
                <a:gd name="T11" fmla="*/ 69645972 h 80"/>
                <a:gd name="T12" fmla="*/ 403225008 w 99"/>
                <a:gd name="T13" fmla="*/ 155678747 h 80"/>
                <a:gd name="T14" fmla="*/ 443547496 w 99"/>
                <a:gd name="T15" fmla="*/ 155678747 h 80"/>
                <a:gd name="T16" fmla="*/ 443547496 w 99"/>
                <a:gd name="T17" fmla="*/ 184357678 h 80"/>
                <a:gd name="T18" fmla="*/ 371862368 w 99"/>
                <a:gd name="T19" fmla="*/ 213034584 h 80"/>
                <a:gd name="T20" fmla="*/ 156809034 w 99"/>
                <a:gd name="T21" fmla="*/ 213034584 h 80"/>
                <a:gd name="T22" fmla="*/ 156809034 w 99"/>
                <a:gd name="T23" fmla="*/ 327746322 h 80"/>
                <a:gd name="T24" fmla="*/ 94085837 w 99"/>
                <a:gd name="T25" fmla="*/ 303166116 h 80"/>
                <a:gd name="T26" fmla="*/ 22400685 w 99"/>
                <a:gd name="T27" fmla="*/ 303166116 h 80"/>
                <a:gd name="T28" fmla="*/ 0 w 99"/>
                <a:gd name="T29" fmla="*/ 266293784 h 80"/>
                <a:gd name="T30" fmla="*/ 0 w 99"/>
                <a:gd name="T31" fmla="*/ 266293784 h 80"/>
                <a:gd name="T32" fmla="*/ 0 w 99"/>
                <a:gd name="T33" fmla="*/ 266293784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9"/>
                <a:gd name="T52" fmla="*/ 0 h 80"/>
                <a:gd name="T53" fmla="*/ 99 w 99"/>
                <a:gd name="T54" fmla="*/ 80 h 8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9" h="80">
                  <a:moveTo>
                    <a:pt x="0" y="65"/>
                  </a:moveTo>
                  <a:lnTo>
                    <a:pt x="21" y="22"/>
                  </a:lnTo>
                  <a:lnTo>
                    <a:pt x="40" y="17"/>
                  </a:lnTo>
                  <a:lnTo>
                    <a:pt x="57" y="0"/>
                  </a:lnTo>
                  <a:lnTo>
                    <a:pt x="77" y="0"/>
                  </a:lnTo>
                  <a:lnTo>
                    <a:pt x="77" y="17"/>
                  </a:lnTo>
                  <a:lnTo>
                    <a:pt x="90" y="38"/>
                  </a:lnTo>
                  <a:lnTo>
                    <a:pt x="99" y="38"/>
                  </a:lnTo>
                  <a:lnTo>
                    <a:pt x="99" y="45"/>
                  </a:lnTo>
                  <a:lnTo>
                    <a:pt x="83" y="52"/>
                  </a:lnTo>
                  <a:lnTo>
                    <a:pt x="35" y="52"/>
                  </a:lnTo>
                  <a:lnTo>
                    <a:pt x="35" y="80"/>
                  </a:lnTo>
                  <a:lnTo>
                    <a:pt x="21" y="74"/>
                  </a:lnTo>
                  <a:lnTo>
                    <a:pt x="5" y="74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8" name="S_TGO"/>
            <p:cNvSpPr>
              <a:spLocks/>
            </p:cNvSpPr>
            <p:nvPr/>
          </p:nvSpPr>
          <p:spPr bwMode="auto">
            <a:xfrm>
              <a:off x="4690583" y="3962400"/>
              <a:ext cx="56934" cy="152400"/>
            </a:xfrm>
            <a:custGeom>
              <a:avLst/>
              <a:gdLst>
                <a:gd name="T0" fmla="*/ 98566822 w 27"/>
                <a:gd name="T1" fmla="*/ 0 h 75"/>
                <a:gd name="T2" fmla="*/ 0 w 27"/>
                <a:gd name="T3" fmla="*/ 0 h 75"/>
                <a:gd name="T4" fmla="*/ 98566822 w 27"/>
                <a:gd name="T5" fmla="*/ 276644622 h 75"/>
                <a:gd name="T6" fmla="*/ 98566822 w 27"/>
                <a:gd name="T7" fmla="*/ 309676801 h 75"/>
                <a:gd name="T8" fmla="*/ 120967499 w 27"/>
                <a:gd name="T9" fmla="*/ 309676801 h 75"/>
                <a:gd name="T10" fmla="*/ 120967499 w 27"/>
                <a:gd name="T11" fmla="*/ 86709500 h 75"/>
                <a:gd name="T12" fmla="*/ 98566822 w 27"/>
                <a:gd name="T13" fmla="*/ 53677306 h 75"/>
                <a:gd name="T14" fmla="*/ 98566822 w 27"/>
                <a:gd name="T15" fmla="*/ 0 h 75"/>
                <a:gd name="T16" fmla="*/ 98566822 w 27"/>
                <a:gd name="T17" fmla="*/ 0 h 75"/>
                <a:gd name="T18" fmla="*/ 98566822 w 27"/>
                <a:gd name="T19" fmla="*/ 0 h 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5"/>
                <a:gd name="T32" fmla="*/ 27 w 27"/>
                <a:gd name="T33" fmla="*/ 75 h 7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5">
                  <a:moveTo>
                    <a:pt x="22" y="0"/>
                  </a:moveTo>
                  <a:lnTo>
                    <a:pt x="0" y="0"/>
                  </a:lnTo>
                  <a:lnTo>
                    <a:pt x="22" y="67"/>
                  </a:lnTo>
                  <a:lnTo>
                    <a:pt x="22" y="75"/>
                  </a:lnTo>
                  <a:lnTo>
                    <a:pt x="27" y="75"/>
                  </a:lnTo>
                  <a:lnTo>
                    <a:pt x="27" y="21"/>
                  </a:lnTo>
                  <a:lnTo>
                    <a:pt x="22" y="1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9" name="S_BEN"/>
            <p:cNvSpPr>
              <a:spLocks/>
            </p:cNvSpPr>
            <p:nvPr/>
          </p:nvSpPr>
          <p:spPr bwMode="auto">
            <a:xfrm>
              <a:off x="4728538" y="3924300"/>
              <a:ext cx="90503" cy="190500"/>
            </a:xfrm>
            <a:custGeom>
              <a:avLst/>
              <a:gdLst>
                <a:gd name="T0" fmla="*/ 85887183 w 37"/>
                <a:gd name="T1" fmla="*/ 42876997 h 92"/>
                <a:gd name="T2" fmla="*/ 0 w 37"/>
                <a:gd name="T3" fmla="*/ 72889035 h 92"/>
                <a:gd name="T4" fmla="*/ 0 w 37"/>
                <a:gd name="T5" fmla="*/ 128628903 h 92"/>
                <a:gd name="T6" fmla="*/ 48311828 w 37"/>
                <a:gd name="T7" fmla="*/ 162929277 h 92"/>
                <a:gd name="T8" fmla="*/ 48311828 w 37"/>
                <a:gd name="T9" fmla="*/ 394459238 h 92"/>
                <a:gd name="T10" fmla="*/ 128830757 w 37"/>
                <a:gd name="T11" fmla="*/ 394459238 h 92"/>
                <a:gd name="T12" fmla="*/ 128830757 w 37"/>
                <a:gd name="T13" fmla="*/ 265830303 h 92"/>
                <a:gd name="T14" fmla="*/ 198615548 w 37"/>
                <a:gd name="T15" fmla="*/ 128628903 h 92"/>
                <a:gd name="T16" fmla="*/ 198615548 w 37"/>
                <a:gd name="T17" fmla="*/ 42876997 h 92"/>
                <a:gd name="T18" fmla="*/ 128830757 w 37"/>
                <a:gd name="T19" fmla="*/ 0 h 92"/>
                <a:gd name="T20" fmla="*/ 85887183 w 37"/>
                <a:gd name="T21" fmla="*/ 0 h 92"/>
                <a:gd name="T22" fmla="*/ 85887183 w 37"/>
                <a:gd name="T23" fmla="*/ 42876997 h 92"/>
                <a:gd name="T24" fmla="*/ 85887183 w 37"/>
                <a:gd name="T25" fmla="*/ 42876997 h 92"/>
                <a:gd name="T26" fmla="*/ 85887183 w 37"/>
                <a:gd name="T27" fmla="*/ 42876997 h 9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7"/>
                <a:gd name="T43" fmla="*/ 0 h 92"/>
                <a:gd name="T44" fmla="*/ 37 w 37"/>
                <a:gd name="T45" fmla="*/ 92 h 9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7" h="92">
                  <a:moveTo>
                    <a:pt x="16" y="10"/>
                  </a:moveTo>
                  <a:lnTo>
                    <a:pt x="0" y="17"/>
                  </a:lnTo>
                  <a:lnTo>
                    <a:pt x="0" y="30"/>
                  </a:lnTo>
                  <a:lnTo>
                    <a:pt x="9" y="38"/>
                  </a:lnTo>
                  <a:lnTo>
                    <a:pt x="9" y="92"/>
                  </a:lnTo>
                  <a:lnTo>
                    <a:pt x="24" y="92"/>
                  </a:lnTo>
                  <a:lnTo>
                    <a:pt x="24" y="62"/>
                  </a:lnTo>
                  <a:lnTo>
                    <a:pt x="37" y="30"/>
                  </a:lnTo>
                  <a:lnTo>
                    <a:pt x="37" y="1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1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0" name="S_GNQ"/>
            <p:cNvSpPr>
              <a:spLocks/>
            </p:cNvSpPr>
            <p:nvPr/>
          </p:nvSpPr>
          <p:spPr bwMode="auto">
            <a:xfrm>
              <a:off x="4977040" y="4238625"/>
              <a:ext cx="47445" cy="47625"/>
            </a:xfrm>
            <a:custGeom>
              <a:avLst/>
              <a:gdLst>
                <a:gd name="T0" fmla="*/ 113407025 w 20"/>
                <a:gd name="T1" fmla="*/ 0 h 27"/>
                <a:gd name="T2" fmla="*/ 113407025 w 20"/>
                <a:gd name="T3" fmla="*/ 84005212 h 27"/>
                <a:gd name="T4" fmla="*/ 0 w 20"/>
                <a:gd name="T5" fmla="*/ 84005212 h 27"/>
                <a:gd name="T6" fmla="*/ 45362814 w 20"/>
                <a:gd name="T7" fmla="*/ 0 h 27"/>
                <a:gd name="T8" fmla="*/ 113407025 w 20"/>
                <a:gd name="T9" fmla="*/ 0 h 27"/>
                <a:gd name="T10" fmla="*/ 113407025 w 20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7"/>
                <a:gd name="T20" fmla="*/ 20 w 20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7">
                  <a:moveTo>
                    <a:pt x="20" y="0"/>
                  </a:moveTo>
                  <a:lnTo>
                    <a:pt x="20" y="27"/>
                  </a:lnTo>
                  <a:lnTo>
                    <a:pt x="0" y="27"/>
                  </a:lnTo>
                  <a:lnTo>
                    <a:pt x="8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1" name="S_COG"/>
            <p:cNvSpPr>
              <a:spLocks/>
            </p:cNvSpPr>
            <p:nvPr/>
          </p:nvSpPr>
          <p:spPr bwMode="auto">
            <a:xfrm>
              <a:off x="5014996" y="4191000"/>
              <a:ext cx="218246" cy="266700"/>
            </a:xfrm>
            <a:custGeom>
              <a:avLst/>
              <a:gdLst>
                <a:gd name="T0" fmla="*/ 343815911 w 103"/>
                <a:gd name="T1" fmla="*/ 39071548 h 128"/>
                <a:gd name="T2" fmla="*/ 343815911 w 103"/>
                <a:gd name="T3" fmla="*/ 130241249 h 128"/>
                <a:gd name="T4" fmla="*/ 140239929 w 103"/>
                <a:gd name="T5" fmla="*/ 95509841 h 128"/>
                <a:gd name="T6" fmla="*/ 140239929 w 103"/>
                <a:gd name="T7" fmla="*/ 169312813 h 128"/>
                <a:gd name="T8" fmla="*/ 176431959 w 103"/>
                <a:gd name="T9" fmla="*/ 130241249 h 128"/>
                <a:gd name="T10" fmla="*/ 199049851 w 103"/>
                <a:gd name="T11" fmla="*/ 169312813 h 128"/>
                <a:gd name="T12" fmla="*/ 199049851 w 103"/>
                <a:gd name="T13" fmla="*/ 360332494 h 128"/>
                <a:gd name="T14" fmla="*/ 108573996 w 103"/>
                <a:gd name="T15" fmla="*/ 360332494 h 128"/>
                <a:gd name="T16" fmla="*/ 49761931 w 103"/>
                <a:gd name="T17" fmla="*/ 395063902 h 128"/>
                <a:gd name="T18" fmla="*/ 49761931 w 103"/>
                <a:gd name="T19" fmla="*/ 416770771 h 128"/>
                <a:gd name="T20" fmla="*/ 0 w 103"/>
                <a:gd name="T21" fmla="*/ 416770771 h 128"/>
                <a:gd name="T22" fmla="*/ 0 w 103"/>
                <a:gd name="T23" fmla="*/ 490573710 h 128"/>
                <a:gd name="T24" fmla="*/ 108573996 w 103"/>
                <a:gd name="T25" fmla="*/ 555694449 h 128"/>
                <a:gd name="T26" fmla="*/ 108573996 w 103"/>
                <a:gd name="T27" fmla="*/ 520962911 h 128"/>
                <a:gd name="T28" fmla="*/ 199049851 w 103"/>
                <a:gd name="T29" fmla="*/ 520962911 h 128"/>
                <a:gd name="T30" fmla="*/ 298575873 w 103"/>
                <a:gd name="T31" fmla="*/ 490573710 h 128"/>
                <a:gd name="T32" fmla="*/ 343815911 w 103"/>
                <a:gd name="T33" fmla="*/ 360332494 h 128"/>
                <a:gd name="T34" fmla="*/ 402625833 w 103"/>
                <a:gd name="T35" fmla="*/ 290871763 h 128"/>
                <a:gd name="T36" fmla="*/ 465959758 w 103"/>
                <a:gd name="T37" fmla="*/ 0 h 128"/>
                <a:gd name="T38" fmla="*/ 366433803 w 103"/>
                <a:gd name="T39" fmla="*/ 39071548 h 128"/>
                <a:gd name="T40" fmla="*/ 343815911 w 103"/>
                <a:gd name="T41" fmla="*/ 39071548 h 128"/>
                <a:gd name="T42" fmla="*/ 343815911 w 103"/>
                <a:gd name="T43" fmla="*/ 39071548 h 128"/>
                <a:gd name="T44" fmla="*/ 343815911 w 103"/>
                <a:gd name="T45" fmla="*/ 39071548 h 1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3"/>
                <a:gd name="T70" fmla="*/ 0 h 128"/>
                <a:gd name="T71" fmla="*/ 103 w 103"/>
                <a:gd name="T72" fmla="*/ 128 h 1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3" h="128">
                  <a:moveTo>
                    <a:pt x="76" y="9"/>
                  </a:moveTo>
                  <a:lnTo>
                    <a:pt x="76" y="30"/>
                  </a:lnTo>
                  <a:lnTo>
                    <a:pt x="31" y="22"/>
                  </a:lnTo>
                  <a:lnTo>
                    <a:pt x="31" y="39"/>
                  </a:lnTo>
                  <a:lnTo>
                    <a:pt x="39" y="30"/>
                  </a:lnTo>
                  <a:lnTo>
                    <a:pt x="44" y="39"/>
                  </a:lnTo>
                  <a:lnTo>
                    <a:pt x="44" y="83"/>
                  </a:lnTo>
                  <a:lnTo>
                    <a:pt x="24" y="83"/>
                  </a:lnTo>
                  <a:lnTo>
                    <a:pt x="11" y="91"/>
                  </a:lnTo>
                  <a:lnTo>
                    <a:pt x="11" y="96"/>
                  </a:lnTo>
                  <a:lnTo>
                    <a:pt x="0" y="96"/>
                  </a:lnTo>
                  <a:lnTo>
                    <a:pt x="0" y="113"/>
                  </a:lnTo>
                  <a:lnTo>
                    <a:pt x="24" y="128"/>
                  </a:lnTo>
                  <a:lnTo>
                    <a:pt x="24" y="120"/>
                  </a:lnTo>
                  <a:lnTo>
                    <a:pt x="44" y="120"/>
                  </a:lnTo>
                  <a:lnTo>
                    <a:pt x="66" y="113"/>
                  </a:lnTo>
                  <a:lnTo>
                    <a:pt x="76" y="83"/>
                  </a:lnTo>
                  <a:lnTo>
                    <a:pt x="89" y="67"/>
                  </a:lnTo>
                  <a:lnTo>
                    <a:pt x="103" y="0"/>
                  </a:lnTo>
                  <a:lnTo>
                    <a:pt x="81" y="9"/>
                  </a:lnTo>
                  <a:lnTo>
                    <a:pt x="76" y="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2" name="S_BDI"/>
            <p:cNvSpPr>
              <a:spLocks/>
            </p:cNvSpPr>
            <p:nvPr/>
          </p:nvSpPr>
          <p:spPr bwMode="auto">
            <a:xfrm>
              <a:off x="5548168" y="4381500"/>
              <a:ext cx="47445" cy="57150"/>
            </a:xfrm>
            <a:custGeom>
              <a:avLst/>
              <a:gdLst>
                <a:gd name="T0" fmla="*/ 103097299 w 22"/>
                <a:gd name="T1" fmla="*/ 0 h 29"/>
                <a:gd name="T2" fmla="*/ 103097299 w 22"/>
                <a:gd name="T3" fmla="*/ 19417208 h 29"/>
                <a:gd name="T4" fmla="*/ 0 w 22"/>
                <a:gd name="T5" fmla="*/ 112624915 h 29"/>
                <a:gd name="T6" fmla="*/ 0 w 22"/>
                <a:gd name="T7" fmla="*/ 0 h 29"/>
                <a:gd name="T8" fmla="*/ 103097299 w 22"/>
                <a:gd name="T9" fmla="*/ 0 h 29"/>
                <a:gd name="T10" fmla="*/ 103097299 w 22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29"/>
                <a:gd name="T20" fmla="*/ 22 w 22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29">
                  <a:moveTo>
                    <a:pt x="22" y="0"/>
                  </a:moveTo>
                  <a:lnTo>
                    <a:pt x="22" y="5"/>
                  </a:lnTo>
                  <a:lnTo>
                    <a:pt x="0" y="29"/>
                  </a:lnTo>
                  <a:lnTo>
                    <a:pt x="0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3" name="S_NAM"/>
            <p:cNvSpPr>
              <a:spLocks/>
            </p:cNvSpPr>
            <p:nvPr/>
          </p:nvSpPr>
          <p:spPr bwMode="auto">
            <a:xfrm>
              <a:off x="5043463" y="4819650"/>
              <a:ext cx="365683" cy="400050"/>
            </a:xfrm>
            <a:custGeom>
              <a:avLst/>
              <a:gdLst>
                <a:gd name="T0" fmla="*/ 276935466 w 174"/>
                <a:gd name="T1" fmla="*/ 829222808 h 193"/>
                <a:gd name="T2" fmla="*/ 142795530 w 174"/>
                <a:gd name="T3" fmla="*/ 498393870 h 193"/>
                <a:gd name="T4" fmla="*/ 142795530 w 174"/>
                <a:gd name="T5" fmla="*/ 403870168 h 193"/>
                <a:gd name="T6" fmla="*/ 0 w 174"/>
                <a:gd name="T7" fmla="*/ 73041263 h 193"/>
                <a:gd name="T8" fmla="*/ 0 w 174"/>
                <a:gd name="T9" fmla="*/ 0 h 193"/>
                <a:gd name="T10" fmla="*/ 142795530 w 174"/>
                <a:gd name="T11" fmla="*/ 0 h 193"/>
                <a:gd name="T12" fmla="*/ 354823335 w 174"/>
                <a:gd name="T13" fmla="*/ 73041263 h 193"/>
                <a:gd name="T14" fmla="*/ 454347069 w 174"/>
                <a:gd name="T15" fmla="*/ 73041263 h 193"/>
                <a:gd name="T16" fmla="*/ 571180042 w 174"/>
                <a:gd name="T17" fmla="*/ 107412387 h 193"/>
                <a:gd name="T18" fmla="*/ 666377019 w 174"/>
                <a:gd name="T19" fmla="*/ 73041263 h 193"/>
                <a:gd name="T20" fmla="*/ 696666398 w 174"/>
                <a:gd name="T21" fmla="*/ 0 h 193"/>
                <a:gd name="T22" fmla="*/ 752918401 w 174"/>
                <a:gd name="T23" fmla="*/ 73041263 h 193"/>
                <a:gd name="T24" fmla="*/ 696666398 w 174"/>
                <a:gd name="T25" fmla="*/ 137488708 h 193"/>
                <a:gd name="T26" fmla="*/ 666377019 w 174"/>
                <a:gd name="T27" fmla="*/ 107412387 h 193"/>
                <a:gd name="T28" fmla="*/ 549544176 w 174"/>
                <a:gd name="T29" fmla="*/ 107412387 h 193"/>
                <a:gd name="T30" fmla="*/ 514925829 w 174"/>
                <a:gd name="T31" fmla="*/ 330828938 h 193"/>
                <a:gd name="T32" fmla="*/ 484636449 w 174"/>
                <a:gd name="T33" fmla="*/ 403870168 h 193"/>
                <a:gd name="T34" fmla="*/ 484636449 w 174"/>
                <a:gd name="T35" fmla="*/ 794851683 h 193"/>
                <a:gd name="T36" fmla="*/ 389441552 w 174"/>
                <a:gd name="T37" fmla="*/ 829222808 h 193"/>
                <a:gd name="T38" fmla="*/ 333187469 w 174"/>
                <a:gd name="T39" fmla="*/ 829222808 h 193"/>
                <a:gd name="T40" fmla="*/ 302898089 w 174"/>
                <a:gd name="T41" fmla="*/ 794851683 h 193"/>
                <a:gd name="T42" fmla="*/ 276935466 w 174"/>
                <a:gd name="T43" fmla="*/ 829222808 h 193"/>
                <a:gd name="T44" fmla="*/ 276935466 w 174"/>
                <a:gd name="T45" fmla="*/ 829222808 h 193"/>
                <a:gd name="T46" fmla="*/ 276935466 w 174"/>
                <a:gd name="T47" fmla="*/ 829222808 h 19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4"/>
                <a:gd name="T73" fmla="*/ 0 h 193"/>
                <a:gd name="T74" fmla="*/ 174 w 174"/>
                <a:gd name="T75" fmla="*/ 193 h 19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4" h="193">
                  <a:moveTo>
                    <a:pt x="64" y="193"/>
                  </a:moveTo>
                  <a:lnTo>
                    <a:pt x="33" y="116"/>
                  </a:lnTo>
                  <a:lnTo>
                    <a:pt x="33" y="9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3" y="0"/>
                  </a:lnTo>
                  <a:lnTo>
                    <a:pt x="82" y="17"/>
                  </a:lnTo>
                  <a:lnTo>
                    <a:pt x="105" y="17"/>
                  </a:lnTo>
                  <a:lnTo>
                    <a:pt x="132" y="25"/>
                  </a:lnTo>
                  <a:lnTo>
                    <a:pt x="154" y="17"/>
                  </a:lnTo>
                  <a:lnTo>
                    <a:pt x="161" y="0"/>
                  </a:lnTo>
                  <a:lnTo>
                    <a:pt x="174" y="17"/>
                  </a:lnTo>
                  <a:lnTo>
                    <a:pt x="161" y="32"/>
                  </a:lnTo>
                  <a:lnTo>
                    <a:pt x="154" y="25"/>
                  </a:lnTo>
                  <a:lnTo>
                    <a:pt x="127" y="25"/>
                  </a:lnTo>
                  <a:lnTo>
                    <a:pt x="119" y="77"/>
                  </a:lnTo>
                  <a:lnTo>
                    <a:pt x="112" y="94"/>
                  </a:lnTo>
                  <a:lnTo>
                    <a:pt x="112" y="185"/>
                  </a:lnTo>
                  <a:lnTo>
                    <a:pt x="90" y="193"/>
                  </a:lnTo>
                  <a:lnTo>
                    <a:pt x="77" y="193"/>
                  </a:lnTo>
                  <a:lnTo>
                    <a:pt x="70" y="185"/>
                  </a:lnTo>
                  <a:lnTo>
                    <a:pt x="64" y="19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4" name="S_AGO"/>
            <p:cNvSpPr>
              <a:spLocks/>
            </p:cNvSpPr>
            <p:nvPr/>
          </p:nvSpPr>
          <p:spPr bwMode="auto">
            <a:xfrm>
              <a:off x="5043463" y="4476750"/>
              <a:ext cx="341602" cy="390525"/>
            </a:xfrm>
            <a:custGeom>
              <a:avLst/>
              <a:gdLst>
                <a:gd name="T0" fmla="*/ 0 w 164"/>
                <a:gd name="T1" fmla="*/ 703348020 h 188"/>
                <a:gd name="T2" fmla="*/ 139892759 w 164"/>
                <a:gd name="T3" fmla="*/ 703348020 h 188"/>
                <a:gd name="T4" fmla="*/ 349732910 w 164"/>
                <a:gd name="T5" fmla="*/ 776702301 h 188"/>
                <a:gd name="T6" fmla="*/ 445910052 w 164"/>
                <a:gd name="T7" fmla="*/ 776702301 h 188"/>
                <a:gd name="T8" fmla="*/ 572689047 w 164"/>
                <a:gd name="T9" fmla="*/ 811222207 h 188"/>
                <a:gd name="T10" fmla="*/ 660122242 w 164"/>
                <a:gd name="T11" fmla="*/ 776702301 h 188"/>
                <a:gd name="T12" fmla="*/ 572689047 w 164"/>
                <a:gd name="T13" fmla="*/ 686085990 h 188"/>
                <a:gd name="T14" fmla="*/ 572689047 w 164"/>
                <a:gd name="T15" fmla="*/ 483280892 h 188"/>
                <a:gd name="T16" fmla="*/ 716953714 w 164"/>
                <a:gd name="T17" fmla="*/ 448760986 h 188"/>
                <a:gd name="T18" fmla="*/ 681980018 w 164"/>
                <a:gd name="T19" fmla="*/ 323626846 h 188"/>
                <a:gd name="T20" fmla="*/ 572689047 w 164"/>
                <a:gd name="T21" fmla="*/ 353830206 h 188"/>
                <a:gd name="T22" fmla="*/ 572689047 w 164"/>
                <a:gd name="T23" fmla="*/ 323626846 h 188"/>
                <a:gd name="T24" fmla="*/ 638264466 w 164"/>
                <a:gd name="T25" fmla="*/ 297735878 h 188"/>
                <a:gd name="T26" fmla="*/ 572689047 w 164"/>
                <a:gd name="T27" fmla="*/ 258901438 h 188"/>
                <a:gd name="T28" fmla="*/ 572689047 w 164"/>
                <a:gd name="T29" fmla="*/ 138079689 h 188"/>
                <a:gd name="T30" fmla="*/ 502741524 w 164"/>
                <a:gd name="T31" fmla="*/ 99245282 h 188"/>
                <a:gd name="T32" fmla="*/ 445910052 w 164"/>
                <a:gd name="T33" fmla="*/ 99245282 h 188"/>
                <a:gd name="T34" fmla="*/ 445910052 w 164"/>
                <a:gd name="T35" fmla="*/ 138079689 h 188"/>
                <a:gd name="T36" fmla="*/ 349732910 w 164"/>
                <a:gd name="T37" fmla="*/ 163970657 h 188"/>
                <a:gd name="T38" fmla="*/ 301645385 w 164"/>
                <a:gd name="T39" fmla="*/ 99245282 h 188"/>
                <a:gd name="T40" fmla="*/ 301645385 w 164"/>
                <a:gd name="T41" fmla="*/ 0 h 188"/>
                <a:gd name="T42" fmla="*/ 109291004 w 164"/>
                <a:gd name="T43" fmla="*/ 0 h 188"/>
                <a:gd name="T44" fmla="*/ 43717659 w 164"/>
                <a:gd name="T45" fmla="*/ 69039845 h 188"/>
                <a:gd name="T46" fmla="*/ 109291004 w 164"/>
                <a:gd name="T47" fmla="*/ 353830206 h 188"/>
                <a:gd name="T48" fmla="*/ 109291004 w 164"/>
                <a:gd name="T49" fmla="*/ 448760986 h 188"/>
                <a:gd name="T50" fmla="*/ 43717659 w 164"/>
                <a:gd name="T51" fmla="*/ 483280892 h 188"/>
                <a:gd name="T52" fmla="*/ 0 w 164"/>
                <a:gd name="T53" fmla="*/ 651566083 h 188"/>
                <a:gd name="T54" fmla="*/ 0 w 164"/>
                <a:gd name="T55" fmla="*/ 703348020 h 188"/>
                <a:gd name="T56" fmla="*/ 0 w 164"/>
                <a:gd name="T57" fmla="*/ 703348020 h 188"/>
                <a:gd name="T58" fmla="*/ 0 w 164"/>
                <a:gd name="T59" fmla="*/ 703348020 h 1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4"/>
                <a:gd name="T91" fmla="*/ 0 h 188"/>
                <a:gd name="T92" fmla="*/ 164 w 164"/>
                <a:gd name="T93" fmla="*/ 188 h 1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4" h="188">
                  <a:moveTo>
                    <a:pt x="0" y="163"/>
                  </a:moveTo>
                  <a:lnTo>
                    <a:pt x="32" y="163"/>
                  </a:lnTo>
                  <a:lnTo>
                    <a:pt x="80" y="180"/>
                  </a:lnTo>
                  <a:lnTo>
                    <a:pt x="102" y="180"/>
                  </a:lnTo>
                  <a:lnTo>
                    <a:pt x="131" y="188"/>
                  </a:lnTo>
                  <a:lnTo>
                    <a:pt x="151" y="180"/>
                  </a:lnTo>
                  <a:lnTo>
                    <a:pt x="131" y="159"/>
                  </a:lnTo>
                  <a:lnTo>
                    <a:pt x="131" y="112"/>
                  </a:lnTo>
                  <a:lnTo>
                    <a:pt x="164" y="104"/>
                  </a:lnTo>
                  <a:lnTo>
                    <a:pt x="156" y="75"/>
                  </a:lnTo>
                  <a:lnTo>
                    <a:pt x="131" y="82"/>
                  </a:lnTo>
                  <a:lnTo>
                    <a:pt x="131" y="75"/>
                  </a:lnTo>
                  <a:lnTo>
                    <a:pt x="146" y="69"/>
                  </a:lnTo>
                  <a:lnTo>
                    <a:pt x="131" y="60"/>
                  </a:lnTo>
                  <a:lnTo>
                    <a:pt x="131" y="32"/>
                  </a:lnTo>
                  <a:lnTo>
                    <a:pt x="115" y="23"/>
                  </a:lnTo>
                  <a:lnTo>
                    <a:pt x="102" y="23"/>
                  </a:lnTo>
                  <a:lnTo>
                    <a:pt x="102" y="32"/>
                  </a:lnTo>
                  <a:lnTo>
                    <a:pt x="80" y="38"/>
                  </a:lnTo>
                  <a:lnTo>
                    <a:pt x="69" y="23"/>
                  </a:lnTo>
                  <a:lnTo>
                    <a:pt x="69" y="0"/>
                  </a:lnTo>
                  <a:lnTo>
                    <a:pt x="25" y="0"/>
                  </a:lnTo>
                  <a:lnTo>
                    <a:pt x="10" y="16"/>
                  </a:lnTo>
                  <a:lnTo>
                    <a:pt x="25" y="82"/>
                  </a:lnTo>
                  <a:lnTo>
                    <a:pt x="25" y="104"/>
                  </a:lnTo>
                  <a:lnTo>
                    <a:pt x="10" y="112"/>
                  </a:lnTo>
                  <a:lnTo>
                    <a:pt x="0" y="151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5" name="S_ZAF"/>
            <p:cNvSpPr>
              <a:spLocks/>
            </p:cNvSpPr>
            <p:nvPr/>
          </p:nvSpPr>
          <p:spPr bwMode="auto">
            <a:xfrm>
              <a:off x="5166819" y="4972050"/>
              <a:ext cx="466749" cy="457200"/>
            </a:xfrm>
            <a:custGeom>
              <a:avLst/>
              <a:gdLst>
                <a:gd name="T0" fmla="*/ 2147483647 w 220"/>
                <a:gd name="T1" fmla="*/ 2147483647 h 222"/>
                <a:gd name="T2" fmla="*/ 2147483647 w 220"/>
                <a:gd name="T3" fmla="*/ 2147483647 h 222"/>
                <a:gd name="T4" fmla="*/ 2147483647 w 220"/>
                <a:gd name="T5" fmla="*/ 2147483647 h 222"/>
                <a:gd name="T6" fmla="*/ 2147483647 w 220"/>
                <a:gd name="T7" fmla="*/ 2147483647 h 222"/>
                <a:gd name="T8" fmla="*/ 2147483647 w 220"/>
                <a:gd name="T9" fmla="*/ 2147483647 h 222"/>
                <a:gd name="T10" fmla="*/ 2147483647 w 220"/>
                <a:gd name="T11" fmla="*/ 2147483647 h 222"/>
                <a:gd name="T12" fmla="*/ 2147483647 w 220"/>
                <a:gd name="T13" fmla="*/ 2147483647 h 222"/>
                <a:gd name="T14" fmla="*/ 2147483647 w 220"/>
                <a:gd name="T15" fmla="*/ 2147483647 h 222"/>
                <a:gd name="T16" fmla="*/ 2147483647 w 220"/>
                <a:gd name="T17" fmla="*/ 2147483647 h 222"/>
                <a:gd name="T18" fmla="*/ 2147483647 w 220"/>
                <a:gd name="T19" fmla="*/ 2147483647 h 222"/>
                <a:gd name="T20" fmla="*/ 2147483647 w 220"/>
                <a:gd name="T21" fmla="*/ 2147483647 h 222"/>
                <a:gd name="T22" fmla="*/ 2147483647 w 220"/>
                <a:gd name="T23" fmla="*/ 2147483647 h 222"/>
                <a:gd name="T24" fmla="*/ 2147483647 w 220"/>
                <a:gd name="T25" fmla="*/ 2147483647 h 222"/>
                <a:gd name="T26" fmla="*/ 2147483647 w 220"/>
                <a:gd name="T27" fmla="*/ 2147483647 h 222"/>
                <a:gd name="T28" fmla="*/ 2147483647 w 220"/>
                <a:gd name="T29" fmla="*/ 2147483647 h 222"/>
                <a:gd name="T30" fmla="*/ 2147483647 w 220"/>
                <a:gd name="T31" fmla="*/ 2147483647 h 222"/>
                <a:gd name="T32" fmla="*/ 2147483647 w 220"/>
                <a:gd name="T33" fmla="*/ 2147483647 h 222"/>
                <a:gd name="T34" fmla="*/ 2147483647 w 220"/>
                <a:gd name="T35" fmla="*/ 2147483647 h 222"/>
                <a:gd name="T36" fmla="*/ 2147483647 w 220"/>
                <a:gd name="T37" fmla="*/ 2147483647 h 222"/>
                <a:gd name="T38" fmla="*/ 0 w 220"/>
                <a:gd name="T39" fmla="*/ 2147483647 h 222"/>
                <a:gd name="T40" fmla="*/ 2147483647 w 220"/>
                <a:gd name="T41" fmla="*/ 2147483647 h 222"/>
                <a:gd name="T42" fmla="*/ 2147483647 w 220"/>
                <a:gd name="T43" fmla="*/ 2147483647 h 222"/>
                <a:gd name="T44" fmla="*/ 2147483647 w 220"/>
                <a:gd name="T45" fmla="*/ 2147483647 h 222"/>
                <a:gd name="T46" fmla="*/ 2147483647 w 220"/>
                <a:gd name="T47" fmla="*/ 2147483647 h 222"/>
                <a:gd name="T48" fmla="*/ 2147483647 w 220"/>
                <a:gd name="T49" fmla="*/ 2147483647 h 222"/>
                <a:gd name="T50" fmla="*/ 2147483647 w 220"/>
                <a:gd name="T51" fmla="*/ 2147483647 h 222"/>
                <a:gd name="T52" fmla="*/ 2147483647 w 220"/>
                <a:gd name="T53" fmla="*/ 2147483647 h 222"/>
                <a:gd name="T54" fmla="*/ 2147483647 w 220"/>
                <a:gd name="T55" fmla="*/ 2147483647 h 222"/>
                <a:gd name="T56" fmla="*/ 2147483647 w 220"/>
                <a:gd name="T57" fmla="*/ 2147483647 h 222"/>
                <a:gd name="T58" fmla="*/ 2147483647 w 220"/>
                <a:gd name="T59" fmla="*/ 2147483647 h 222"/>
                <a:gd name="T60" fmla="*/ 2147483647 w 220"/>
                <a:gd name="T61" fmla="*/ 0 h 222"/>
                <a:gd name="T62" fmla="*/ 2147483647 w 220"/>
                <a:gd name="T63" fmla="*/ 2147483647 h 222"/>
                <a:gd name="T64" fmla="*/ 2147483647 w 220"/>
                <a:gd name="T65" fmla="*/ 2147483647 h 222"/>
                <a:gd name="T66" fmla="*/ 2147483647 w 220"/>
                <a:gd name="T67" fmla="*/ 2147483647 h 22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0"/>
                <a:gd name="T103" fmla="*/ 0 h 222"/>
                <a:gd name="T104" fmla="*/ 220 w 220"/>
                <a:gd name="T105" fmla="*/ 222 h 22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0" h="222">
                  <a:moveTo>
                    <a:pt x="198" y="17"/>
                  </a:moveTo>
                  <a:lnTo>
                    <a:pt x="205" y="69"/>
                  </a:lnTo>
                  <a:lnTo>
                    <a:pt x="198" y="69"/>
                  </a:lnTo>
                  <a:lnTo>
                    <a:pt x="191" y="75"/>
                  </a:lnTo>
                  <a:lnTo>
                    <a:pt x="198" y="82"/>
                  </a:lnTo>
                  <a:lnTo>
                    <a:pt x="205" y="75"/>
                  </a:lnTo>
                  <a:lnTo>
                    <a:pt x="220" y="75"/>
                  </a:lnTo>
                  <a:lnTo>
                    <a:pt x="220" y="114"/>
                  </a:lnTo>
                  <a:lnTo>
                    <a:pt x="198" y="122"/>
                  </a:lnTo>
                  <a:lnTo>
                    <a:pt x="183" y="153"/>
                  </a:lnTo>
                  <a:lnTo>
                    <a:pt x="154" y="176"/>
                  </a:lnTo>
                  <a:lnTo>
                    <a:pt x="139" y="201"/>
                  </a:lnTo>
                  <a:lnTo>
                    <a:pt x="71" y="206"/>
                  </a:lnTo>
                  <a:lnTo>
                    <a:pt x="49" y="222"/>
                  </a:lnTo>
                  <a:lnTo>
                    <a:pt x="42" y="222"/>
                  </a:lnTo>
                  <a:lnTo>
                    <a:pt x="27" y="206"/>
                  </a:lnTo>
                  <a:lnTo>
                    <a:pt x="20" y="176"/>
                  </a:lnTo>
                  <a:lnTo>
                    <a:pt x="20" y="168"/>
                  </a:lnTo>
                  <a:lnTo>
                    <a:pt x="7" y="114"/>
                  </a:lnTo>
                  <a:lnTo>
                    <a:pt x="0" y="114"/>
                  </a:lnTo>
                  <a:lnTo>
                    <a:pt x="7" y="107"/>
                  </a:lnTo>
                  <a:lnTo>
                    <a:pt x="14" y="114"/>
                  </a:lnTo>
                  <a:lnTo>
                    <a:pt x="27" y="114"/>
                  </a:lnTo>
                  <a:lnTo>
                    <a:pt x="49" y="107"/>
                  </a:lnTo>
                  <a:lnTo>
                    <a:pt x="49" y="43"/>
                  </a:lnTo>
                  <a:lnTo>
                    <a:pt x="55" y="60"/>
                  </a:lnTo>
                  <a:lnTo>
                    <a:pt x="55" y="75"/>
                  </a:lnTo>
                  <a:lnTo>
                    <a:pt x="71" y="75"/>
                  </a:lnTo>
                  <a:lnTo>
                    <a:pt x="97" y="60"/>
                  </a:lnTo>
                  <a:lnTo>
                    <a:pt x="106" y="69"/>
                  </a:lnTo>
                  <a:lnTo>
                    <a:pt x="176" y="0"/>
                  </a:lnTo>
                  <a:lnTo>
                    <a:pt x="191" y="17"/>
                  </a:lnTo>
                  <a:lnTo>
                    <a:pt x="198" y="1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6" name="S_BWA"/>
            <p:cNvSpPr>
              <a:spLocks/>
            </p:cNvSpPr>
            <p:nvPr/>
          </p:nvSpPr>
          <p:spPr bwMode="auto">
            <a:xfrm>
              <a:off x="5271198" y="4848225"/>
              <a:ext cx="276970" cy="285750"/>
            </a:xfrm>
            <a:custGeom>
              <a:avLst/>
              <a:gdLst>
                <a:gd name="T0" fmla="*/ 0 w 130"/>
                <a:gd name="T1" fmla="*/ 459122434 h 136"/>
                <a:gd name="T2" fmla="*/ 36117481 w 130"/>
                <a:gd name="T3" fmla="*/ 534169596 h 136"/>
                <a:gd name="T4" fmla="*/ 36117481 w 130"/>
                <a:gd name="T5" fmla="*/ 600390159 h 136"/>
                <a:gd name="T6" fmla="*/ 103841461 w 130"/>
                <a:gd name="T7" fmla="*/ 600390159 h 136"/>
                <a:gd name="T8" fmla="*/ 225739530 w 130"/>
                <a:gd name="T9" fmla="*/ 534169596 h 136"/>
                <a:gd name="T10" fmla="*/ 257343904 w 130"/>
                <a:gd name="T11" fmla="*/ 565072735 h 136"/>
                <a:gd name="T12" fmla="*/ 586924995 w 130"/>
                <a:gd name="T13" fmla="*/ 269292005 h 136"/>
                <a:gd name="T14" fmla="*/ 483083434 w 130"/>
                <a:gd name="T15" fmla="*/ 269292005 h 136"/>
                <a:gd name="T16" fmla="*/ 460509488 w 130"/>
                <a:gd name="T17" fmla="*/ 207488090 h 136"/>
                <a:gd name="T18" fmla="*/ 284433131 w 130"/>
                <a:gd name="T19" fmla="*/ 0 h 136"/>
                <a:gd name="T20" fmla="*/ 225739530 w 130"/>
                <a:gd name="T21" fmla="*/ 66220448 h 136"/>
                <a:gd name="T22" fmla="*/ 194137280 w 130"/>
                <a:gd name="T23" fmla="*/ 30903016 h 136"/>
                <a:gd name="T24" fmla="*/ 67721856 w 130"/>
                <a:gd name="T25" fmla="*/ 30903016 h 136"/>
                <a:gd name="T26" fmla="*/ 36117481 w 130"/>
                <a:gd name="T27" fmla="*/ 269292005 h 136"/>
                <a:gd name="T28" fmla="*/ 0 w 130"/>
                <a:gd name="T29" fmla="*/ 344341333 h 136"/>
                <a:gd name="T30" fmla="*/ 0 w 130"/>
                <a:gd name="T31" fmla="*/ 459122434 h 136"/>
                <a:gd name="T32" fmla="*/ 0 w 130"/>
                <a:gd name="T33" fmla="*/ 459122434 h 136"/>
                <a:gd name="T34" fmla="*/ 0 w 130"/>
                <a:gd name="T35" fmla="*/ 459122434 h 1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0"/>
                <a:gd name="T55" fmla="*/ 0 h 136"/>
                <a:gd name="T56" fmla="*/ 130 w 130"/>
                <a:gd name="T57" fmla="*/ 136 h 1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0" h="136">
                  <a:moveTo>
                    <a:pt x="0" y="104"/>
                  </a:moveTo>
                  <a:lnTo>
                    <a:pt x="8" y="121"/>
                  </a:lnTo>
                  <a:lnTo>
                    <a:pt x="8" y="136"/>
                  </a:lnTo>
                  <a:lnTo>
                    <a:pt x="23" y="136"/>
                  </a:lnTo>
                  <a:lnTo>
                    <a:pt x="50" y="121"/>
                  </a:lnTo>
                  <a:lnTo>
                    <a:pt x="57" y="128"/>
                  </a:lnTo>
                  <a:lnTo>
                    <a:pt x="130" y="61"/>
                  </a:lnTo>
                  <a:lnTo>
                    <a:pt x="107" y="61"/>
                  </a:lnTo>
                  <a:lnTo>
                    <a:pt x="102" y="47"/>
                  </a:lnTo>
                  <a:lnTo>
                    <a:pt x="63" y="0"/>
                  </a:lnTo>
                  <a:lnTo>
                    <a:pt x="50" y="15"/>
                  </a:lnTo>
                  <a:lnTo>
                    <a:pt x="43" y="7"/>
                  </a:lnTo>
                  <a:lnTo>
                    <a:pt x="15" y="7"/>
                  </a:lnTo>
                  <a:lnTo>
                    <a:pt x="8" y="61"/>
                  </a:lnTo>
                  <a:lnTo>
                    <a:pt x="0" y="78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7" name="S_ZWE"/>
            <p:cNvSpPr>
              <a:spLocks/>
            </p:cNvSpPr>
            <p:nvPr/>
          </p:nvSpPr>
          <p:spPr bwMode="auto">
            <a:xfrm>
              <a:off x="5409146" y="4791075"/>
              <a:ext cx="233911" cy="219075"/>
            </a:xfrm>
            <a:custGeom>
              <a:avLst/>
              <a:gdLst>
                <a:gd name="T0" fmla="*/ 317551533 w 111"/>
                <a:gd name="T1" fmla="*/ 0 h 104"/>
                <a:gd name="T2" fmla="*/ 225506525 w 111"/>
                <a:gd name="T3" fmla="*/ 0 h 104"/>
                <a:gd name="T4" fmla="*/ 225506525 w 111"/>
                <a:gd name="T5" fmla="*/ 35498582 h 104"/>
                <a:gd name="T6" fmla="*/ 133463696 w 111"/>
                <a:gd name="T7" fmla="*/ 133119654 h 104"/>
                <a:gd name="T8" fmla="*/ 0 w 111"/>
                <a:gd name="T9" fmla="*/ 133119654 h 104"/>
                <a:gd name="T10" fmla="*/ 170280848 w 111"/>
                <a:gd name="T11" fmla="*/ 337234398 h 104"/>
                <a:gd name="T12" fmla="*/ 202496363 w 111"/>
                <a:gd name="T13" fmla="*/ 394920620 h 104"/>
                <a:gd name="T14" fmla="*/ 299142974 w 111"/>
                <a:gd name="T15" fmla="*/ 394920620 h 104"/>
                <a:gd name="T16" fmla="*/ 363571858 w 111"/>
                <a:gd name="T17" fmla="*/ 461479377 h 104"/>
                <a:gd name="T18" fmla="*/ 386584166 w 111"/>
                <a:gd name="T19" fmla="*/ 461479377 h 104"/>
                <a:gd name="T20" fmla="*/ 478626962 w 111"/>
                <a:gd name="T21" fmla="*/ 292861191 h 104"/>
                <a:gd name="T22" fmla="*/ 510842477 w 111"/>
                <a:gd name="T23" fmla="*/ 133119654 h 104"/>
                <a:gd name="T24" fmla="*/ 478626962 w 111"/>
                <a:gd name="T25" fmla="*/ 35498582 h 104"/>
                <a:gd name="T26" fmla="*/ 386584166 w 111"/>
                <a:gd name="T27" fmla="*/ 0 h 104"/>
                <a:gd name="T28" fmla="*/ 317551533 w 111"/>
                <a:gd name="T29" fmla="*/ 0 h 104"/>
                <a:gd name="T30" fmla="*/ 317551533 w 111"/>
                <a:gd name="T31" fmla="*/ 0 h 104"/>
                <a:gd name="T32" fmla="*/ 317551533 w 111"/>
                <a:gd name="T33" fmla="*/ 0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1"/>
                <a:gd name="T52" fmla="*/ 0 h 104"/>
                <a:gd name="T53" fmla="*/ 111 w 111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1" h="104">
                  <a:moveTo>
                    <a:pt x="69" y="0"/>
                  </a:moveTo>
                  <a:lnTo>
                    <a:pt x="49" y="0"/>
                  </a:lnTo>
                  <a:lnTo>
                    <a:pt x="49" y="8"/>
                  </a:lnTo>
                  <a:lnTo>
                    <a:pt x="29" y="30"/>
                  </a:lnTo>
                  <a:lnTo>
                    <a:pt x="0" y="30"/>
                  </a:lnTo>
                  <a:lnTo>
                    <a:pt x="37" y="76"/>
                  </a:lnTo>
                  <a:lnTo>
                    <a:pt x="44" y="89"/>
                  </a:lnTo>
                  <a:lnTo>
                    <a:pt x="65" y="89"/>
                  </a:lnTo>
                  <a:lnTo>
                    <a:pt x="79" y="104"/>
                  </a:lnTo>
                  <a:lnTo>
                    <a:pt x="84" y="104"/>
                  </a:lnTo>
                  <a:lnTo>
                    <a:pt x="104" y="66"/>
                  </a:lnTo>
                  <a:lnTo>
                    <a:pt x="111" y="30"/>
                  </a:lnTo>
                  <a:lnTo>
                    <a:pt x="104" y="8"/>
                  </a:lnTo>
                  <a:lnTo>
                    <a:pt x="84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8" name="S_MOZ"/>
            <p:cNvSpPr>
              <a:spLocks/>
            </p:cNvSpPr>
            <p:nvPr/>
          </p:nvSpPr>
          <p:spPr bwMode="auto">
            <a:xfrm>
              <a:off x="5557656" y="4619625"/>
              <a:ext cx="294158" cy="504825"/>
            </a:xfrm>
            <a:custGeom>
              <a:avLst/>
              <a:gdLst>
                <a:gd name="T0" fmla="*/ 162263031 w 141"/>
                <a:gd name="T1" fmla="*/ 1040197062 h 245"/>
                <a:gd name="T2" fmla="*/ 162263031 w 141"/>
                <a:gd name="T3" fmla="*/ 985002189 h 245"/>
                <a:gd name="T4" fmla="*/ 320138823 w 141"/>
                <a:gd name="T5" fmla="*/ 912826656 h 245"/>
                <a:gd name="T6" fmla="*/ 346451793 w 141"/>
                <a:gd name="T7" fmla="*/ 891597224 h 245"/>
                <a:gd name="T8" fmla="*/ 346451793 w 141"/>
                <a:gd name="T9" fmla="*/ 798192260 h 245"/>
                <a:gd name="T10" fmla="*/ 249970139 w 141"/>
                <a:gd name="T11" fmla="*/ 632609701 h 245"/>
                <a:gd name="T12" fmla="*/ 618349821 w 141"/>
                <a:gd name="T13" fmla="*/ 318427175 h 245"/>
                <a:gd name="T14" fmla="*/ 587651705 w 141"/>
                <a:gd name="T15" fmla="*/ 0 h 245"/>
                <a:gd name="T16" fmla="*/ 530640488 w 141"/>
                <a:gd name="T17" fmla="*/ 55194889 h 245"/>
                <a:gd name="T18" fmla="*/ 320138823 w 141"/>
                <a:gd name="T19" fmla="*/ 55194889 h 245"/>
                <a:gd name="T20" fmla="*/ 249970139 w 141"/>
                <a:gd name="T21" fmla="*/ 127370439 h 245"/>
                <a:gd name="T22" fmla="*/ 320138823 w 141"/>
                <a:gd name="T23" fmla="*/ 191056704 h 245"/>
                <a:gd name="T24" fmla="*/ 346451793 w 141"/>
                <a:gd name="T25" fmla="*/ 284461734 h 245"/>
                <a:gd name="T26" fmla="*/ 346451793 w 141"/>
                <a:gd name="T27" fmla="*/ 348147967 h 245"/>
                <a:gd name="T28" fmla="*/ 320138823 w 141"/>
                <a:gd name="T29" fmla="*/ 403340780 h 245"/>
                <a:gd name="T30" fmla="*/ 249970139 w 141"/>
                <a:gd name="T31" fmla="*/ 348147967 h 245"/>
                <a:gd name="T32" fmla="*/ 249970139 w 141"/>
                <a:gd name="T33" fmla="*/ 284461734 h 245"/>
                <a:gd name="T34" fmla="*/ 214886877 w 141"/>
                <a:gd name="T35" fmla="*/ 284461734 h 245"/>
                <a:gd name="T36" fmla="*/ 192961147 w 141"/>
                <a:gd name="T37" fmla="*/ 212286136 h 245"/>
                <a:gd name="T38" fmla="*/ 0 w 141"/>
                <a:gd name="T39" fmla="*/ 318427175 h 245"/>
                <a:gd name="T40" fmla="*/ 0 w 141"/>
                <a:gd name="T41" fmla="*/ 348147967 h 245"/>
                <a:gd name="T42" fmla="*/ 70166557 w 141"/>
                <a:gd name="T43" fmla="*/ 348147967 h 245"/>
                <a:gd name="T44" fmla="*/ 162263031 w 141"/>
                <a:gd name="T45" fmla="*/ 382113409 h 245"/>
                <a:gd name="T46" fmla="*/ 192961147 w 141"/>
                <a:gd name="T47" fmla="*/ 475518374 h 245"/>
                <a:gd name="T48" fmla="*/ 162263031 w 141"/>
                <a:gd name="T49" fmla="*/ 632609701 h 245"/>
                <a:gd name="T50" fmla="*/ 70166557 w 141"/>
                <a:gd name="T51" fmla="*/ 798192260 h 245"/>
                <a:gd name="T52" fmla="*/ 105251913 w 141"/>
                <a:gd name="T53" fmla="*/ 1040197062 h 245"/>
                <a:gd name="T54" fmla="*/ 162263031 w 141"/>
                <a:gd name="T55" fmla="*/ 1040197062 h 245"/>
                <a:gd name="T56" fmla="*/ 162263031 w 141"/>
                <a:gd name="T57" fmla="*/ 1040197062 h 24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1"/>
                <a:gd name="T88" fmla="*/ 0 h 245"/>
                <a:gd name="T89" fmla="*/ 141 w 141"/>
                <a:gd name="T90" fmla="*/ 245 h 24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1" h="245">
                  <a:moveTo>
                    <a:pt x="37" y="245"/>
                  </a:moveTo>
                  <a:lnTo>
                    <a:pt x="37" y="232"/>
                  </a:lnTo>
                  <a:lnTo>
                    <a:pt x="73" y="215"/>
                  </a:lnTo>
                  <a:lnTo>
                    <a:pt x="79" y="210"/>
                  </a:lnTo>
                  <a:lnTo>
                    <a:pt x="79" y="188"/>
                  </a:lnTo>
                  <a:lnTo>
                    <a:pt x="57" y="149"/>
                  </a:lnTo>
                  <a:lnTo>
                    <a:pt x="141" y="75"/>
                  </a:lnTo>
                  <a:lnTo>
                    <a:pt x="134" y="0"/>
                  </a:lnTo>
                  <a:lnTo>
                    <a:pt x="121" y="13"/>
                  </a:lnTo>
                  <a:lnTo>
                    <a:pt x="73" y="13"/>
                  </a:lnTo>
                  <a:lnTo>
                    <a:pt x="57" y="30"/>
                  </a:lnTo>
                  <a:lnTo>
                    <a:pt x="73" y="45"/>
                  </a:lnTo>
                  <a:lnTo>
                    <a:pt x="79" y="67"/>
                  </a:lnTo>
                  <a:lnTo>
                    <a:pt x="79" y="82"/>
                  </a:lnTo>
                  <a:lnTo>
                    <a:pt x="73" y="95"/>
                  </a:lnTo>
                  <a:lnTo>
                    <a:pt x="57" y="82"/>
                  </a:lnTo>
                  <a:lnTo>
                    <a:pt x="57" y="67"/>
                  </a:lnTo>
                  <a:lnTo>
                    <a:pt x="49" y="67"/>
                  </a:lnTo>
                  <a:lnTo>
                    <a:pt x="44" y="50"/>
                  </a:lnTo>
                  <a:lnTo>
                    <a:pt x="0" y="75"/>
                  </a:lnTo>
                  <a:lnTo>
                    <a:pt x="0" y="82"/>
                  </a:lnTo>
                  <a:lnTo>
                    <a:pt x="16" y="82"/>
                  </a:lnTo>
                  <a:lnTo>
                    <a:pt x="37" y="90"/>
                  </a:lnTo>
                  <a:lnTo>
                    <a:pt x="44" y="112"/>
                  </a:lnTo>
                  <a:lnTo>
                    <a:pt x="37" y="149"/>
                  </a:lnTo>
                  <a:lnTo>
                    <a:pt x="16" y="188"/>
                  </a:lnTo>
                  <a:lnTo>
                    <a:pt x="24" y="245"/>
                  </a:lnTo>
                  <a:lnTo>
                    <a:pt x="37" y="24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9" name="S_MDG"/>
            <p:cNvSpPr>
              <a:spLocks/>
            </p:cNvSpPr>
            <p:nvPr/>
          </p:nvSpPr>
          <p:spPr bwMode="auto">
            <a:xfrm>
              <a:off x="5937215" y="4676775"/>
              <a:ext cx="172590" cy="428625"/>
            </a:xfrm>
            <a:custGeom>
              <a:avLst/>
              <a:gdLst>
                <a:gd name="T0" fmla="*/ 0 w 86"/>
                <a:gd name="T1" fmla="*/ 648356917 h 202"/>
                <a:gd name="T2" fmla="*/ 19872252 w 86"/>
                <a:gd name="T3" fmla="*/ 810447141 h 202"/>
                <a:gd name="T4" fmla="*/ 75513761 w 86"/>
                <a:gd name="T5" fmla="*/ 909501924 h 202"/>
                <a:gd name="T6" fmla="*/ 162953261 w 86"/>
                <a:gd name="T7" fmla="*/ 909501924 h 202"/>
                <a:gd name="T8" fmla="*/ 313982778 w 86"/>
                <a:gd name="T9" fmla="*/ 211617682 h 202"/>
                <a:gd name="T10" fmla="*/ 341803521 w 86"/>
                <a:gd name="T11" fmla="*/ 243134341 h 202"/>
                <a:gd name="T12" fmla="*/ 313982778 w 86"/>
                <a:gd name="T13" fmla="*/ 45024725 h 202"/>
                <a:gd name="T14" fmla="*/ 286162035 w 86"/>
                <a:gd name="T15" fmla="*/ 0 h 202"/>
                <a:gd name="T16" fmla="*/ 266289791 w 86"/>
                <a:gd name="T17" fmla="*/ 76541401 h 202"/>
                <a:gd name="T18" fmla="*/ 242442238 w 86"/>
                <a:gd name="T19" fmla="*/ 76541401 h 202"/>
                <a:gd name="T20" fmla="*/ 242442238 w 86"/>
                <a:gd name="T21" fmla="*/ 180098901 h 202"/>
                <a:gd name="T22" fmla="*/ 75513761 w 86"/>
                <a:gd name="T23" fmla="*/ 279153750 h 202"/>
                <a:gd name="T24" fmla="*/ 19872252 w 86"/>
                <a:gd name="T25" fmla="*/ 378208533 h 202"/>
                <a:gd name="T26" fmla="*/ 75513761 w 86"/>
                <a:gd name="T27" fmla="*/ 544801440 h 202"/>
                <a:gd name="T28" fmla="*/ 0 w 86"/>
                <a:gd name="T29" fmla="*/ 648356917 h 202"/>
                <a:gd name="T30" fmla="*/ 0 w 86"/>
                <a:gd name="T31" fmla="*/ 648356917 h 202"/>
                <a:gd name="T32" fmla="*/ 0 w 86"/>
                <a:gd name="T33" fmla="*/ 648356917 h 2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6"/>
                <a:gd name="T52" fmla="*/ 0 h 202"/>
                <a:gd name="T53" fmla="*/ 86 w 86"/>
                <a:gd name="T54" fmla="*/ 202 h 2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6" h="202">
                  <a:moveTo>
                    <a:pt x="0" y="144"/>
                  </a:moveTo>
                  <a:lnTo>
                    <a:pt x="5" y="180"/>
                  </a:lnTo>
                  <a:lnTo>
                    <a:pt x="19" y="202"/>
                  </a:lnTo>
                  <a:lnTo>
                    <a:pt x="41" y="202"/>
                  </a:lnTo>
                  <a:lnTo>
                    <a:pt x="79" y="47"/>
                  </a:lnTo>
                  <a:lnTo>
                    <a:pt x="86" y="54"/>
                  </a:lnTo>
                  <a:lnTo>
                    <a:pt x="79" y="10"/>
                  </a:lnTo>
                  <a:lnTo>
                    <a:pt x="72" y="0"/>
                  </a:lnTo>
                  <a:lnTo>
                    <a:pt x="67" y="17"/>
                  </a:lnTo>
                  <a:lnTo>
                    <a:pt x="61" y="17"/>
                  </a:lnTo>
                  <a:lnTo>
                    <a:pt x="61" y="40"/>
                  </a:lnTo>
                  <a:lnTo>
                    <a:pt x="19" y="62"/>
                  </a:lnTo>
                  <a:lnTo>
                    <a:pt x="5" y="84"/>
                  </a:lnTo>
                  <a:lnTo>
                    <a:pt x="19" y="121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0" name="S_LSO"/>
            <p:cNvSpPr>
              <a:spLocks/>
            </p:cNvSpPr>
            <p:nvPr/>
          </p:nvSpPr>
          <p:spPr bwMode="auto">
            <a:xfrm>
              <a:off x="5466080" y="5191125"/>
              <a:ext cx="82088" cy="85725"/>
            </a:xfrm>
            <a:custGeom>
              <a:avLst/>
              <a:gdLst>
                <a:gd name="T0" fmla="*/ 193388825 w 38"/>
                <a:gd name="T1" fmla="*/ 62810041 h 39"/>
                <a:gd name="T2" fmla="*/ 111961352 w 38"/>
                <a:gd name="T3" fmla="*/ 154608343 h 39"/>
                <a:gd name="T4" fmla="*/ 40712609 w 38"/>
                <a:gd name="T5" fmla="*/ 188430139 h 39"/>
                <a:gd name="T6" fmla="*/ 0 w 38"/>
                <a:gd name="T7" fmla="*/ 154608343 h 39"/>
                <a:gd name="T8" fmla="*/ 76338117 w 38"/>
                <a:gd name="T9" fmla="*/ 0 h 39"/>
                <a:gd name="T10" fmla="*/ 111961352 w 38"/>
                <a:gd name="T11" fmla="*/ 33821805 h 39"/>
                <a:gd name="T12" fmla="*/ 193388825 w 38"/>
                <a:gd name="T13" fmla="*/ 62810041 h 39"/>
                <a:gd name="T14" fmla="*/ 193388825 w 38"/>
                <a:gd name="T15" fmla="*/ 62810041 h 39"/>
                <a:gd name="T16" fmla="*/ 193388825 w 38"/>
                <a:gd name="T17" fmla="*/ 62810041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39"/>
                <a:gd name="T29" fmla="*/ 38 w 38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39">
                  <a:moveTo>
                    <a:pt x="38" y="13"/>
                  </a:moveTo>
                  <a:lnTo>
                    <a:pt x="22" y="32"/>
                  </a:lnTo>
                  <a:lnTo>
                    <a:pt x="8" y="39"/>
                  </a:lnTo>
                  <a:lnTo>
                    <a:pt x="0" y="32"/>
                  </a:lnTo>
                  <a:lnTo>
                    <a:pt x="15" y="0"/>
                  </a:lnTo>
                  <a:lnTo>
                    <a:pt x="22" y="7"/>
                  </a:lnTo>
                  <a:lnTo>
                    <a:pt x="38" y="1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1" name="S_MWI"/>
            <p:cNvSpPr>
              <a:spLocks/>
            </p:cNvSpPr>
            <p:nvPr/>
          </p:nvSpPr>
          <p:spPr bwMode="auto">
            <a:xfrm>
              <a:off x="5633568" y="4600575"/>
              <a:ext cx="85401" cy="219075"/>
            </a:xfrm>
            <a:custGeom>
              <a:avLst/>
              <a:gdLst>
                <a:gd name="T0" fmla="*/ 33328651 w 42"/>
                <a:gd name="T1" fmla="*/ 266237201 h 104"/>
                <a:gd name="T2" fmla="*/ 0 w 42"/>
                <a:gd name="T3" fmla="*/ 235177009 h 104"/>
                <a:gd name="T4" fmla="*/ 33328651 w 42"/>
                <a:gd name="T5" fmla="*/ 159743611 h 104"/>
                <a:gd name="T6" fmla="*/ 33328651 w 42"/>
                <a:gd name="T7" fmla="*/ 102057356 h 104"/>
                <a:gd name="T8" fmla="*/ 54157786 w 42"/>
                <a:gd name="T9" fmla="*/ 70997164 h 104"/>
                <a:gd name="T10" fmla="*/ 33328651 w 42"/>
                <a:gd name="T11" fmla="*/ 0 h 104"/>
                <a:gd name="T12" fmla="*/ 87486445 w 42"/>
                <a:gd name="T13" fmla="*/ 0 h 104"/>
                <a:gd name="T14" fmla="*/ 145810072 w 42"/>
                <a:gd name="T15" fmla="*/ 102057356 h 104"/>
                <a:gd name="T16" fmla="*/ 87486445 w 42"/>
                <a:gd name="T17" fmla="*/ 159743611 h 104"/>
                <a:gd name="T18" fmla="*/ 145810072 w 42"/>
                <a:gd name="T19" fmla="*/ 235177009 h 104"/>
                <a:gd name="T20" fmla="*/ 174970848 w 42"/>
                <a:gd name="T21" fmla="*/ 332798130 h 104"/>
                <a:gd name="T22" fmla="*/ 174970848 w 42"/>
                <a:gd name="T23" fmla="*/ 399356888 h 104"/>
                <a:gd name="T24" fmla="*/ 145810072 w 42"/>
                <a:gd name="T25" fmla="*/ 461479377 h 104"/>
                <a:gd name="T26" fmla="*/ 87486445 w 42"/>
                <a:gd name="T27" fmla="*/ 399356888 h 104"/>
                <a:gd name="T28" fmla="*/ 87486445 w 42"/>
                <a:gd name="T29" fmla="*/ 332798130 h 104"/>
                <a:gd name="T30" fmla="*/ 54157786 w 42"/>
                <a:gd name="T31" fmla="*/ 332798130 h 104"/>
                <a:gd name="T32" fmla="*/ 33328651 w 42"/>
                <a:gd name="T33" fmla="*/ 266237201 h 104"/>
                <a:gd name="T34" fmla="*/ 33328651 w 42"/>
                <a:gd name="T35" fmla="*/ 266237201 h 104"/>
                <a:gd name="T36" fmla="*/ 33328651 w 42"/>
                <a:gd name="T37" fmla="*/ 266237201 h 10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2"/>
                <a:gd name="T58" fmla="*/ 0 h 104"/>
                <a:gd name="T59" fmla="*/ 42 w 42"/>
                <a:gd name="T60" fmla="*/ 104 h 10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2" h="104">
                  <a:moveTo>
                    <a:pt x="8" y="60"/>
                  </a:moveTo>
                  <a:lnTo>
                    <a:pt x="0" y="53"/>
                  </a:lnTo>
                  <a:lnTo>
                    <a:pt x="8" y="36"/>
                  </a:lnTo>
                  <a:lnTo>
                    <a:pt x="8" y="23"/>
                  </a:lnTo>
                  <a:lnTo>
                    <a:pt x="13" y="16"/>
                  </a:lnTo>
                  <a:lnTo>
                    <a:pt x="8" y="0"/>
                  </a:lnTo>
                  <a:lnTo>
                    <a:pt x="21" y="0"/>
                  </a:lnTo>
                  <a:lnTo>
                    <a:pt x="35" y="23"/>
                  </a:lnTo>
                  <a:lnTo>
                    <a:pt x="21" y="36"/>
                  </a:lnTo>
                  <a:lnTo>
                    <a:pt x="35" y="53"/>
                  </a:lnTo>
                  <a:lnTo>
                    <a:pt x="42" y="75"/>
                  </a:lnTo>
                  <a:lnTo>
                    <a:pt x="42" y="90"/>
                  </a:lnTo>
                  <a:lnTo>
                    <a:pt x="35" y="104"/>
                  </a:lnTo>
                  <a:lnTo>
                    <a:pt x="21" y="90"/>
                  </a:lnTo>
                  <a:lnTo>
                    <a:pt x="21" y="75"/>
                  </a:lnTo>
                  <a:lnTo>
                    <a:pt x="13" y="75"/>
                  </a:lnTo>
                  <a:lnTo>
                    <a:pt x="8" y="6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2" name="S_TUN"/>
            <p:cNvSpPr>
              <a:spLocks/>
            </p:cNvSpPr>
            <p:nvPr/>
          </p:nvSpPr>
          <p:spPr bwMode="auto">
            <a:xfrm>
              <a:off x="4910618" y="3095625"/>
              <a:ext cx="104379" cy="238125"/>
            </a:xfrm>
            <a:custGeom>
              <a:avLst/>
              <a:gdLst>
                <a:gd name="T0" fmla="*/ 219556011 w 50"/>
                <a:gd name="T1" fmla="*/ 309783962 h 114"/>
                <a:gd name="T2" fmla="*/ 219556011 w 50"/>
                <a:gd name="T3" fmla="*/ 344688065 h 114"/>
                <a:gd name="T4" fmla="*/ 171254751 w 50"/>
                <a:gd name="T5" fmla="*/ 440677480 h 114"/>
                <a:gd name="T6" fmla="*/ 171254751 w 50"/>
                <a:gd name="T7" fmla="*/ 475583671 h 114"/>
                <a:gd name="T8" fmla="*/ 131733600 w 50"/>
                <a:gd name="T9" fmla="*/ 497399257 h 114"/>
                <a:gd name="T10" fmla="*/ 131733600 w 50"/>
                <a:gd name="T11" fmla="*/ 379594256 h 114"/>
                <a:gd name="T12" fmla="*/ 39521134 w 50"/>
                <a:gd name="T13" fmla="*/ 344688065 h 114"/>
                <a:gd name="T14" fmla="*/ 0 w 50"/>
                <a:gd name="T15" fmla="*/ 279241306 h 114"/>
                <a:gd name="T16" fmla="*/ 65865752 w 50"/>
                <a:gd name="T17" fmla="*/ 183251825 h 114"/>
                <a:gd name="T18" fmla="*/ 39521134 w 50"/>
                <a:gd name="T19" fmla="*/ 34906208 h 114"/>
                <a:gd name="T20" fmla="*/ 65865752 w 50"/>
                <a:gd name="T21" fmla="*/ 0 h 114"/>
                <a:gd name="T22" fmla="*/ 171254751 w 50"/>
                <a:gd name="T23" fmla="*/ 0 h 114"/>
                <a:gd name="T24" fmla="*/ 193209298 w 50"/>
                <a:gd name="T25" fmla="*/ 34906208 h 114"/>
                <a:gd name="T26" fmla="*/ 219556011 w 50"/>
                <a:gd name="T27" fmla="*/ 0 h 114"/>
                <a:gd name="T28" fmla="*/ 193209298 w 50"/>
                <a:gd name="T29" fmla="*/ 65446775 h 114"/>
                <a:gd name="T30" fmla="*/ 219556011 w 50"/>
                <a:gd name="T31" fmla="*/ 148347723 h 114"/>
                <a:gd name="T32" fmla="*/ 171254751 w 50"/>
                <a:gd name="T33" fmla="*/ 222521552 h 114"/>
                <a:gd name="T34" fmla="*/ 171254751 w 50"/>
                <a:gd name="T35" fmla="*/ 279241306 h 114"/>
                <a:gd name="T36" fmla="*/ 219556011 w 50"/>
                <a:gd name="T37" fmla="*/ 279241306 h 114"/>
                <a:gd name="T38" fmla="*/ 219556011 w 50"/>
                <a:gd name="T39" fmla="*/ 309783962 h 114"/>
                <a:gd name="T40" fmla="*/ 219556011 w 50"/>
                <a:gd name="T41" fmla="*/ 309783962 h 114"/>
                <a:gd name="T42" fmla="*/ 219556011 w 50"/>
                <a:gd name="T43" fmla="*/ 309783962 h 1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0"/>
                <a:gd name="T67" fmla="*/ 0 h 114"/>
                <a:gd name="T68" fmla="*/ 50 w 50"/>
                <a:gd name="T69" fmla="*/ 114 h 1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0" h="114">
                  <a:moveTo>
                    <a:pt x="50" y="71"/>
                  </a:moveTo>
                  <a:lnTo>
                    <a:pt x="50" y="79"/>
                  </a:lnTo>
                  <a:lnTo>
                    <a:pt x="39" y="101"/>
                  </a:lnTo>
                  <a:lnTo>
                    <a:pt x="39" y="109"/>
                  </a:lnTo>
                  <a:lnTo>
                    <a:pt x="30" y="114"/>
                  </a:lnTo>
                  <a:lnTo>
                    <a:pt x="30" y="87"/>
                  </a:lnTo>
                  <a:lnTo>
                    <a:pt x="9" y="79"/>
                  </a:lnTo>
                  <a:lnTo>
                    <a:pt x="0" y="64"/>
                  </a:lnTo>
                  <a:lnTo>
                    <a:pt x="15" y="42"/>
                  </a:lnTo>
                  <a:lnTo>
                    <a:pt x="9" y="8"/>
                  </a:lnTo>
                  <a:lnTo>
                    <a:pt x="15" y="0"/>
                  </a:lnTo>
                  <a:lnTo>
                    <a:pt x="39" y="0"/>
                  </a:lnTo>
                  <a:lnTo>
                    <a:pt x="44" y="8"/>
                  </a:lnTo>
                  <a:lnTo>
                    <a:pt x="50" y="0"/>
                  </a:lnTo>
                  <a:lnTo>
                    <a:pt x="44" y="15"/>
                  </a:lnTo>
                  <a:lnTo>
                    <a:pt x="50" y="34"/>
                  </a:lnTo>
                  <a:lnTo>
                    <a:pt x="39" y="51"/>
                  </a:lnTo>
                  <a:lnTo>
                    <a:pt x="39" y="64"/>
                  </a:lnTo>
                  <a:lnTo>
                    <a:pt x="50" y="64"/>
                  </a:lnTo>
                  <a:lnTo>
                    <a:pt x="50" y="7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3" name="S_CAF"/>
            <p:cNvSpPr>
              <a:spLocks/>
            </p:cNvSpPr>
            <p:nvPr/>
          </p:nvSpPr>
          <p:spPr bwMode="auto">
            <a:xfrm>
              <a:off x="5109886" y="3962400"/>
              <a:ext cx="375172" cy="247650"/>
            </a:xfrm>
            <a:custGeom>
              <a:avLst/>
              <a:gdLst>
                <a:gd name="T0" fmla="*/ 507852715 w 176"/>
                <a:gd name="T1" fmla="*/ 0 h 119"/>
                <a:gd name="T2" fmla="*/ 556857981 w 176"/>
                <a:gd name="T3" fmla="*/ 90949992 h 119"/>
                <a:gd name="T4" fmla="*/ 556857981 w 176"/>
                <a:gd name="T5" fmla="*/ 160244142 h 119"/>
                <a:gd name="T6" fmla="*/ 619225657 w 176"/>
                <a:gd name="T7" fmla="*/ 194892241 h 119"/>
                <a:gd name="T8" fmla="*/ 784054967 w 176"/>
                <a:gd name="T9" fmla="*/ 385453729 h 119"/>
                <a:gd name="T10" fmla="*/ 530128544 w 176"/>
                <a:gd name="T11" fmla="*/ 385453729 h 119"/>
                <a:gd name="T12" fmla="*/ 507852715 w 176"/>
                <a:gd name="T13" fmla="*/ 454749927 h 119"/>
                <a:gd name="T14" fmla="*/ 378663886 w 176"/>
                <a:gd name="T15" fmla="*/ 454749927 h 119"/>
                <a:gd name="T16" fmla="*/ 343023405 w 176"/>
                <a:gd name="T17" fmla="*/ 385453729 h 119"/>
                <a:gd name="T18" fmla="*/ 311840622 w 176"/>
                <a:gd name="T19" fmla="*/ 385453729 h 119"/>
                <a:gd name="T20" fmla="*/ 253926358 w 176"/>
                <a:gd name="T21" fmla="*/ 485065193 h 119"/>
                <a:gd name="T22" fmla="*/ 164829376 w 176"/>
                <a:gd name="T23" fmla="*/ 515382540 h 119"/>
                <a:gd name="T24" fmla="*/ 133646560 w 176"/>
                <a:gd name="T25" fmla="*/ 515382540 h 119"/>
                <a:gd name="T26" fmla="*/ 35638387 w 176"/>
                <a:gd name="T27" fmla="*/ 385453729 h 119"/>
                <a:gd name="T28" fmla="*/ 0 w 176"/>
                <a:gd name="T29" fmla="*/ 363799968 h 119"/>
                <a:gd name="T30" fmla="*/ 93552602 w 176"/>
                <a:gd name="T31" fmla="*/ 259857687 h 119"/>
                <a:gd name="T32" fmla="*/ 311840622 w 176"/>
                <a:gd name="T33" fmla="*/ 160244142 h 119"/>
                <a:gd name="T34" fmla="*/ 253926358 w 176"/>
                <a:gd name="T35" fmla="*/ 160244142 h 119"/>
                <a:gd name="T36" fmla="*/ 378663886 w 176"/>
                <a:gd name="T37" fmla="*/ 129928843 h 119"/>
                <a:gd name="T38" fmla="*/ 507852715 w 176"/>
                <a:gd name="T39" fmla="*/ 0 h 119"/>
                <a:gd name="T40" fmla="*/ 507852715 w 176"/>
                <a:gd name="T41" fmla="*/ 0 h 119"/>
                <a:gd name="T42" fmla="*/ 507852715 w 176"/>
                <a:gd name="T43" fmla="*/ 0 h 11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6"/>
                <a:gd name="T67" fmla="*/ 0 h 119"/>
                <a:gd name="T68" fmla="*/ 176 w 176"/>
                <a:gd name="T69" fmla="*/ 119 h 11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6" h="119">
                  <a:moveTo>
                    <a:pt x="114" y="0"/>
                  </a:moveTo>
                  <a:lnTo>
                    <a:pt x="125" y="21"/>
                  </a:lnTo>
                  <a:lnTo>
                    <a:pt x="125" y="37"/>
                  </a:lnTo>
                  <a:lnTo>
                    <a:pt x="139" y="45"/>
                  </a:lnTo>
                  <a:lnTo>
                    <a:pt x="176" y="89"/>
                  </a:lnTo>
                  <a:lnTo>
                    <a:pt x="119" y="89"/>
                  </a:lnTo>
                  <a:lnTo>
                    <a:pt x="114" y="105"/>
                  </a:lnTo>
                  <a:lnTo>
                    <a:pt x="85" y="105"/>
                  </a:lnTo>
                  <a:lnTo>
                    <a:pt x="77" y="89"/>
                  </a:lnTo>
                  <a:lnTo>
                    <a:pt x="70" y="89"/>
                  </a:lnTo>
                  <a:lnTo>
                    <a:pt x="57" y="112"/>
                  </a:lnTo>
                  <a:lnTo>
                    <a:pt x="37" y="119"/>
                  </a:lnTo>
                  <a:lnTo>
                    <a:pt x="30" y="119"/>
                  </a:lnTo>
                  <a:lnTo>
                    <a:pt x="8" y="89"/>
                  </a:lnTo>
                  <a:lnTo>
                    <a:pt x="0" y="84"/>
                  </a:lnTo>
                  <a:lnTo>
                    <a:pt x="21" y="60"/>
                  </a:lnTo>
                  <a:lnTo>
                    <a:pt x="70" y="37"/>
                  </a:lnTo>
                  <a:lnTo>
                    <a:pt x="57" y="37"/>
                  </a:lnTo>
                  <a:lnTo>
                    <a:pt x="85" y="3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4" name="S_RWA"/>
            <p:cNvSpPr>
              <a:spLocks/>
            </p:cNvSpPr>
            <p:nvPr/>
          </p:nvSpPr>
          <p:spPr bwMode="auto">
            <a:xfrm>
              <a:off x="5510212" y="4333875"/>
              <a:ext cx="66423" cy="57150"/>
            </a:xfrm>
            <a:custGeom>
              <a:avLst/>
              <a:gdLst>
                <a:gd name="T0" fmla="*/ 153295053 w 29"/>
                <a:gd name="T1" fmla="*/ 120967499 h 27"/>
                <a:gd name="T2" fmla="*/ 0 w 29"/>
                <a:gd name="T3" fmla="*/ 120967499 h 27"/>
                <a:gd name="T4" fmla="*/ 153295053 w 29"/>
                <a:gd name="T5" fmla="*/ 0 h 27"/>
                <a:gd name="T6" fmla="*/ 153295053 w 29"/>
                <a:gd name="T7" fmla="*/ 120967499 h 27"/>
                <a:gd name="T8" fmla="*/ 153295053 w 29"/>
                <a:gd name="T9" fmla="*/ 120967499 h 27"/>
                <a:gd name="T10" fmla="*/ 153295053 w 29"/>
                <a:gd name="T11" fmla="*/ 120967499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27"/>
                <a:gd name="T20" fmla="*/ 29 w 29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27">
                  <a:moveTo>
                    <a:pt x="29" y="27"/>
                  </a:moveTo>
                  <a:lnTo>
                    <a:pt x="0" y="27"/>
                  </a:lnTo>
                  <a:lnTo>
                    <a:pt x="29" y="0"/>
                  </a:lnTo>
                  <a:lnTo>
                    <a:pt x="29" y="2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5" name="S_THA"/>
            <p:cNvSpPr>
              <a:spLocks/>
            </p:cNvSpPr>
            <p:nvPr/>
          </p:nvSpPr>
          <p:spPr bwMode="auto">
            <a:xfrm>
              <a:off x="7460815" y="3667125"/>
              <a:ext cx="218246" cy="466725"/>
            </a:xfrm>
            <a:custGeom>
              <a:avLst/>
              <a:gdLst>
                <a:gd name="T0" fmla="*/ 155305237 w 104"/>
                <a:gd name="T1" fmla="*/ 0 h 220"/>
                <a:gd name="T2" fmla="*/ 0 w 104"/>
                <a:gd name="T3" fmla="*/ 67509648 h 220"/>
                <a:gd name="T4" fmla="*/ 0 w 104"/>
                <a:gd name="T5" fmla="*/ 157523953 h 220"/>
                <a:gd name="T6" fmla="*/ 57684132 w 104"/>
                <a:gd name="T7" fmla="*/ 270040712 h 220"/>
                <a:gd name="T8" fmla="*/ 57684132 w 104"/>
                <a:gd name="T9" fmla="*/ 369054338 h 220"/>
                <a:gd name="T10" fmla="*/ 97621088 w 104"/>
                <a:gd name="T11" fmla="*/ 445565395 h 220"/>
                <a:gd name="T12" fmla="*/ 124245012 w 104"/>
                <a:gd name="T13" fmla="*/ 576085137 h 220"/>
                <a:gd name="T14" fmla="*/ 57684132 w 104"/>
                <a:gd name="T15" fmla="*/ 738108676 h 220"/>
                <a:gd name="T16" fmla="*/ 57684132 w 104"/>
                <a:gd name="T17" fmla="*/ 810120081 h 220"/>
                <a:gd name="T18" fmla="*/ 155305237 w 104"/>
                <a:gd name="T19" fmla="*/ 954140768 h 220"/>
                <a:gd name="T20" fmla="*/ 155305237 w 104"/>
                <a:gd name="T21" fmla="*/ 904633988 h 220"/>
                <a:gd name="T22" fmla="*/ 186367535 w 104"/>
                <a:gd name="T23" fmla="*/ 954140768 h 220"/>
                <a:gd name="T24" fmla="*/ 252926292 w 104"/>
                <a:gd name="T25" fmla="*/ 990146471 h 220"/>
                <a:gd name="T26" fmla="*/ 275111842 w 104"/>
                <a:gd name="T27" fmla="*/ 954140768 h 220"/>
                <a:gd name="T28" fmla="*/ 252926292 w 104"/>
                <a:gd name="T29" fmla="*/ 904633988 h 220"/>
                <a:gd name="T30" fmla="*/ 155305237 w 104"/>
                <a:gd name="T31" fmla="*/ 904633988 h 220"/>
                <a:gd name="T32" fmla="*/ 124245012 w 104"/>
                <a:gd name="T33" fmla="*/ 738108676 h 220"/>
                <a:gd name="T34" fmla="*/ 97621088 w 104"/>
                <a:gd name="T35" fmla="*/ 738108676 h 220"/>
                <a:gd name="T36" fmla="*/ 97621088 w 104"/>
                <a:gd name="T37" fmla="*/ 702102974 h 220"/>
                <a:gd name="T38" fmla="*/ 124245012 w 104"/>
                <a:gd name="T39" fmla="*/ 576085137 h 220"/>
                <a:gd name="T40" fmla="*/ 124245012 w 104"/>
                <a:gd name="T41" fmla="*/ 468070019 h 220"/>
                <a:gd name="T42" fmla="*/ 186367535 w 104"/>
                <a:gd name="T43" fmla="*/ 468070019 h 220"/>
                <a:gd name="T44" fmla="*/ 186367535 w 104"/>
                <a:gd name="T45" fmla="*/ 535579650 h 220"/>
                <a:gd name="T46" fmla="*/ 252926292 w 104"/>
                <a:gd name="T47" fmla="*/ 535579650 h 220"/>
                <a:gd name="T48" fmla="*/ 310610474 w 104"/>
                <a:gd name="T49" fmla="*/ 612090840 h 220"/>
                <a:gd name="T50" fmla="*/ 310610474 w 104"/>
                <a:gd name="T51" fmla="*/ 576085137 h 220"/>
                <a:gd name="T52" fmla="*/ 275111842 w 104"/>
                <a:gd name="T53" fmla="*/ 468070019 h 220"/>
                <a:gd name="T54" fmla="*/ 310610474 w 104"/>
                <a:gd name="T55" fmla="*/ 391558963 h 220"/>
                <a:gd name="T56" fmla="*/ 461479377 w 104"/>
                <a:gd name="T57" fmla="*/ 391558963 h 220"/>
                <a:gd name="T58" fmla="*/ 461479377 w 104"/>
                <a:gd name="T59" fmla="*/ 333048636 h 220"/>
                <a:gd name="T60" fmla="*/ 350547413 w 104"/>
                <a:gd name="T61" fmla="*/ 144020754 h 220"/>
                <a:gd name="T62" fmla="*/ 186367535 w 104"/>
                <a:gd name="T63" fmla="*/ 202528959 h 220"/>
                <a:gd name="T64" fmla="*/ 186367535 w 104"/>
                <a:gd name="T65" fmla="*/ 67509648 h 220"/>
                <a:gd name="T66" fmla="*/ 155305237 w 104"/>
                <a:gd name="T67" fmla="*/ 45007144 h 220"/>
                <a:gd name="T68" fmla="*/ 155305237 w 104"/>
                <a:gd name="T69" fmla="*/ 0 h 220"/>
                <a:gd name="T70" fmla="*/ 155305237 w 104"/>
                <a:gd name="T71" fmla="*/ 0 h 220"/>
                <a:gd name="T72" fmla="*/ 155305237 w 104"/>
                <a:gd name="T73" fmla="*/ 0 h 22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4"/>
                <a:gd name="T112" fmla="*/ 0 h 220"/>
                <a:gd name="T113" fmla="*/ 104 w 104"/>
                <a:gd name="T114" fmla="*/ 220 h 22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4" h="220">
                  <a:moveTo>
                    <a:pt x="35" y="0"/>
                  </a:moveTo>
                  <a:lnTo>
                    <a:pt x="0" y="15"/>
                  </a:lnTo>
                  <a:lnTo>
                    <a:pt x="0" y="35"/>
                  </a:lnTo>
                  <a:lnTo>
                    <a:pt x="13" y="60"/>
                  </a:lnTo>
                  <a:lnTo>
                    <a:pt x="13" y="82"/>
                  </a:lnTo>
                  <a:lnTo>
                    <a:pt x="22" y="99"/>
                  </a:lnTo>
                  <a:lnTo>
                    <a:pt x="28" y="128"/>
                  </a:lnTo>
                  <a:lnTo>
                    <a:pt x="13" y="164"/>
                  </a:lnTo>
                  <a:lnTo>
                    <a:pt x="13" y="180"/>
                  </a:lnTo>
                  <a:lnTo>
                    <a:pt x="35" y="212"/>
                  </a:lnTo>
                  <a:lnTo>
                    <a:pt x="35" y="201"/>
                  </a:lnTo>
                  <a:lnTo>
                    <a:pt x="42" y="212"/>
                  </a:lnTo>
                  <a:lnTo>
                    <a:pt x="57" y="220"/>
                  </a:lnTo>
                  <a:lnTo>
                    <a:pt x="62" y="212"/>
                  </a:lnTo>
                  <a:lnTo>
                    <a:pt x="57" y="201"/>
                  </a:lnTo>
                  <a:lnTo>
                    <a:pt x="35" y="201"/>
                  </a:lnTo>
                  <a:lnTo>
                    <a:pt x="28" y="164"/>
                  </a:lnTo>
                  <a:lnTo>
                    <a:pt x="22" y="164"/>
                  </a:lnTo>
                  <a:lnTo>
                    <a:pt x="22" y="156"/>
                  </a:lnTo>
                  <a:lnTo>
                    <a:pt x="28" y="128"/>
                  </a:lnTo>
                  <a:lnTo>
                    <a:pt x="28" y="104"/>
                  </a:lnTo>
                  <a:lnTo>
                    <a:pt x="42" y="104"/>
                  </a:lnTo>
                  <a:lnTo>
                    <a:pt x="42" y="119"/>
                  </a:lnTo>
                  <a:lnTo>
                    <a:pt x="57" y="119"/>
                  </a:lnTo>
                  <a:lnTo>
                    <a:pt x="70" y="136"/>
                  </a:lnTo>
                  <a:lnTo>
                    <a:pt x="70" y="128"/>
                  </a:lnTo>
                  <a:lnTo>
                    <a:pt x="62" y="104"/>
                  </a:lnTo>
                  <a:lnTo>
                    <a:pt x="70" y="87"/>
                  </a:lnTo>
                  <a:lnTo>
                    <a:pt x="104" y="87"/>
                  </a:lnTo>
                  <a:lnTo>
                    <a:pt x="104" y="74"/>
                  </a:lnTo>
                  <a:lnTo>
                    <a:pt x="79" y="32"/>
                  </a:lnTo>
                  <a:lnTo>
                    <a:pt x="42" y="45"/>
                  </a:lnTo>
                  <a:lnTo>
                    <a:pt x="42" y="15"/>
                  </a:lnTo>
                  <a:lnTo>
                    <a:pt x="35" y="1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6" name="S_VNM"/>
            <p:cNvSpPr>
              <a:spLocks/>
            </p:cNvSpPr>
            <p:nvPr/>
          </p:nvSpPr>
          <p:spPr bwMode="auto">
            <a:xfrm>
              <a:off x="7593661" y="3590925"/>
              <a:ext cx="189779" cy="438150"/>
            </a:xfrm>
            <a:custGeom>
              <a:avLst/>
              <a:gdLst>
                <a:gd name="T0" fmla="*/ 0 w 92"/>
                <a:gd name="T1" fmla="*/ 34171573 h 212"/>
                <a:gd name="T2" fmla="*/ 0 w 92"/>
                <a:gd name="T3" fmla="*/ 0 h 212"/>
                <a:gd name="T4" fmla="*/ 34300358 w 92"/>
                <a:gd name="T5" fmla="*/ 34171573 h 212"/>
                <a:gd name="T6" fmla="*/ 244392848 w 92"/>
                <a:gd name="T7" fmla="*/ 0 h 212"/>
                <a:gd name="T8" fmla="*/ 244392848 w 92"/>
                <a:gd name="T9" fmla="*/ 72615107 h 212"/>
                <a:gd name="T10" fmla="*/ 338721441 w 92"/>
                <a:gd name="T11" fmla="*/ 72615107 h 212"/>
                <a:gd name="T12" fmla="*/ 244392848 w 92"/>
                <a:gd name="T13" fmla="*/ 93970780 h 212"/>
                <a:gd name="T14" fmla="*/ 214380825 w 92"/>
                <a:gd name="T15" fmla="*/ 192215588 h 212"/>
                <a:gd name="T16" fmla="*/ 180078413 w 92"/>
                <a:gd name="T17" fmla="*/ 230657039 h 212"/>
                <a:gd name="T18" fmla="*/ 394459238 w 92"/>
                <a:gd name="T19" fmla="*/ 580914655 h 212"/>
                <a:gd name="T20" fmla="*/ 364445144 w 92"/>
                <a:gd name="T21" fmla="*/ 747500477 h 212"/>
                <a:gd name="T22" fmla="*/ 265830303 w 92"/>
                <a:gd name="T23" fmla="*/ 798757812 h 212"/>
                <a:gd name="T24" fmla="*/ 244392848 w 92"/>
                <a:gd name="T25" fmla="*/ 798757812 h 212"/>
                <a:gd name="T26" fmla="*/ 214380825 w 92"/>
                <a:gd name="T27" fmla="*/ 875644848 h 212"/>
                <a:gd name="T28" fmla="*/ 150066390 w 92"/>
                <a:gd name="T29" fmla="*/ 905544443 h 212"/>
                <a:gd name="T30" fmla="*/ 150066390 w 92"/>
                <a:gd name="T31" fmla="*/ 841473291 h 212"/>
                <a:gd name="T32" fmla="*/ 98614809 w 92"/>
                <a:gd name="T33" fmla="*/ 798757812 h 212"/>
                <a:gd name="T34" fmla="*/ 265830303 w 92"/>
                <a:gd name="T35" fmla="*/ 674887469 h 212"/>
                <a:gd name="T36" fmla="*/ 265830303 w 92"/>
                <a:gd name="T37" fmla="*/ 482671817 h 212"/>
                <a:gd name="T38" fmla="*/ 214380825 w 92"/>
                <a:gd name="T39" fmla="*/ 388701070 h 212"/>
                <a:gd name="T40" fmla="*/ 214380825 w 92"/>
                <a:gd name="T41" fmla="*/ 350257552 h 212"/>
                <a:gd name="T42" fmla="*/ 55737813 w 92"/>
                <a:gd name="T43" fmla="*/ 230657039 h 212"/>
                <a:gd name="T44" fmla="*/ 150066390 w 92"/>
                <a:gd name="T45" fmla="*/ 192215588 h 212"/>
                <a:gd name="T46" fmla="*/ 98614809 w 92"/>
                <a:gd name="T47" fmla="*/ 166585887 h 212"/>
                <a:gd name="T48" fmla="*/ 34300358 w 92"/>
                <a:gd name="T49" fmla="*/ 93970780 h 212"/>
                <a:gd name="T50" fmla="*/ 0 w 92"/>
                <a:gd name="T51" fmla="*/ 34171573 h 212"/>
                <a:gd name="T52" fmla="*/ 0 w 92"/>
                <a:gd name="T53" fmla="*/ 34171573 h 212"/>
                <a:gd name="T54" fmla="*/ 0 w 92"/>
                <a:gd name="T55" fmla="*/ 34171573 h 21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2"/>
                <a:gd name="T85" fmla="*/ 0 h 212"/>
                <a:gd name="T86" fmla="*/ 92 w 92"/>
                <a:gd name="T87" fmla="*/ 212 h 21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2" h="212">
                  <a:moveTo>
                    <a:pt x="0" y="8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57" y="0"/>
                  </a:lnTo>
                  <a:lnTo>
                    <a:pt x="57" y="17"/>
                  </a:lnTo>
                  <a:lnTo>
                    <a:pt x="79" y="17"/>
                  </a:lnTo>
                  <a:lnTo>
                    <a:pt x="57" y="22"/>
                  </a:lnTo>
                  <a:lnTo>
                    <a:pt x="50" y="45"/>
                  </a:lnTo>
                  <a:lnTo>
                    <a:pt x="42" y="54"/>
                  </a:lnTo>
                  <a:lnTo>
                    <a:pt x="92" y="136"/>
                  </a:lnTo>
                  <a:lnTo>
                    <a:pt x="85" y="175"/>
                  </a:lnTo>
                  <a:lnTo>
                    <a:pt x="62" y="187"/>
                  </a:lnTo>
                  <a:lnTo>
                    <a:pt x="57" y="187"/>
                  </a:lnTo>
                  <a:lnTo>
                    <a:pt x="50" y="205"/>
                  </a:lnTo>
                  <a:lnTo>
                    <a:pt x="35" y="212"/>
                  </a:lnTo>
                  <a:lnTo>
                    <a:pt x="35" y="197"/>
                  </a:lnTo>
                  <a:lnTo>
                    <a:pt x="23" y="187"/>
                  </a:lnTo>
                  <a:lnTo>
                    <a:pt x="62" y="158"/>
                  </a:lnTo>
                  <a:lnTo>
                    <a:pt x="62" y="113"/>
                  </a:lnTo>
                  <a:lnTo>
                    <a:pt x="50" y="91"/>
                  </a:lnTo>
                  <a:lnTo>
                    <a:pt x="50" y="82"/>
                  </a:lnTo>
                  <a:lnTo>
                    <a:pt x="13" y="54"/>
                  </a:lnTo>
                  <a:lnTo>
                    <a:pt x="35" y="45"/>
                  </a:lnTo>
                  <a:lnTo>
                    <a:pt x="23" y="39"/>
                  </a:lnTo>
                  <a:lnTo>
                    <a:pt x="8" y="2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7" name="S_KHM"/>
            <p:cNvSpPr>
              <a:spLocks/>
            </p:cNvSpPr>
            <p:nvPr/>
          </p:nvSpPr>
          <p:spPr bwMode="auto">
            <a:xfrm>
              <a:off x="7593661" y="3857625"/>
              <a:ext cx="132845" cy="123825"/>
            </a:xfrm>
            <a:custGeom>
              <a:avLst/>
              <a:gdLst>
                <a:gd name="T0" fmla="*/ 96801829 w 65"/>
                <a:gd name="T1" fmla="*/ 255543843 h 60"/>
                <a:gd name="T2" fmla="*/ 273572654 w 65"/>
                <a:gd name="T3" fmla="*/ 132030469 h 60"/>
                <a:gd name="T4" fmla="*/ 273572654 w 65"/>
                <a:gd name="T5" fmla="*/ 0 h 60"/>
                <a:gd name="T6" fmla="*/ 218858084 w 65"/>
                <a:gd name="T7" fmla="*/ 0 h 60"/>
                <a:gd name="T8" fmla="*/ 218858084 w 65"/>
                <a:gd name="T9" fmla="*/ 42591678 h 60"/>
                <a:gd name="T10" fmla="*/ 176770793 w 65"/>
                <a:gd name="T11" fmla="*/ 0 h 60"/>
                <a:gd name="T12" fmla="*/ 33669849 w 65"/>
                <a:gd name="T13" fmla="*/ 0 h 60"/>
                <a:gd name="T14" fmla="*/ 0 w 65"/>
                <a:gd name="T15" fmla="*/ 63885445 h 60"/>
                <a:gd name="T16" fmla="*/ 33669849 w 65"/>
                <a:gd name="T17" fmla="*/ 170362584 h 60"/>
                <a:gd name="T18" fmla="*/ 33669849 w 65"/>
                <a:gd name="T19" fmla="*/ 255543843 h 60"/>
                <a:gd name="T20" fmla="*/ 96801829 w 65"/>
                <a:gd name="T21" fmla="*/ 255543843 h 60"/>
                <a:gd name="T22" fmla="*/ 96801829 w 65"/>
                <a:gd name="T23" fmla="*/ 255543843 h 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5"/>
                <a:gd name="T37" fmla="*/ 0 h 60"/>
                <a:gd name="T38" fmla="*/ 65 w 65"/>
                <a:gd name="T39" fmla="*/ 60 h 6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5" h="60">
                  <a:moveTo>
                    <a:pt x="23" y="60"/>
                  </a:moveTo>
                  <a:lnTo>
                    <a:pt x="65" y="31"/>
                  </a:lnTo>
                  <a:lnTo>
                    <a:pt x="65" y="0"/>
                  </a:lnTo>
                  <a:lnTo>
                    <a:pt x="52" y="0"/>
                  </a:lnTo>
                  <a:lnTo>
                    <a:pt x="52" y="10"/>
                  </a:lnTo>
                  <a:lnTo>
                    <a:pt x="42" y="0"/>
                  </a:lnTo>
                  <a:lnTo>
                    <a:pt x="8" y="0"/>
                  </a:lnTo>
                  <a:lnTo>
                    <a:pt x="0" y="15"/>
                  </a:lnTo>
                  <a:lnTo>
                    <a:pt x="8" y="40"/>
                  </a:lnTo>
                  <a:lnTo>
                    <a:pt x="8" y="60"/>
                  </a:lnTo>
                  <a:lnTo>
                    <a:pt x="23" y="6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08" name="S_MYS"/>
            <p:cNvGrpSpPr>
              <a:grpSpLocks/>
            </p:cNvGrpSpPr>
            <p:nvPr/>
          </p:nvGrpSpPr>
          <p:grpSpPr bwMode="auto">
            <a:xfrm>
              <a:off x="7536727" y="4095750"/>
              <a:ext cx="533171" cy="171450"/>
              <a:chOff x="7536727" y="4095750"/>
              <a:chExt cx="56" cy="18"/>
            </a:xfrm>
            <a:solidFill>
              <a:schemeClr val="bg1">
                <a:lumMod val="75000"/>
              </a:schemeClr>
            </a:solidFill>
          </p:grpSpPr>
          <p:sp>
            <p:nvSpPr>
              <p:cNvPr id="347" name="Freeform 346"/>
              <p:cNvSpPr>
                <a:spLocks/>
              </p:cNvSpPr>
              <p:nvPr/>
            </p:nvSpPr>
            <p:spPr bwMode="auto">
              <a:xfrm>
                <a:off x="7536727" y="4095750"/>
                <a:ext cx="11" cy="18"/>
              </a:xfrm>
              <a:custGeom>
                <a:avLst/>
                <a:gdLst>
                  <a:gd name="T0" fmla="*/ 1 w 52"/>
                  <a:gd name="T1" fmla="*/ 0 h 84"/>
                  <a:gd name="T2" fmla="*/ 1 w 52"/>
                  <a:gd name="T3" fmla="*/ 1 h 84"/>
                  <a:gd name="T4" fmla="*/ 0 w 52"/>
                  <a:gd name="T5" fmla="*/ 0 h 84"/>
                  <a:gd name="T6" fmla="*/ 0 w 52"/>
                  <a:gd name="T7" fmla="*/ 0 h 84"/>
                  <a:gd name="T8" fmla="*/ 0 w 52"/>
                  <a:gd name="T9" fmla="*/ 2 h 84"/>
                  <a:gd name="T10" fmla="*/ 1 w 52"/>
                  <a:gd name="T11" fmla="*/ 2 h 84"/>
                  <a:gd name="T12" fmla="*/ 2 w 52"/>
                  <a:gd name="T13" fmla="*/ 4 h 84"/>
                  <a:gd name="T14" fmla="*/ 2 w 52"/>
                  <a:gd name="T15" fmla="*/ 4 h 84"/>
                  <a:gd name="T16" fmla="*/ 2 w 52"/>
                  <a:gd name="T17" fmla="*/ 2 h 84"/>
                  <a:gd name="T18" fmla="*/ 2 w 52"/>
                  <a:gd name="T19" fmla="*/ 1 h 84"/>
                  <a:gd name="T20" fmla="*/ 1 w 52"/>
                  <a:gd name="T21" fmla="*/ 0 h 84"/>
                  <a:gd name="T22" fmla="*/ 1 w 52"/>
                  <a:gd name="T23" fmla="*/ 0 h 84"/>
                  <a:gd name="T24" fmla="*/ 1 w 52"/>
                  <a:gd name="T25" fmla="*/ 0 h 8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"/>
                  <a:gd name="T40" fmla="*/ 0 h 84"/>
                  <a:gd name="T41" fmla="*/ 52 w 52"/>
                  <a:gd name="T42" fmla="*/ 84 h 8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" h="84">
                    <a:moveTo>
                      <a:pt x="29" y="9"/>
                    </a:moveTo>
                    <a:lnTo>
                      <a:pt x="24" y="17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24" y="52"/>
                    </a:lnTo>
                    <a:lnTo>
                      <a:pt x="44" y="84"/>
                    </a:lnTo>
                    <a:lnTo>
                      <a:pt x="52" y="84"/>
                    </a:lnTo>
                    <a:lnTo>
                      <a:pt x="44" y="52"/>
                    </a:lnTo>
                    <a:lnTo>
                      <a:pt x="44" y="22"/>
                    </a:lnTo>
                    <a:lnTo>
                      <a:pt x="29" y="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8" name="Freeform 347"/>
              <p:cNvSpPr>
                <a:spLocks/>
              </p:cNvSpPr>
              <p:nvPr/>
            </p:nvSpPr>
            <p:spPr bwMode="auto">
              <a:xfrm>
                <a:off x="7536753" y="4095750"/>
                <a:ext cx="30" cy="18"/>
              </a:xfrm>
              <a:custGeom>
                <a:avLst/>
                <a:gdLst>
                  <a:gd name="T0" fmla="*/ 4 w 136"/>
                  <a:gd name="T1" fmla="*/ 1 h 84"/>
                  <a:gd name="T2" fmla="*/ 4 w 136"/>
                  <a:gd name="T3" fmla="*/ 1 h 84"/>
                  <a:gd name="T4" fmla="*/ 4 w 136"/>
                  <a:gd name="T5" fmla="*/ 2 h 84"/>
                  <a:gd name="T6" fmla="*/ 3 w 136"/>
                  <a:gd name="T7" fmla="*/ 2 h 84"/>
                  <a:gd name="T8" fmla="*/ 2 w 136"/>
                  <a:gd name="T9" fmla="*/ 2 h 84"/>
                  <a:gd name="T10" fmla="*/ 1 w 136"/>
                  <a:gd name="T11" fmla="*/ 2 h 84"/>
                  <a:gd name="T12" fmla="*/ 1 w 136"/>
                  <a:gd name="T13" fmla="*/ 3 h 84"/>
                  <a:gd name="T14" fmla="*/ 0 w 136"/>
                  <a:gd name="T15" fmla="*/ 3 h 84"/>
                  <a:gd name="T16" fmla="*/ 1 w 136"/>
                  <a:gd name="T17" fmla="*/ 4 h 84"/>
                  <a:gd name="T18" fmla="*/ 2 w 136"/>
                  <a:gd name="T19" fmla="*/ 4 h 84"/>
                  <a:gd name="T20" fmla="*/ 2 w 136"/>
                  <a:gd name="T21" fmla="*/ 3 h 84"/>
                  <a:gd name="T22" fmla="*/ 3 w 136"/>
                  <a:gd name="T23" fmla="*/ 4 h 84"/>
                  <a:gd name="T24" fmla="*/ 3 w 136"/>
                  <a:gd name="T25" fmla="*/ 3 h 84"/>
                  <a:gd name="T26" fmla="*/ 4 w 136"/>
                  <a:gd name="T27" fmla="*/ 2 h 84"/>
                  <a:gd name="T28" fmla="*/ 6 w 136"/>
                  <a:gd name="T29" fmla="*/ 2 h 84"/>
                  <a:gd name="T30" fmla="*/ 6 w 136"/>
                  <a:gd name="T31" fmla="*/ 1 h 84"/>
                  <a:gd name="T32" fmla="*/ 7 w 136"/>
                  <a:gd name="T33" fmla="*/ 1 h 84"/>
                  <a:gd name="T34" fmla="*/ 6 w 136"/>
                  <a:gd name="T35" fmla="*/ 1 h 84"/>
                  <a:gd name="T36" fmla="*/ 6 w 136"/>
                  <a:gd name="T37" fmla="*/ 0 h 84"/>
                  <a:gd name="T38" fmla="*/ 5 w 136"/>
                  <a:gd name="T39" fmla="*/ 0 h 84"/>
                  <a:gd name="T40" fmla="*/ 4 w 136"/>
                  <a:gd name="T41" fmla="*/ 1 h 84"/>
                  <a:gd name="T42" fmla="*/ 4 w 136"/>
                  <a:gd name="T43" fmla="*/ 1 h 84"/>
                  <a:gd name="T44" fmla="*/ 4 w 136"/>
                  <a:gd name="T45" fmla="*/ 1 h 84"/>
                  <a:gd name="T46" fmla="*/ 4 w 136"/>
                  <a:gd name="T47" fmla="*/ 1 h 8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6"/>
                  <a:gd name="T73" fmla="*/ 0 h 84"/>
                  <a:gd name="T74" fmla="*/ 136 w 136"/>
                  <a:gd name="T75" fmla="*/ 84 h 8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6" h="84">
                    <a:moveTo>
                      <a:pt x="77" y="22"/>
                    </a:moveTo>
                    <a:lnTo>
                      <a:pt x="85" y="22"/>
                    </a:lnTo>
                    <a:lnTo>
                      <a:pt x="77" y="39"/>
                    </a:lnTo>
                    <a:lnTo>
                      <a:pt x="55" y="39"/>
                    </a:lnTo>
                    <a:lnTo>
                      <a:pt x="45" y="52"/>
                    </a:lnTo>
                    <a:lnTo>
                      <a:pt x="28" y="52"/>
                    </a:lnTo>
                    <a:lnTo>
                      <a:pt x="28" y="76"/>
                    </a:lnTo>
                    <a:lnTo>
                      <a:pt x="0" y="76"/>
                    </a:lnTo>
                    <a:lnTo>
                      <a:pt x="12" y="84"/>
                    </a:lnTo>
                    <a:lnTo>
                      <a:pt x="34" y="84"/>
                    </a:lnTo>
                    <a:lnTo>
                      <a:pt x="45" y="76"/>
                    </a:lnTo>
                    <a:lnTo>
                      <a:pt x="55" y="84"/>
                    </a:lnTo>
                    <a:lnTo>
                      <a:pt x="70" y="76"/>
                    </a:lnTo>
                    <a:lnTo>
                      <a:pt x="90" y="39"/>
                    </a:lnTo>
                    <a:lnTo>
                      <a:pt x="127" y="39"/>
                    </a:lnTo>
                    <a:lnTo>
                      <a:pt x="119" y="22"/>
                    </a:lnTo>
                    <a:lnTo>
                      <a:pt x="136" y="22"/>
                    </a:lnTo>
                    <a:lnTo>
                      <a:pt x="112" y="17"/>
                    </a:lnTo>
                    <a:lnTo>
                      <a:pt x="112" y="9"/>
                    </a:lnTo>
                    <a:lnTo>
                      <a:pt x="97" y="0"/>
                    </a:lnTo>
                    <a:lnTo>
                      <a:pt x="85" y="17"/>
                    </a:lnTo>
                    <a:lnTo>
                      <a:pt x="77" y="2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09" name="S_AUS"/>
            <p:cNvGrpSpPr>
              <a:grpSpLocks/>
            </p:cNvGrpSpPr>
            <p:nvPr/>
          </p:nvGrpSpPr>
          <p:grpSpPr bwMode="auto">
            <a:xfrm>
              <a:off x="7845967" y="4638675"/>
              <a:ext cx="1142253" cy="1114425"/>
              <a:chOff x="7911899" y="4638675"/>
              <a:chExt cx="120" cy="117"/>
            </a:xfrm>
            <a:solidFill>
              <a:schemeClr val="bg1">
                <a:lumMod val="75000"/>
              </a:schemeClr>
            </a:solidFill>
          </p:grpSpPr>
          <p:sp>
            <p:nvSpPr>
              <p:cNvPr id="345" name="Freeform 344"/>
              <p:cNvSpPr>
                <a:spLocks/>
              </p:cNvSpPr>
              <p:nvPr/>
            </p:nvSpPr>
            <p:spPr bwMode="auto">
              <a:xfrm>
                <a:off x="7911998" y="4638782"/>
                <a:ext cx="9" cy="10"/>
              </a:xfrm>
              <a:custGeom>
                <a:avLst/>
                <a:gdLst>
                  <a:gd name="T0" fmla="*/ 0 w 40"/>
                  <a:gd name="T1" fmla="*/ 0 h 44"/>
                  <a:gd name="T2" fmla="*/ 0 w 40"/>
                  <a:gd name="T3" fmla="*/ 0 h 44"/>
                  <a:gd name="T4" fmla="*/ 0 w 40"/>
                  <a:gd name="T5" fmla="*/ 0 h 44"/>
                  <a:gd name="T6" fmla="*/ 0 w 40"/>
                  <a:gd name="T7" fmla="*/ 0 h 44"/>
                  <a:gd name="T8" fmla="*/ 0 w 40"/>
                  <a:gd name="T9" fmla="*/ 0 h 44"/>
                  <a:gd name="T10" fmla="*/ 0 w 40"/>
                  <a:gd name="T11" fmla="*/ 0 h 44"/>
                  <a:gd name="T12" fmla="*/ 0 w 40"/>
                  <a:gd name="T13" fmla="*/ 0 h 44"/>
                  <a:gd name="T14" fmla="*/ 0 w 40"/>
                  <a:gd name="T15" fmla="*/ 0 h 44"/>
                  <a:gd name="T16" fmla="*/ 0 w 40"/>
                  <a:gd name="T17" fmla="*/ 0 h 44"/>
                  <a:gd name="T18" fmla="*/ 0 w 40"/>
                  <a:gd name="T19" fmla="*/ 0 h 44"/>
                  <a:gd name="T20" fmla="*/ 0 w 40"/>
                  <a:gd name="T21" fmla="*/ 0 h 44"/>
                  <a:gd name="T22" fmla="*/ 0 w 40"/>
                  <a:gd name="T23" fmla="*/ 0 h 4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0"/>
                  <a:gd name="T37" fmla="*/ 0 h 44"/>
                  <a:gd name="T38" fmla="*/ 40 w 40"/>
                  <a:gd name="T39" fmla="*/ 44 h 4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0" h="44">
                    <a:moveTo>
                      <a:pt x="1" y="18"/>
                    </a:moveTo>
                    <a:lnTo>
                      <a:pt x="8" y="20"/>
                    </a:lnTo>
                    <a:lnTo>
                      <a:pt x="33" y="0"/>
                    </a:lnTo>
                    <a:lnTo>
                      <a:pt x="40" y="25"/>
                    </a:lnTo>
                    <a:lnTo>
                      <a:pt x="38" y="20"/>
                    </a:lnTo>
                    <a:lnTo>
                      <a:pt x="35" y="30"/>
                    </a:lnTo>
                    <a:lnTo>
                      <a:pt x="28" y="35"/>
                    </a:lnTo>
                    <a:lnTo>
                      <a:pt x="25" y="42"/>
                    </a:lnTo>
                    <a:lnTo>
                      <a:pt x="16" y="44"/>
                    </a:lnTo>
                    <a:lnTo>
                      <a:pt x="0" y="28"/>
                    </a:lnTo>
                    <a:lnTo>
                      <a:pt x="3" y="33"/>
                    </a:lnTo>
                    <a:lnTo>
                      <a:pt x="1" y="18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6" name="Freeform 345"/>
              <p:cNvSpPr>
                <a:spLocks/>
              </p:cNvSpPr>
              <p:nvPr/>
            </p:nvSpPr>
            <p:spPr bwMode="auto">
              <a:xfrm>
                <a:off x="7911899" y="4638675"/>
                <a:ext cx="120" cy="100"/>
              </a:xfrm>
              <a:custGeom>
                <a:avLst/>
                <a:gdLst>
                  <a:gd name="T0" fmla="*/ 0 w 544"/>
                  <a:gd name="T1" fmla="*/ 4 h 455"/>
                  <a:gd name="T2" fmla="*/ 1 w 544"/>
                  <a:gd name="T3" fmla="*/ 4 h 455"/>
                  <a:gd name="T4" fmla="*/ 2 w 544"/>
                  <a:gd name="T5" fmla="*/ 4 h 455"/>
                  <a:gd name="T6" fmla="*/ 3 w 544"/>
                  <a:gd name="T7" fmla="*/ 3 h 455"/>
                  <a:gd name="T8" fmla="*/ 3 w 544"/>
                  <a:gd name="T9" fmla="*/ 4 h 455"/>
                  <a:gd name="T10" fmla="*/ 3 w 544"/>
                  <a:gd name="T11" fmla="*/ 4 h 455"/>
                  <a:gd name="T12" fmla="*/ 4 w 544"/>
                  <a:gd name="T13" fmla="*/ 4 h 455"/>
                  <a:gd name="T14" fmla="*/ 4 w 544"/>
                  <a:gd name="T15" fmla="*/ 4 h 455"/>
                  <a:gd name="T16" fmla="*/ 4 w 544"/>
                  <a:gd name="T17" fmla="*/ 4 h 455"/>
                  <a:gd name="T18" fmla="*/ 4 w 544"/>
                  <a:gd name="T19" fmla="*/ 4 h 455"/>
                  <a:gd name="T20" fmla="*/ 4 w 544"/>
                  <a:gd name="T21" fmla="*/ 4 h 455"/>
                  <a:gd name="T22" fmla="*/ 4 w 544"/>
                  <a:gd name="T23" fmla="*/ 5 h 455"/>
                  <a:gd name="T24" fmla="*/ 5 w 544"/>
                  <a:gd name="T25" fmla="*/ 5 h 455"/>
                  <a:gd name="T26" fmla="*/ 5 w 544"/>
                  <a:gd name="T27" fmla="*/ 5 h 455"/>
                  <a:gd name="T28" fmla="*/ 5 w 544"/>
                  <a:gd name="T29" fmla="*/ 5 h 455"/>
                  <a:gd name="T30" fmla="*/ 5 w 544"/>
                  <a:gd name="T31" fmla="*/ 5 h 455"/>
                  <a:gd name="T32" fmla="*/ 6 w 544"/>
                  <a:gd name="T33" fmla="*/ 3 h 455"/>
                  <a:gd name="T34" fmla="*/ 6 w 544"/>
                  <a:gd name="T35" fmla="*/ 2 h 455"/>
                  <a:gd name="T36" fmla="*/ 6 w 544"/>
                  <a:gd name="T37" fmla="*/ 2 h 455"/>
                  <a:gd name="T38" fmla="*/ 5 w 544"/>
                  <a:gd name="T39" fmla="*/ 2 h 455"/>
                  <a:gd name="T40" fmla="*/ 5 w 544"/>
                  <a:gd name="T41" fmla="*/ 1 h 455"/>
                  <a:gd name="T42" fmla="*/ 5 w 544"/>
                  <a:gd name="T43" fmla="*/ 1 h 455"/>
                  <a:gd name="T44" fmla="*/ 4 w 544"/>
                  <a:gd name="T45" fmla="*/ 0 h 455"/>
                  <a:gd name="T46" fmla="*/ 4 w 544"/>
                  <a:gd name="T47" fmla="*/ 0 h 455"/>
                  <a:gd name="T48" fmla="*/ 4 w 544"/>
                  <a:gd name="T49" fmla="*/ 1 h 455"/>
                  <a:gd name="T50" fmla="*/ 3 w 544"/>
                  <a:gd name="T51" fmla="*/ 1 h 455"/>
                  <a:gd name="T52" fmla="*/ 3 w 544"/>
                  <a:gd name="T53" fmla="*/ 1 h 455"/>
                  <a:gd name="T54" fmla="*/ 3 w 544"/>
                  <a:gd name="T55" fmla="*/ 0 h 455"/>
                  <a:gd name="T56" fmla="*/ 3 w 544"/>
                  <a:gd name="T57" fmla="*/ 0 h 455"/>
                  <a:gd name="T58" fmla="*/ 3 w 544"/>
                  <a:gd name="T59" fmla="*/ 0 h 455"/>
                  <a:gd name="T60" fmla="*/ 3 w 544"/>
                  <a:gd name="T61" fmla="*/ 0 h 455"/>
                  <a:gd name="T62" fmla="*/ 3 w 544"/>
                  <a:gd name="T63" fmla="*/ 0 h 455"/>
                  <a:gd name="T64" fmla="*/ 2 w 544"/>
                  <a:gd name="T65" fmla="*/ 0 h 455"/>
                  <a:gd name="T66" fmla="*/ 2 w 544"/>
                  <a:gd name="T67" fmla="*/ 1 h 455"/>
                  <a:gd name="T68" fmla="*/ 2 w 544"/>
                  <a:gd name="T69" fmla="*/ 1 h 455"/>
                  <a:gd name="T70" fmla="*/ 2 w 544"/>
                  <a:gd name="T71" fmla="*/ 0 h 455"/>
                  <a:gd name="T72" fmla="*/ 2 w 544"/>
                  <a:gd name="T73" fmla="*/ 1 h 455"/>
                  <a:gd name="T74" fmla="*/ 2 w 544"/>
                  <a:gd name="T75" fmla="*/ 1 h 455"/>
                  <a:gd name="T76" fmla="*/ 2 w 544"/>
                  <a:gd name="T77" fmla="*/ 1 h 455"/>
                  <a:gd name="T78" fmla="*/ 1 w 544"/>
                  <a:gd name="T79" fmla="*/ 1 h 455"/>
                  <a:gd name="T80" fmla="*/ 1 w 544"/>
                  <a:gd name="T81" fmla="*/ 1 h 455"/>
                  <a:gd name="T82" fmla="*/ 0 w 544"/>
                  <a:gd name="T83" fmla="*/ 2 h 455"/>
                  <a:gd name="T84" fmla="*/ 0 w 544"/>
                  <a:gd name="T85" fmla="*/ 2 h 455"/>
                  <a:gd name="T86" fmla="*/ 0 w 544"/>
                  <a:gd name="T87" fmla="*/ 2 h 455"/>
                  <a:gd name="T88" fmla="*/ 0 w 544"/>
                  <a:gd name="T89" fmla="*/ 2 h 455"/>
                  <a:gd name="T90" fmla="*/ 0 w 544"/>
                  <a:gd name="T91" fmla="*/ 2 h 455"/>
                  <a:gd name="T92" fmla="*/ 0 w 544"/>
                  <a:gd name="T93" fmla="*/ 4 h 455"/>
                  <a:gd name="T94" fmla="*/ 0 w 544"/>
                  <a:gd name="T95" fmla="*/ 4 h 455"/>
                  <a:gd name="T96" fmla="*/ 0 w 544"/>
                  <a:gd name="T97" fmla="*/ 4 h 45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44"/>
                  <a:gd name="T148" fmla="*/ 0 h 455"/>
                  <a:gd name="T149" fmla="*/ 544 w 544"/>
                  <a:gd name="T150" fmla="*/ 455 h 45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44" h="455">
                    <a:moveTo>
                      <a:pt x="25" y="364"/>
                    </a:moveTo>
                    <a:lnTo>
                      <a:pt x="47" y="388"/>
                    </a:lnTo>
                    <a:lnTo>
                      <a:pt x="68" y="388"/>
                    </a:lnTo>
                    <a:lnTo>
                      <a:pt x="90" y="358"/>
                    </a:lnTo>
                    <a:lnTo>
                      <a:pt x="132" y="358"/>
                    </a:lnTo>
                    <a:lnTo>
                      <a:pt x="147" y="349"/>
                    </a:lnTo>
                    <a:lnTo>
                      <a:pt x="176" y="326"/>
                    </a:lnTo>
                    <a:lnTo>
                      <a:pt x="246" y="319"/>
                    </a:lnTo>
                    <a:lnTo>
                      <a:pt x="281" y="334"/>
                    </a:lnTo>
                    <a:lnTo>
                      <a:pt x="281" y="349"/>
                    </a:lnTo>
                    <a:lnTo>
                      <a:pt x="288" y="349"/>
                    </a:lnTo>
                    <a:lnTo>
                      <a:pt x="303" y="388"/>
                    </a:lnTo>
                    <a:lnTo>
                      <a:pt x="331" y="334"/>
                    </a:lnTo>
                    <a:lnTo>
                      <a:pt x="331" y="358"/>
                    </a:lnTo>
                    <a:lnTo>
                      <a:pt x="323" y="388"/>
                    </a:lnTo>
                    <a:lnTo>
                      <a:pt x="331" y="388"/>
                    </a:lnTo>
                    <a:lnTo>
                      <a:pt x="331" y="364"/>
                    </a:lnTo>
                    <a:lnTo>
                      <a:pt x="338" y="388"/>
                    </a:lnTo>
                    <a:lnTo>
                      <a:pt x="331" y="396"/>
                    </a:lnTo>
                    <a:lnTo>
                      <a:pt x="346" y="396"/>
                    </a:lnTo>
                    <a:lnTo>
                      <a:pt x="353" y="410"/>
                    </a:lnTo>
                    <a:lnTo>
                      <a:pt x="353" y="425"/>
                    </a:lnTo>
                    <a:lnTo>
                      <a:pt x="380" y="440"/>
                    </a:lnTo>
                    <a:lnTo>
                      <a:pt x="395" y="440"/>
                    </a:lnTo>
                    <a:lnTo>
                      <a:pt x="408" y="447"/>
                    </a:lnTo>
                    <a:lnTo>
                      <a:pt x="424" y="433"/>
                    </a:lnTo>
                    <a:lnTo>
                      <a:pt x="424" y="440"/>
                    </a:lnTo>
                    <a:lnTo>
                      <a:pt x="432" y="440"/>
                    </a:lnTo>
                    <a:lnTo>
                      <a:pt x="432" y="447"/>
                    </a:lnTo>
                    <a:lnTo>
                      <a:pt x="454" y="455"/>
                    </a:lnTo>
                    <a:lnTo>
                      <a:pt x="465" y="433"/>
                    </a:lnTo>
                    <a:lnTo>
                      <a:pt x="496" y="433"/>
                    </a:lnTo>
                    <a:lnTo>
                      <a:pt x="502" y="396"/>
                    </a:lnTo>
                    <a:lnTo>
                      <a:pt x="537" y="312"/>
                    </a:lnTo>
                    <a:lnTo>
                      <a:pt x="544" y="275"/>
                    </a:lnTo>
                    <a:lnTo>
                      <a:pt x="537" y="230"/>
                    </a:lnTo>
                    <a:lnTo>
                      <a:pt x="519" y="200"/>
                    </a:lnTo>
                    <a:lnTo>
                      <a:pt x="511" y="193"/>
                    </a:lnTo>
                    <a:lnTo>
                      <a:pt x="496" y="163"/>
                    </a:lnTo>
                    <a:lnTo>
                      <a:pt x="496" y="180"/>
                    </a:lnTo>
                    <a:lnTo>
                      <a:pt x="439" y="87"/>
                    </a:lnTo>
                    <a:lnTo>
                      <a:pt x="432" y="82"/>
                    </a:lnTo>
                    <a:lnTo>
                      <a:pt x="432" y="67"/>
                    </a:lnTo>
                    <a:lnTo>
                      <a:pt x="424" y="59"/>
                    </a:lnTo>
                    <a:lnTo>
                      <a:pt x="408" y="59"/>
                    </a:lnTo>
                    <a:lnTo>
                      <a:pt x="395" y="0"/>
                    </a:lnTo>
                    <a:lnTo>
                      <a:pt x="390" y="0"/>
                    </a:lnTo>
                    <a:lnTo>
                      <a:pt x="380" y="22"/>
                    </a:lnTo>
                    <a:lnTo>
                      <a:pt x="373" y="104"/>
                    </a:lnTo>
                    <a:lnTo>
                      <a:pt x="353" y="104"/>
                    </a:lnTo>
                    <a:lnTo>
                      <a:pt x="323" y="74"/>
                    </a:lnTo>
                    <a:lnTo>
                      <a:pt x="311" y="74"/>
                    </a:lnTo>
                    <a:lnTo>
                      <a:pt x="311" y="67"/>
                    </a:lnTo>
                    <a:lnTo>
                      <a:pt x="296" y="67"/>
                    </a:lnTo>
                    <a:lnTo>
                      <a:pt x="303" y="37"/>
                    </a:lnTo>
                    <a:lnTo>
                      <a:pt x="311" y="37"/>
                    </a:lnTo>
                    <a:lnTo>
                      <a:pt x="323" y="22"/>
                    </a:lnTo>
                    <a:lnTo>
                      <a:pt x="311" y="22"/>
                    </a:lnTo>
                    <a:lnTo>
                      <a:pt x="303" y="28"/>
                    </a:lnTo>
                    <a:lnTo>
                      <a:pt x="303" y="22"/>
                    </a:lnTo>
                    <a:lnTo>
                      <a:pt x="296" y="22"/>
                    </a:lnTo>
                    <a:lnTo>
                      <a:pt x="253" y="5"/>
                    </a:lnTo>
                    <a:lnTo>
                      <a:pt x="259" y="22"/>
                    </a:lnTo>
                    <a:lnTo>
                      <a:pt x="239" y="22"/>
                    </a:lnTo>
                    <a:lnTo>
                      <a:pt x="226" y="28"/>
                    </a:lnTo>
                    <a:lnTo>
                      <a:pt x="226" y="37"/>
                    </a:lnTo>
                    <a:lnTo>
                      <a:pt x="217" y="37"/>
                    </a:lnTo>
                    <a:lnTo>
                      <a:pt x="217" y="67"/>
                    </a:lnTo>
                    <a:lnTo>
                      <a:pt x="206" y="59"/>
                    </a:lnTo>
                    <a:lnTo>
                      <a:pt x="206" y="67"/>
                    </a:lnTo>
                    <a:lnTo>
                      <a:pt x="206" y="59"/>
                    </a:lnTo>
                    <a:lnTo>
                      <a:pt x="196" y="43"/>
                    </a:lnTo>
                    <a:lnTo>
                      <a:pt x="189" y="43"/>
                    </a:lnTo>
                    <a:lnTo>
                      <a:pt x="169" y="59"/>
                    </a:lnTo>
                    <a:lnTo>
                      <a:pt x="162" y="59"/>
                    </a:lnTo>
                    <a:lnTo>
                      <a:pt x="154" y="82"/>
                    </a:lnTo>
                    <a:lnTo>
                      <a:pt x="132" y="82"/>
                    </a:lnTo>
                    <a:lnTo>
                      <a:pt x="147" y="87"/>
                    </a:lnTo>
                    <a:lnTo>
                      <a:pt x="132" y="104"/>
                    </a:lnTo>
                    <a:lnTo>
                      <a:pt x="132" y="82"/>
                    </a:lnTo>
                    <a:lnTo>
                      <a:pt x="119" y="104"/>
                    </a:lnTo>
                    <a:lnTo>
                      <a:pt x="125" y="112"/>
                    </a:lnTo>
                    <a:lnTo>
                      <a:pt x="104" y="127"/>
                    </a:lnTo>
                    <a:lnTo>
                      <a:pt x="40" y="151"/>
                    </a:lnTo>
                    <a:lnTo>
                      <a:pt x="20" y="180"/>
                    </a:lnTo>
                    <a:lnTo>
                      <a:pt x="5" y="163"/>
                    </a:lnTo>
                    <a:lnTo>
                      <a:pt x="5" y="193"/>
                    </a:lnTo>
                    <a:lnTo>
                      <a:pt x="0" y="193"/>
                    </a:lnTo>
                    <a:lnTo>
                      <a:pt x="20" y="237"/>
                    </a:lnTo>
                    <a:lnTo>
                      <a:pt x="5" y="223"/>
                    </a:lnTo>
                    <a:lnTo>
                      <a:pt x="5" y="237"/>
                    </a:lnTo>
                    <a:lnTo>
                      <a:pt x="0" y="230"/>
                    </a:lnTo>
                    <a:lnTo>
                      <a:pt x="25" y="280"/>
                    </a:lnTo>
                    <a:lnTo>
                      <a:pt x="33" y="349"/>
                    </a:lnTo>
                    <a:lnTo>
                      <a:pt x="25" y="358"/>
                    </a:lnTo>
                    <a:lnTo>
                      <a:pt x="25" y="364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10" name="S_TMP"/>
            <p:cNvSpPr>
              <a:spLocks/>
            </p:cNvSpPr>
            <p:nvPr/>
          </p:nvSpPr>
          <p:spPr bwMode="auto">
            <a:xfrm>
              <a:off x="8174277" y="4552950"/>
              <a:ext cx="113867" cy="66675"/>
            </a:xfrm>
            <a:custGeom>
              <a:avLst/>
              <a:gdLst>
                <a:gd name="T0" fmla="*/ 0 w 55"/>
                <a:gd name="T1" fmla="*/ 143405052 h 31"/>
                <a:gd name="T2" fmla="*/ 95014479 w 55"/>
                <a:gd name="T3" fmla="*/ 143405052 h 31"/>
                <a:gd name="T4" fmla="*/ 237536181 w 55"/>
                <a:gd name="T5" fmla="*/ 0 h 31"/>
                <a:gd name="T6" fmla="*/ 129564242 w 55"/>
                <a:gd name="T7" fmla="*/ 0 h 31"/>
                <a:gd name="T8" fmla="*/ 64783160 w 55"/>
                <a:gd name="T9" fmla="*/ 101771868 h 31"/>
                <a:gd name="T10" fmla="*/ 0 w 55"/>
                <a:gd name="T11" fmla="*/ 143405052 h 31"/>
                <a:gd name="T12" fmla="*/ 0 w 55"/>
                <a:gd name="T13" fmla="*/ 143405052 h 31"/>
                <a:gd name="T14" fmla="*/ 0 w 55"/>
                <a:gd name="T15" fmla="*/ 143405052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5"/>
                <a:gd name="T25" fmla="*/ 0 h 31"/>
                <a:gd name="T26" fmla="*/ 55 w 55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5" h="31">
                  <a:moveTo>
                    <a:pt x="0" y="31"/>
                  </a:moveTo>
                  <a:lnTo>
                    <a:pt x="22" y="31"/>
                  </a:lnTo>
                  <a:lnTo>
                    <a:pt x="55" y="0"/>
                  </a:lnTo>
                  <a:lnTo>
                    <a:pt x="30" y="0"/>
                  </a:lnTo>
                  <a:lnTo>
                    <a:pt x="15" y="2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11" name="S_IDN"/>
            <p:cNvGrpSpPr>
              <a:grpSpLocks/>
            </p:cNvGrpSpPr>
            <p:nvPr/>
          </p:nvGrpSpPr>
          <p:grpSpPr bwMode="auto">
            <a:xfrm>
              <a:off x="7503940" y="4124325"/>
              <a:ext cx="1284590" cy="533400"/>
              <a:chOff x="7394393" y="4124325"/>
              <a:chExt cx="135" cy="56"/>
            </a:xfrm>
            <a:solidFill>
              <a:schemeClr val="bg1">
                <a:lumMod val="75000"/>
              </a:schemeClr>
            </a:solidFill>
          </p:grpSpPr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>
                <a:off x="7394433" y="4124330"/>
                <a:ext cx="29" cy="27"/>
              </a:xfrm>
              <a:custGeom>
                <a:avLst/>
                <a:gdLst>
                  <a:gd name="T0" fmla="*/ 0 w 134"/>
                  <a:gd name="T1" fmla="*/ 0 h 123"/>
                  <a:gd name="T2" fmla="*/ 0 w 134"/>
                  <a:gd name="T3" fmla="*/ 0 h 123"/>
                  <a:gd name="T4" fmla="*/ 0 w 134"/>
                  <a:gd name="T5" fmla="*/ 0 h 123"/>
                  <a:gd name="T6" fmla="*/ 0 w 134"/>
                  <a:gd name="T7" fmla="*/ 0 h 123"/>
                  <a:gd name="T8" fmla="*/ 1 w 134"/>
                  <a:gd name="T9" fmla="*/ 0 h 123"/>
                  <a:gd name="T10" fmla="*/ 1 w 134"/>
                  <a:gd name="T11" fmla="*/ 0 h 123"/>
                  <a:gd name="T12" fmla="*/ 1 w 134"/>
                  <a:gd name="T13" fmla="*/ 0 h 123"/>
                  <a:gd name="T14" fmla="*/ 1 w 134"/>
                  <a:gd name="T15" fmla="*/ 0 h 123"/>
                  <a:gd name="T16" fmla="*/ 1 w 134"/>
                  <a:gd name="T17" fmla="*/ 0 h 123"/>
                  <a:gd name="T18" fmla="*/ 1 w 134"/>
                  <a:gd name="T19" fmla="*/ 0 h 123"/>
                  <a:gd name="T20" fmla="*/ 1 w 134"/>
                  <a:gd name="T21" fmla="*/ 0 h 123"/>
                  <a:gd name="T22" fmla="*/ 1 w 134"/>
                  <a:gd name="T23" fmla="*/ 0 h 123"/>
                  <a:gd name="T24" fmla="*/ 1 w 134"/>
                  <a:gd name="T25" fmla="*/ 1 h 123"/>
                  <a:gd name="T26" fmla="*/ 1 w 134"/>
                  <a:gd name="T27" fmla="*/ 1 h 123"/>
                  <a:gd name="T28" fmla="*/ 1 w 134"/>
                  <a:gd name="T29" fmla="*/ 1 h 123"/>
                  <a:gd name="T30" fmla="*/ 1 w 134"/>
                  <a:gd name="T31" fmla="*/ 1 h 123"/>
                  <a:gd name="T32" fmla="*/ 1 w 134"/>
                  <a:gd name="T33" fmla="*/ 1 h 123"/>
                  <a:gd name="T34" fmla="*/ 1 w 134"/>
                  <a:gd name="T35" fmla="*/ 1 h 123"/>
                  <a:gd name="T36" fmla="*/ 0 w 134"/>
                  <a:gd name="T37" fmla="*/ 1 h 123"/>
                  <a:gd name="T38" fmla="*/ 0 w 134"/>
                  <a:gd name="T39" fmla="*/ 1 h 123"/>
                  <a:gd name="T40" fmla="*/ 0 w 134"/>
                  <a:gd name="T41" fmla="*/ 1 h 123"/>
                  <a:gd name="T42" fmla="*/ 0 w 134"/>
                  <a:gd name="T43" fmla="*/ 0 h 123"/>
                  <a:gd name="T44" fmla="*/ 0 w 134"/>
                  <a:gd name="T45" fmla="*/ 0 h 123"/>
                  <a:gd name="T46" fmla="*/ 0 w 134"/>
                  <a:gd name="T47" fmla="*/ 0 h 123"/>
                  <a:gd name="T48" fmla="*/ 0 w 134"/>
                  <a:gd name="T49" fmla="*/ 0 h 1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4"/>
                  <a:gd name="T76" fmla="*/ 0 h 123"/>
                  <a:gd name="T77" fmla="*/ 134 w 134"/>
                  <a:gd name="T78" fmla="*/ 123 h 1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4" h="123">
                    <a:moveTo>
                      <a:pt x="9" y="39"/>
                    </a:moveTo>
                    <a:lnTo>
                      <a:pt x="20" y="47"/>
                    </a:lnTo>
                    <a:lnTo>
                      <a:pt x="42" y="47"/>
                    </a:lnTo>
                    <a:lnTo>
                      <a:pt x="51" y="39"/>
                    </a:lnTo>
                    <a:lnTo>
                      <a:pt x="64" y="47"/>
                    </a:lnTo>
                    <a:lnTo>
                      <a:pt x="77" y="39"/>
                    </a:lnTo>
                    <a:lnTo>
                      <a:pt x="99" y="0"/>
                    </a:lnTo>
                    <a:lnTo>
                      <a:pt x="126" y="0"/>
                    </a:lnTo>
                    <a:lnTo>
                      <a:pt x="121" y="17"/>
                    </a:lnTo>
                    <a:lnTo>
                      <a:pt x="126" y="32"/>
                    </a:lnTo>
                    <a:lnTo>
                      <a:pt x="121" y="39"/>
                    </a:lnTo>
                    <a:lnTo>
                      <a:pt x="134" y="47"/>
                    </a:lnTo>
                    <a:lnTo>
                      <a:pt x="104" y="77"/>
                    </a:lnTo>
                    <a:lnTo>
                      <a:pt x="99" y="94"/>
                    </a:lnTo>
                    <a:lnTo>
                      <a:pt x="104" y="94"/>
                    </a:lnTo>
                    <a:lnTo>
                      <a:pt x="99" y="108"/>
                    </a:lnTo>
                    <a:lnTo>
                      <a:pt x="84" y="123"/>
                    </a:lnTo>
                    <a:lnTo>
                      <a:pt x="77" y="108"/>
                    </a:lnTo>
                    <a:lnTo>
                      <a:pt x="42" y="108"/>
                    </a:lnTo>
                    <a:lnTo>
                      <a:pt x="42" y="101"/>
                    </a:lnTo>
                    <a:lnTo>
                      <a:pt x="20" y="101"/>
                    </a:lnTo>
                    <a:lnTo>
                      <a:pt x="0" y="47"/>
                    </a:lnTo>
                    <a:lnTo>
                      <a:pt x="9" y="3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>
                <a:off x="7394498" y="4124344"/>
                <a:ext cx="30" cy="27"/>
              </a:xfrm>
              <a:custGeom>
                <a:avLst/>
                <a:gdLst>
                  <a:gd name="T0" fmla="*/ 2 w 136"/>
                  <a:gd name="T1" fmla="*/ 0 h 126"/>
                  <a:gd name="T2" fmla="*/ 2 w 136"/>
                  <a:gd name="T3" fmla="*/ 1 h 126"/>
                  <a:gd name="T4" fmla="*/ 1 w 136"/>
                  <a:gd name="T5" fmla="*/ 1 h 126"/>
                  <a:gd name="T6" fmla="*/ 1 w 136"/>
                  <a:gd name="T7" fmla="*/ 1 h 126"/>
                  <a:gd name="T8" fmla="*/ 1 w 136"/>
                  <a:gd name="T9" fmla="*/ 1 h 126"/>
                  <a:gd name="T10" fmla="*/ 1 w 136"/>
                  <a:gd name="T11" fmla="*/ 1 h 126"/>
                  <a:gd name="T12" fmla="*/ 0 w 136"/>
                  <a:gd name="T13" fmla="*/ 0 h 126"/>
                  <a:gd name="T14" fmla="*/ 0 w 136"/>
                  <a:gd name="T15" fmla="*/ 1 h 126"/>
                  <a:gd name="T16" fmla="*/ 0 w 136"/>
                  <a:gd name="T17" fmla="*/ 0 h 126"/>
                  <a:gd name="T18" fmla="*/ 0 w 136"/>
                  <a:gd name="T19" fmla="*/ 0 h 126"/>
                  <a:gd name="T20" fmla="*/ 0 w 136"/>
                  <a:gd name="T21" fmla="*/ 0 h 126"/>
                  <a:gd name="T22" fmla="*/ 0 w 136"/>
                  <a:gd name="T23" fmla="*/ 0 h 126"/>
                  <a:gd name="T24" fmla="*/ 0 w 136"/>
                  <a:gd name="T25" fmla="*/ 0 h 126"/>
                  <a:gd name="T26" fmla="*/ 0 w 136"/>
                  <a:gd name="T27" fmla="*/ 0 h 126"/>
                  <a:gd name="T28" fmla="*/ 0 w 136"/>
                  <a:gd name="T29" fmla="*/ 0 h 126"/>
                  <a:gd name="T30" fmla="*/ 0 w 136"/>
                  <a:gd name="T31" fmla="*/ 0 h 126"/>
                  <a:gd name="T32" fmla="*/ 0 w 136"/>
                  <a:gd name="T33" fmla="*/ 0 h 126"/>
                  <a:gd name="T34" fmla="*/ 0 w 136"/>
                  <a:gd name="T35" fmla="*/ 0 h 126"/>
                  <a:gd name="T36" fmla="*/ 0 w 136"/>
                  <a:gd name="T37" fmla="*/ 0 h 126"/>
                  <a:gd name="T38" fmla="*/ 1 w 136"/>
                  <a:gd name="T39" fmla="*/ 0 h 126"/>
                  <a:gd name="T40" fmla="*/ 1 w 136"/>
                  <a:gd name="T41" fmla="*/ 0 h 126"/>
                  <a:gd name="T42" fmla="*/ 1 w 136"/>
                  <a:gd name="T43" fmla="*/ 0 h 126"/>
                  <a:gd name="T44" fmla="*/ 2 w 136"/>
                  <a:gd name="T45" fmla="*/ 0 h 126"/>
                  <a:gd name="T46" fmla="*/ 2 w 136"/>
                  <a:gd name="T47" fmla="*/ 0 h 126"/>
                  <a:gd name="T48" fmla="*/ 2 w 136"/>
                  <a:gd name="T49" fmla="*/ 0 h 1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6"/>
                  <a:gd name="T76" fmla="*/ 0 h 126"/>
                  <a:gd name="T77" fmla="*/ 136 w 136"/>
                  <a:gd name="T78" fmla="*/ 126 h 12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6" h="126">
                    <a:moveTo>
                      <a:pt x="136" y="37"/>
                    </a:moveTo>
                    <a:lnTo>
                      <a:pt x="136" y="126"/>
                    </a:lnTo>
                    <a:lnTo>
                      <a:pt x="112" y="111"/>
                    </a:lnTo>
                    <a:lnTo>
                      <a:pt x="94" y="120"/>
                    </a:lnTo>
                    <a:lnTo>
                      <a:pt x="99" y="105"/>
                    </a:lnTo>
                    <a:lnTo>
                      <a:pt x="94" y="81"/>
                    </a:lnTo>
                    <a:lnTo>
                      <a:pt x="28" y="44"/>
                    </a:lnTo>
                    <a:lnTo>
                      <a:pt x="22" y="59"/>
                    </a:lnTo>
                    <a:lnTo>
                      <a:pt x="22" y="44"/>
                    </a:lnTo>
                    <a:lnTo>
                      <a:pt x="13" y="37"/>
                    </a:lnTo>
                    <a:lnTo>
                      <a:pt x="28" y="37"/>
                    </a:lnTo>
                    <a:lnTo>
                      <a:pt x="42" y="29"/>
                    </a:lnTo>
                    <a:lnTo>
                      <a:pt x="13" y="29"/>
                    </a:lnTo>
                    <a:lnTo>
                      <a:pt x="7" y="20"/>
                    </a:lnTo>
                    <a:lnTo>
                      <a:pt x="0" y="20"/>
                    </a:lnTo>
                    <a:lnTo>
                      <a:pt x="13" y="0"/>
                    </a:lnTo>
                    <a:lnTo>
                      <a:pt x="22" y="0"/>
                    </a:lnTo>
                    <a:lnTo>
                      <a:pt x="42" y="12"/>
                    </a:lnTo>
                    <a:lnTo>
                      <a:pt x="42" y="29"/>
                    </a:lnTo>
                    <a:lnTo>
                      <a:pt x="58" y="44"/>
                    </a:lnTo>
                    <a:lnTo>
                      <a:pt x="72" y="29"/>
                    </a:lnTo>
                    <a:lnTo>
                      <a:pt x="94" y="20"/>
                    </a:lnTo>
                    <a:lnTo>
                      <a:pt x="136" y="3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>
                <a:off x="7394398" y="4124338"/>
                <a:ext cx="6" cy="6"/>
              </a:xfrm>
              <a:custGeom>
                <a:avLst/>
                <a:gdLst>
                  <a:gd name="T0" fmla="*/ 0 w 23"/>
                  <a:gd name="T1" fmla="*/ 0 h 27"/>
                  <a:gd name="T2" fmla="*/ 1 w 23"/>
                  <a:gd name="T3" fmla="*/ 0 h 27"/>
                  <a:gd name="T4" fmla="*/ 0 w 23"/>
                  <a:gd name="T5" fmla="*/ 0 h 27"/>
                  <a:gd name="T6" fmla="*/ 0 w 23"/>
                  <a:gd name="T7" fmla="*/ 0 h 27"/>
                  <a:gd name="T8" fmla="*/ 0 w 23"/>
                  <a:gd name="T9" fmla="*/ 0 h 27"/>
                  <a:gd name="T10" fmla="*/ 0 w 23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3"/>
                  <a:gd name="T19" fmla="*/ 0 h 27"/>
                  <a:gd name="T20" fmla="*/ 23 w 23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3" h="27">
                    <a:moveTo>
                      <a:pt x="0" y="15"/>
                    </a:moveTo>
                    <a:lnTo>
                      <a:pt x="23" y="27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>
                <a:off x="7394403" y="4124347"/>
                <a:ext cx="6" cy="6"/>
              </a:xfrm>
              <a:custGeom>
                <a:avLst/>
                <a:gdLst>
                  <a:gd name="T0" fmla="*/ 0 w 24"/>
                  <a:gd name="T1" fmla="*/ 0 h 26"/>
                  <a:gd name="T2" fmla="*/ 1 w 24"/>
                  <a:gd name="T3" fmla="*/ 0 h 26"/>
                  <a:gd name="T4" fmla="*/ 1 w 24"/>
                  <a:gd name="T5" fmla="*/ 0 h 26"/>
                  <a:gd name="T6" fmla="*/ 0 w 24"/>
                  <a:gd name="T7" fmla="*/ 0 h 26"/>
                  <a:gd name="T8" fmla="*/ 0 w 24"/>
                  <a:gd name="T9" fmla="*/ 0 h 26"/>
                  <a:gd name="T10" fmla="*/ 0 w 24"/>
                  <a:gd name="T11" fmla="*/ 0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"/>
                  <a:gd name="T19" fmla="*/ 0 h 26"/>
                  <a:gd name="T20" fmla="*/ 24 w 24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" h="26">
                    <a:moveTo>
                      <a:pt x="0" y="0"/>
                    </a:moveTo>
                    <a:lnTo>
                      <a:pt x="24" y="26"/>
                    </a:lnTo>
                    <a:lnTo>
                      <a:pt x="2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>
                <a:off x="7394393" y="4124325"/>
                <a:ext cx="31" cy="37"/>
              </a:xfrm>
              <a:custGeom>
                <a:avLst/>
                <a:gdLst>
                  <a:gd name="T0" fmla="*/ 0 w 145"/>
                  <a:gd name="T1" fmla="*/ 0 h 167"/>
                  <a:gd name="T2" fmla="*/ 0 w 145"/>
                  <a:gd name="T3" fmla="*/ 0 h 167"/>
                  <a:gd name="T4" fmla="*/ 0 w 145"/>
                  <a:gd name="T5" fmla="*/ 1 h 167"/>
                  <a:gd name="T6" fmla="*/ 0 w 145"/>
                  <a:gd name="T7" fmla="*/ 1 h 167"/>
                  <a:gd name="T8" fmla="*/ 1 w 145"/>
                  <a:gd name="T9" fmla="*/ 2 h 167"/>
                  <a:gd name="T10" fmla="*/ 1 w 145"/>
                  <a:gd name="T11" fmla="*/ 2 h 167"/>
                  <a:gd name="T12" fmla="*/ 1 w 145"/>
                  <a:gd name="T13" fmla="*/ 1 h 167"/>
                  <a:gd name="T14" fmla="*/ 1 w 145"/>
                  <a:gd name="T15" fmla="*/ 1 h 167"/>
                  <a:gd name="T16" fmla="*/ 1 w 145"/>
                  <a:gd name="T17" fmla="*/ 1 h 167"/>
                  <a:gd name="T18" fmla="*/ 1 w 145"/>
                  <a:gd name="T19" fmla="*/ 1 h 167"/>
                  <a:gd name="T20" fmla="*/ 1 w 145"/>
                  <a:gd name="T21" fmla="*/ 1 h 167"/>
                  <a:gd name="T22" fmla="*/ 1 w 145"/>
                  <a:gd name="T23" fmla="*/ 1 h 167"/>
                  <a:gd name="T24" fmla="*/ 1 w 145"/>
                  <a:gd name="T25" fmla="*/ 1 h 167"/>
                  <a:gd name="T26" fmla="*/ 1 w 145"/>
                  <a:gd name="T27" fmla="*/ 1 h 167"/>
                  <a:gd name="T28" fmla="*/ 1 w 145"/>
                  <a:gd name="T29" fmla="*/ 1 h 167"/>
                  <a:gd name="T30" fmla="*/ 1 w 145"/>
                  <a:gd name="T31" fmla="*/ 1 h 167"/>
                  <a:gd name="T32" fmla="*/ 0 w 145"/>
                  <a:gd name="T33" fmla="*/ 0 h 167"/>
                  <a:gd name="T34" fmla="*/ 0 w 145"/>
                  <a:gd name="T35" fmla="*/ 0 h 167"/>
                  <a:gd name="T36" fmla="*/ 0 w 145"/>
                  <a:gd name="T37" fmla="*/ 0 h 167"/>
                  <a:gd name="T38" fmla="*/ 0 w 145"/>
                  <a:gd name="T39" fmla="*/ 0 h 16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5"/>
                  <a:gd name="T61" fmla="*/ 0 h 167"/>
                  <a:gd name="T62" fmla="*/ 145 w 145"/>
                  <a:gd name="T63" fmla="*/ 167 h 16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5" h="167">
                    <a:moveTo>
                      <a:pt x="0" y="0"/>
                    </a:moveTo>
                    <a:lnTo>
                      <a:pt x="0" y="7"/>
                    </a:lnTo>
                    <a:lnTo>
                      <a:pt x="33" y="52"/>
                    </a:lnTo>
                    <a:lnTo>
                      <a:pt x="47" y="61"/>
                    </a:lnTo>
                    <a:lnTo>
                      <a:pt x="119" y="167"/>
                    </a:lnTo>
                    <a:lnTo>
                      <a:pt x="137" y="167"/>
                    </a:lnTo>
                    <a:lnTo>
                      <a:pt x="145" y="128"/>
                    </a:lnTo>
                    <a:lnTo>
                      <a:pt x="137" y="116"/>
                    </a:lnTo>
                    <a:lnTo>
                      <a:pt x="130" y="116"/>
                    </a:lnTo>
                    <a:lnTo>
                      <a:pt x="119" y="99"/>
                    </a:lnTo>
                    <a:lnTo>
                      <a:pt x="110" y="99"/>
                    </a:lnTo>
                    <a:lnTo>
                      <a:pt x="110" y="84"/>
                    </a:lnTo>
                    <a:lnTo>
                      <a:pt x="104" y="78"/>
                    </a:lnTo>
                    <a:lnTo>
                      <a:pt x="104" y="69"/>
                    </a:lnTo>
                    <a:lnTo>
                      <a:pt x="73" y="52"/>
                    </a:lnTo>
                    <a:lnTo>
                      <a:pt x="68" y="52"/>
                    </a:lnTo>
                    <a:lnTo>
                      <a:pt x="27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>
                <a:off x="7394423" y="4124362"/>
                <a:ext cx="26" cy="8"/>
              </a:xfrm>
              <a:custGeom>
                <a:avLst/>
                <a:gdLst>
                  <a:gd name="T0" fmla="*/ 0 w 119"/>
                  <a:gd name="T1" fmla="*/ 0 h 37"/>
                  <a:gd name="T2" fmla="*/ 0 w 119"/>
                  <a:gd name="T3" fmla="*/ 0 h 37"/>
                  <a:gd name="T4" fmla="*/ 1 w 119"/>
                  <a:gd name="T5" fmla="*/ 0 h 37"/>
                  <a:gd name="T6" fmla="*/ 1 w 119"/>
                  <a:gd name="T7" fmla="*/ 0 h 37"/>
                  <a:gd name="T8" fmla="*/ 1 w 119"/>
                  <a:gd name="T9" fmla="*/ 0 h 37"/>
                  <a:gd name="T10" fmla="*/ 1 w 119"/>
                  <a:gd name="T11" fmla="*/ 0 h 37"/>
                  <a:gd name="T12" fmla="*/ 1 w 119"/>
                  <a:gd name="T13" fmla="*/ 0 h 37"/>
                  <a:gd name="T14" fmla="*/ 1 w 119"/>
                  <a:gd name="T15" fmla="*/ 0 h 37"/>
                  <a:gd name="T16" fmla="*/ 0 w 119"/>
                  <a:gd name="T17" fmla="*/ 0 h 37"/>
                  <a:gd name="T18" fmla="*/ 0 w 119"/>
                  <a:gd name="T19" fmla="*/ 0 h 37"/>
                  <a:gd name="T20" fmla="*/ 0 w 119"/>
                  <a:gd name="T21" fmla="*/ 0 h 37"/>
                  <a:gd name="T22" fmla="*/ 0 w 119"/>
                  <a:gd name="T23" fmla="*/ 0 h 37"/>
                  <a:gd name="T24" fmla="*/ 0 w 119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9"/>
                  <a:gd name="T40" fmla="*/ 0 h 37"/>
                  <a:gd name="T41" fmla="*/ 119 w 119"/>
                  <a:gd name="T42" fmla="*/ 37 h 3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9" h="37">
                    <a:moveTo>
                      <a:pt x="0" y="15"/>
                    </a:moveTo>
                    <a:lnTo>
                      <a:pt x="37" y="29"/>
                    </a:lnTo>
                    <a:lnTo>
                      <a:pt x="119" y="37"/>
                    </a:lnTo>
                    <a:lnTo>
                      <a:pt x="119" y="29"/>
                    </a:lnTo>
                    <a:lnTo>
                      <a:pt x="99" y="29"/>
                    </a:lnTo>
                    <a:lnTo>
                      <a:pt x="94" y="22"/>
                    </a:lnTo>
                    <a:lnTo>
                      <a:pt x="62" y="15"/>
                    </a:lnTo>
                    <a:lnTo>
                      <a:pt x="62" y="22"/>
                    </a:lnTo>
                    <a:lnTo>
                      <a:pt x="22" y="0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>
                <a:off x="7394454" y="4124370"/>
                <a:ext cx="24" cy="7"/>
              </a:xfrm>
              <a:custGeom>
                <a:avLst/>
                <a:gdLst>
                  <a:gd name="T0" fmla="*/ 0 w 106"/>
                  <a:gd name="T1" fmla="*/ 0 h 31"/>
                  <a:gd name="T2" fmla="*/ 0 w 106"/>
                  <a:gd name="T3" fmla="*/ 0 h 31"/>
                  <a:gd name="T4" fmla="*/ 0 w 106"/>
                  <a:gd name="T5" fmla="*/ 0 h 31"/>
                  <a:gd name="T6" fmla="*/ 1 w 106"/>
                  <a:gd name="T7" fmla="*/ 0 h 31"/>
                  <a:gd name="T8" fmla="*/ 1 w 106"/>
                  <a:gd name="T9" fmla="*/ 0 h 31"/>
                  <a:gd name="T10" fmla="*/ 0 w 106"/>
                  <a:gd name="T11" fmla="*/ 0 h 31"/>
                  <a:gd name="T12" fmla="*/ 0 w 106"/>
                  <a:gd name="T13" fmla="*/ 0 h 31"/>
                  <a:gd name="T14" fmla="*/ 0 w 106"/>
                  <a:gd name="T15" fmla="*/ 0 h 31"/>
                  <a:gd name="T16" fmla="*/ 0 w 106"/>
                  <a:gd name="T17" fmla="*/ 0 h 31"/>
                  <a:gd name="T18" fmla="*/ 0 w 106"/>
                  <a:gd name="T19" fmla="*/ 0 h 31"/>
                  <a:gd name="T20" fmla="*/ 0 w 106"/>
                  <a:gd name="T21" fmla="*/ 0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6"/>
                  <a:gd name="T34" fmla="*/ 0 h 31"/>
                  <a:gd name="T35" fmla="*/ 106 w 106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6" h="31">
                    <a:moveTo>
                      <a:pt x="0" y="31"/>
                    </a:moveTo>
                    <a:lnTo>
                      <a:pt x="5" y="31"/>
                    </a:lnTo>
                    <a:lnTo>
                      <a:pt x="42" y="0"/>
                    </a:lnTo>
                    <a:lnTo>
                      <a:pt x="77" y="31"/>
                    </a:lnTo>
                    <a:lnTo>
                      <a:pt x="106" y="0"/>
                    </a:lnTo>
                    <a:lnTo>
                      <a:pt x="20" y="0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>
                <a:off x="7394462" y="4124375"/>
                <a:ext cx="6" cy="6"/>
              </a:xfrm>
              <a:custGeom>
                <a:avLst/>
                <a:gdLst>
                  <a:gd name="T0" fmla="*/ 0 w 27"/>
                  <a:gd name="T1" fmla="*/ 0 h 28"/>
                  <a:gd name="T2" fmla="*/ 0 w 27"/>
                  <a:gd name="T3" fmla="*/ 0 h 28"/>
                  <a:gd name="T4" fmla="*/ 0 w 27"/>
                  <a:gd name="T5" fmla="*/ 0 h 28"/>
                  <a:gd name="T6" fmla="*/ 0 w 27"/>
                  <a:gd name="T7" fmla="*/ 0 h 28"/>
                  <a:gd name="T8" fmla="*/ 0 w 27"/>
                  <a:gd name="T9" fmla="*/ 0 h 28"/>
                  <a:gd name="T10" fmla="*/ 0 w 27"/>
                  <a:gd name="T11" fmla="*/ 0 h 28"/>
                  <a:gd name="T12" fmla="*/ 0 w 27"/>
                  <a:gd name="T13" fmla="*/ 0 h 2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28"/>
                  <a:gd name="T23" fmla="*/ 27 w 27"/>
                  <a:gd name="T24" fmla="*/ 28 h 2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28">
                    <a:moveTo>
                      <a:pt x="0" y="0"/>
                    </a:moveTo>
                    <a:lnTo>
                      <a:pt x="14" y="28"/>
                    </a:lnTo>
                    <a:lnTo>
                      <a:pt x="27" y="28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>
                <a:off x="7394423" y="4124348"/>
                <a:ext cx="6" cy="6"/>
              </a:xfrm>
              <a:custGeom>
                <a:avLst/>
                <a:gdLst>
                  <a:gd name="T0" fmla="*/ 0 w 25"/>
                  <a:gd name="T1" fmla="*/ 0 h 27"/>
                  <a:gd name="T2" fmla="*/ 0 w 25"/>
                  <a:gd name="T3" fmla="*/ 0 h 27"/>
                  <a:gd name="T4" fmla="*/ 0 w 25"/>
                  <a:gd name="T5" fmla="*/ 0 h 27"/>
                  <a:gd name="T6" fmla="*/ 0 w 25"/>
                  <a:gd name="T7" fmla="*/ 0 h 27"/>
                  <a:gd name="T8" fmla="*/ 0 w 25"/>
                  <a:gd name="T9" fmla="*/ 0 h 27"/>
                  <a:gd name="T10" fmla="*/ 0 w 25"/>
                  <a:gd name="T11" fmla="*/ 0 h 27"/>
                  <a:gd name="T12" fmla="*/ 0 w 25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27"/>
                  <a:gd name="T23" fmla="*/ 25 w 25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27">
                    <a:moveTo>
                      <a:pt x="0" y="10"/>
                    </a:moveTo>
                    <a:lnTo>
                      <a:pt x="25" y="27"/>
                    </a:lnTo>
                    <a:lnTo>
                      <a:pt x="25" y="20"/>
                    </a:lnTo>
                    <a:lnTo>
                      <a:pt x="13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>
                <a:off x="7394429" y="4124356"/>
                <a:ext cx="4" cy="4"/>
              </a:xfrm>
              <a:custGeom>
                <a:avLst/>
                <a:gdLst>
                  <a:gd name="T0" fmla="*/ 0 w 15"/>
                  <a:gd name="T1" fmla="*/ 0 h 17"/>
                  <a:gd name="T2" fmla="*/ 0 w 15"/>
                  <a:gd name="T3" fmla="*/ 0 h 17"/>
                  <a:gd name="T4" fmla="*/ 0 w 15"/>
                  <a:gd name="T5" fmla="*/ 0 h 17"/>
                  <a:gd name="T6" fmla="*/ 0 w 15"/>
                  <a:gd name="T7" fmla="*/ 0 h 17"/>
                  <a:gd name="T8" fmla="*/ 0 w 15"/>
                  <a:gd name="T9" fmla="*/ 0 h 17"/>
                  <a:gd name="T10" fmla="*/ 0 w 15"/>
                  <a:gd name="T11" fmla="*/ 0 h 17"/>
                  <a:gd name="T12" fmla="*/ 0 w 15"/>
                  <a:gd name="T13" fmla="*/ 0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7"/>
                  <a:gd name="T23" fmla="*/ 15 w 15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7">
                    <a:moveTo>
                      <a:pt x="0" y="0"/>
                    </a:moveTo>
                    <a:lnTo>
                      <a:pt x="0" y="17"/>
                    </a:lnTo>
                    <a:lnTo>
                      <a:pt x="15" y="17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0" name="Freeform 339"/>
              <p:cNvSpPr>
                <a:spLocks/>
              </p:cNvSpPr>
              <p:nvPr/>
            </p:nvSpPr>
            <p:spPr bwMode="auto">
              <a:xfrm>
                <a:off x="7394429" y="4124354"/>
                <a:ext cx="4" cy="3"/>
              </a:xfrm>
              <a:custGeom>
                <a:avLst/>
                <a:gdLst>
                  <a:gd name="T0" fmla="*/ 0 w 15"/>
                  <a:gd name="T1" fmla="*/ 0 h 14"/>
                  <a:gd name="T2" fmla="*/ 0 w 15"/>
                  <a:gd name="T3" fmla="*/ 0 h 14"/>
                  <a:gd name="T4" fmla="*/ 0 w 15"/>
                  <a:gd name="T5" fmla="*/ 0 h 14"/>
                  <a:gd name="T6" fmla="*/ 0 w 15"/>
                  <a:gd name="T7" fmla="*/ 0 h 14"/>
                  <a:gd name="T8" fmla="*/ 0 w 15"/>
                  <a:gd name="T9" fmla="*/ 0 h 14"/>
                  <a:gd name="T10" fmla="*/ 0 w 15"/>
                  <a:gd name="T11" fmla="*/ 0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14"/>
                  <a:gd name="T20" fmla="*/ 15 w 15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14">
                    <a:moveTo>
                      <a:pt x="0" y="0"/>
                    </a:moveTo>
                    <a:lnTo>
                      <a:pt x="0" y="14"/>
                    </a:lnTo>
                    <a:lnTo>
                      <a:pt x="15" y="14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1" name="Freeform 340"/>
              <p:cNvSpPr>
                <a:spLocks/>
              </p:cNvSpPr>
              <p:nvPr/>
            </p:nvSpPr>
            <p:spPr bwMode="auto">
              <a:xfrm>
                <a:off x="7394462" y="4124338"/>
                <a:ext cx="19" cy="24"/>
              </a:xfrm>
              <a:custGeom>
                <a:avLst/>
                <a:gdLst>
                  <a:gd name="T0" fmla="*/ 0 w 86"/>
                  <a:gd name="T1" fmla="*/ 1 h 107"/>
                  <a:gd name="T2" fmla="*/ 0 w 86"/>
                  <a:gd name="T3" fmla="*/ 1 h 107"/>
                  <a:gd name="T4" fmla="*/ 0 w 86"/>
                  <a:gd name="T5" fmla="*/ 1 h 107"/>
                  <a:gd name="T6" fmla="*/ 0 w 86"/>
                  <a:gd name="T7" fmla="*/ 1 h 107"/>
                  <a:gd name="T8" fmla="*/ 0 w 86"/>
                  <a:gd name="T9" fmla="*/ 1 h 107"/>
                  <a:gd name="T10" fmla="*/ 0 w 86"/>
                  <a:gd name="T11" fmla="*/ 1 h 107"/>
                  <a:gd name="T12" fmla="*/ 0 w 86"/>
                  <a:gd name="T13" fmla="*/ 1 h 107"/>
                  <a:gd name="T14" fmla="*/ 0 w 86"/>
                  <a:gd name="T15" fmla="*/ 1 h 107"/>
                  <a:gd name="T16" fmla="*/ 0 w 86"/>
                  <a:gd name="T17" fmla="*/ 1 h 107"/>
                  <a:gd name="T18" fmla="*/ 0 w 86"/>
                  <a:gd name="T19" fmla="*/ 1 h 107"/>
                  <a:gd name="T20" fmla="*/ 0 w 86"/>
                  <a:gd name="T21" fmla="*/ 1 h 107"/>
                  <a:gd name="T22" fmla="*/ 0 w 86"/>
                  <a:gd name="T23" fmla="*/ 1 h 107"/>
                  <a:gd name="T24" fmla="*/ 0 w 86"/>
                  <a:gd name="T25" fmla="*/ 1 h 107"/>
                  <a:gd name="T26" fmla="*/ 1 w 86"/>
                  <a:gd name="T27" fmla="*/ 1 h 107"/>
                  <a:gd name="T28" fmla="*/ 1 w 86"/>
                  <a:gd name="T29" fmla="*/ 1 h 107"/>
                  <a:gd name="T30" fmla="*/ 0 w 86"/>
                  <a:gd name="T31" fmla="*/ 1 h 107"/>
                  <a:gd name="T32" fmla="*/ 0 w 86"/>
                  <a:gd name="T33" fmla="*/ 1 h 107"/>
                  <a:gd name="T34" fmla="*/ 0 w 86"/>
                  <a:gd name="T35" fmla="*/ 1 h 107"/>
                  <a:gd name="T36" fmla="*/ 0 w 86"/>
                  <a:gd name="T37" fmla="*/ 0 h 107"/>
                  <a:gd name="T38" fmla="*/ 1 w 86"/>
                  <a:gd name="T39" fmla="*/ 0 h 107"/>
                  <a:gd name="T40" fmla="*/ 0 w 86"/>
                  <a:gd name="T41" fmla="*/ 0 h 107"/>
                  <a:gd name="T42" fmla="*/ 0 w 86"/>
                  <a:gd name="T43" fmla="*/ 0 h 107"/>
                  <a:gd name="T44" fmla="*/ 0 w 86"/>
                  <a:gd name="T45" fmla="*/ 0 h 107"/>
                  <a:gd name="T46" fmla="*/ 0 w 86"/>
                  <a:gd name="T47" fmla="*/ 0 h 107"/>
                  <a:gd name="T48" fmla="*/ 1 w 86"/>
                  <a:gd name="T49" fmla="*/ 0 h 107"/>
                  <a:gd name="T50" fmla="*/ 1 w 86"/>
                  <a:gd name="T51" fmla="*/ 0 h 107"/>
                  <a:gd name="T52" fmla="*/ 0 w 86"/>
                  <a:gd name="T53" fmla="*/ 0 h 107"/>
                  <a:gd name="T54" fmla="*/ 0 w 86"/>
                  <a:gd name="T55" fmla="*/ 0 h 107"/>
                  <a:gd name="T56" fmla="*/ 0 w 86"/>
                  <a:gd name="T57" fmla="*/ 0 h 107"/>
                  <a:gd name="T58" fmla="*/ 0 w 86"/>
                  <a:gd name="T59" fmla="*/ 0 h 107"/>
                  <a:gd name="T60" fmla="*/ 0 w 86"/>
                  <a:gd name="T61" fmla="*/ 0 h 107"/>
                  <a:gd name="T62" fmla="*/ 0 w 86"/>
                  <a:gd name="T63" fmla="*/ 1 h 107"/>
                  <a:gd name="T64" fmla="*/ 0 w 86"/>
                  <a:gd name="T65" fmla="*/ 1 h 107"/>
                  <a:gd name="T66" fmla="*/ 0 w 86"/>
                  <a:gd name="T67" fmla="*/ 1 h 10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6"/>
                  <a:gd name="T103" fmla="*/ 0 h 107"/>
                  <a:gd name="T104" fmla="*/ 86 w 86"/>
                  <a:gd name="T105" fmla="*/ 107 h 10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6" h="107">
                    <a:moveTo>
                      <a:pt x="0" y="62"/>
                    </a:moveTo>
                    <a:lnTo>
                      <a:pt x="0" y="69"/>
                    </a:lnTo>
                    <a:lnTo>
                      <a:pt x="7" y="69"/>
                    </a:lnTo>
                    <a:lnTo>
                      <a:pt x="7" y="107"/>
                    </a:lnTo>
                    <a:lnTo>
                      <a:pt x="14" y="101"/>
                    </a:lnTo>
                    <a:lnTo>
                      <a:pt x="14" y="69"/>
                    </a:lnTo>
                    <a:lnTo>
                      <a:pt x="27" y="62"/>
                    </a:lnTo>
                    <a:lnTo>
                      <a:pt x="34" y="62"/>
                    </a:lnTo>
                    <a:lnTo>
                      <a:pt x="27" y="69"/>
                    </a:lnTo>
                    <a:lnTo>
                      <a:pt x="34" y="86"/>
                    </a:lnTo>
                    <a:lnTo>
                      <a:pt x="34" y="92"/>
                    </a:lnTo>
                    <a:lnTo>
                      <a:pt x="49" y="92"/>
                    </a:lnTo>
                    <a:lnTo>
                      <a:pt x="49" y="107"/>
                    </a:lnTo>
                    <a:lnTo>
                      <a:pt x="56" y="101"/>
                    </a:lnTo>
                    <a:lnTo>
                      <a:pt x="56" y="92"/>
                    </a:lnTo>
                    <a:lnTo>
                      <a:pt x="42" y="69"/>
                    </a:lnTo>
                    <a:lnTo>
                      <a:pt x="49" y="69"/>
                    </a:lnTo>
                    <a:lnTo>
                      <a:pt x="34" y="55"/>
                    </a:lnTo>
                    <a:lnTo>
                      <a:pt x="49" y="38"/>
                    </a:lnTo>
                    <a:lnTo>
                      <a:pt x="56" y="38"/>
                    </a:lnTo>
                    <a:lnTo>
                      <a:pt x="27" y="47"/>
                    </a:lnTo>
                    <a:lnTo>
                      <a:pt x="14" y="38"/>
                    </a:lnTo>
                    <a:lnTo>
                      <a:pt x="14" y="25"/>
                    </a:lnTo>
                    <a:lnTo>
                      <a:pt x="27" y="15"/>
                    </a:lnTo>
                    <a:lnTo>
                      <a:pt x="77" y="15"/>
                    </a:lnTo>
                    <a:lnTo>
                      <a:pt x="86" y="0"/>
                    </a:lnTo>
                    <a:lnTo>
                      <a:pt x="49" y="15"/>
                    </a:lnTo>
                    <a:lnTo>
                      <a:pt x="27" y="8"/>
                    </a:lnTo>
                    <a:lnTo>
                      <a:pt x="27" y="15"/>
                    </a:lnTo>
                    <a:lnTo>
                      <a:pt x="14" y="15"/>
                    </a:lnTo>
                    <a:lnTo>
                      <a:pt x="14" y="38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2" name="Freeform 341"/>
              <p:cNvSpPr>
                <a:spLocks/>
              </p:cNvSpPr>
              <p:nvPr/>
            </p:nvSpPr>
            <p:spPr bwMode="auto">
              <a:xfrm>
                <a:off x="7394487" y="4124337"/>
                <a:ext cx="5" cy="10"/>
              </a:xfrm>
              <a:custGeom>
                <a:avLst/>
                <a:gdLst>
                  <a:gd name="T0" fmla="*/ 0 w 24"/>
                  <a:gd name="T1" fmla="*/ 0 h 47"/>
                  <a:gd name="T2" fmla="*/ 0 w 24"/>
                  <a:gd name="T3" fmla="*/ 0 h 47"/>
                  <a:gd name="T4" fmla="*/ 0 w 24"/>
                  <a:gd name="T5" fmla="*/ 0 h 47"/>
                  <a:gd name="T6" fmla="*/ 0 w 24"/>
                  <a:gd name="T7" fmla="*/ 0 h 47"/>
                  <a:gd name="T8" fmla="*/ 0 w 24"/>
                  <a:gd name="T9" fmla="*/ 0 h 47"/>
                  <a:gd name="T10" fmla="*/ 0 w 24"/>
                  <a:gd name="T11" fmla="*/ 0 h 47"/>
                  <a:gd name="T12" fmla="*/ 0 w 24"/>
                  <a:gd name="T13" fmla="*/ 0 h 47"/>
                  <a:gd name="T14" fmla="*/ 0 w 24"/>
                  <a:gd name="T15" fmla="*/ 0 h 47"/>
                  <a:gd name="T16" fmla="*/ 0 w 24"/>
                  <a:gd name="T17" fmla="*/ 0 h 47"/>
                  <a:gd name="T18" fmla="*/ 0 w 24"/>
                  <a:gd name="T19" fmla="*/ 0 h 47"/>
                  <a:gd name="T20" fmla="*/ 0 w 24"/>
                  <a:gd name="T21" fmla="*/ 0 h 47"/>
                  <a:gd name="T22" fmla="*/ 0 w 24"/>
                  <a:gd name="T23" fmla="*/ 0 h 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4"/>
                  <a:gd name="T37" fmla="*/ 0 h 47"/>
                  <a:gd name="T38" fmla="*/ 24 w 24"/>
                  <a:gd name="T39" fmla="*/ 47 h 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4" h="47">
                    <a:moveTo>
                      <a:pt x="0" y="17"/>
                    </a:moveTo>
                    <a:lnTo>
                      <a:pt x="9" y="32"/>
                    </a:lnTo>
                    <a:lnTo>
                      <a:pt x="24" y="47"/>
                    </a:lnTo>
                    <a:lnTo>
                      <a:pt x="9" y="32"/>
                    </a:lnTo>
                    <a:lnTo>
                      <a:pt x="9" y="26"/>
                    </a:lnTo>
                    <a:lnTo>
                      <a:pt x="24" y="26"/>
                    </a:lnTo>
                    <a:lnTo>
                      <a:pt x="24" y="7"/>
                    </a:lnTo>
                    <a:lnTo>
                      <a:pt x="24" y="17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3" name="Freeform 342"/>
              <p:cNvSpPr>
                <a:spLocks/>
              </p:cNvSpPr>
              <p:nvPr/>
            </p:nvSpPr>
            <p:spPr bwMode="auto">
              <a:xfrm>
                <a:off x="7394483" y="4124354"/>
                <a:ext cx="5" cy="5"/>
              </a:xfrm>
              <a:custGeom>
                <a:avLst/>
                <a:gdLst>
                  <a:gd name="T0" fmla="*/ 0 w 22"/>
                  <a:gd name="T1" fmla="*/ 0 h 25"/>
                  <a:gd name="T2" fmla="*/ 0 w 22"/>
                  <a:gd name="T3" fmla="*/ 0 h 25"/>
                  <a:gd name="T4" fmla="*/ 0 w 22"/>
                  <a:gd name="T5" fmla="*/ 0 h 25"/>
                  <a:gd name="T6" fmla="*/ 0 w 22"/>
                  <a:gd name="T7" fmla="*/ 0 h 25"/>
                  <a:gd name="T8" fmla="*/ 0 w 22"/>
                  <a:gd name="T9" fmla="*/ 0 h 25"/>
                  <a:gd name="T10" fmla="*/ 0 w 22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"/>
                  <a:gd name="T19" fmla="*/ 0 h 25"/>
                  <a:gd name="T20" fmla="*/ 22 w 22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" h="25">
                    <a:moveTo>
                      <a:pt x="0" y="0"/>
                    </a:moveTo>
                    <a:lnTo>
                      <a:pt x="22" y="25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4" name="Freeform 343"/>
              <p:cNvSpPr>
                <a:spLocks/>
              </p:cNvSpPr>
              <p:nvPr/>
            </p:nvSpPr>
            <p:spPr bwMode="auto">
              <a:xfrm>
                <a:off x="7394488" y="4124352"/>
                <a:ext cx="10" cy="6"/>
              </a:xfrm>
              <a:custGeom>
                <a:avLst/>
                <a:gdLst>
                  <a:gd name="T0" fmla="*/ 0 w 45"/>
                  <a:gd name="T1" fmla="*/ 0 h 29"/>
                  <a:gd name="T2" fmla="*/ 0 w 45"/>
                  <a:gd name="T3" fmla="*/ 0 h 29"/>
                  <a:gd name="T4" fmla="*/ 0 w 45"/>
                  <a:gd name="T5" fmla="*/ 0 h 29"/>
                  <a:gd name="T6" fmla="*/ 0 w 45"/>
                  <a:gd name="T7" fmla="*/ 0 h 29"/>
                  <a:gd name="T8" fmla="*/ 0 w 45"/>
                  <a:gd name="T9" fmla="*/ 0 h 29"/>
                  <a:gd name="T10" fmla="*/ 0 w 45"/>
                  <a:gd name="T11" fmla="*/ 0 h 29"/>
                  <a:gd name="T12" fmla="*/ 0 w 45"/>
                  <a:gd name="T13" fmla="*/ 0 h 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29"/>
                  <a:gd name="T23" fmla="*/ 45 w 45"/>
                  <a:gd name="T24" fmla="*/ 29 h 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29">
                    <a:moveTo>
                      <a:pt x="0" y="9"/>
                    </a:moveTo>
                    <a:lnTo>
                      <a:pt x="45" y="29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12" name="S_PHL"/>
            <p:cNvGrpSpPr>
              <a:grpSpLocks/>
            </p:cNvGrpSpPr>
            <p:nvPr/>
          </p:nvGrpSpPr>
          <p:grpSpPr bwMode="auto">
            <a:xfrm>
              <a:off x="8269642" y="3743325"/>
              <a:ext cx="275181" cy="390525"/>
              <a:chOff x="7993987" y="3743325"/>
              <a:chExt cx="29" cy="41"/>
            </a:xfrm>
            <a:solidFill>
              <a:schemeClr val="bg1">
                <a:lumMod val="75000"/>
              </a:schemeClr>
            </a:solidFill>
          </p:grpSpPr>
          <p:sp>
            <p:nvSpPr>
              <p:cNvPr id="324" name="Freeform 323"/>
              <p:cNvSpPr>
                <a:spLocks/>
              </p:cNvSpPr>
              <p:nvPr/>
            </p:nvSpPr>
            <p:spPr bwMode="auto">
              <a:xfrm>
                <a:off x="7993996" y="3743325"/>
                <a:ext cx="13" cy="16"/>
              </a:xfrm>
              <a:custGeom>
                <a:avLst/>
                <a:gdLst>
                  <a:gd name="T0" fmla="*/ 0 w 56"/>
                  <a:gd name="T1" fmla="*/ 2 h 74"/>
                  <a:gd name="T2" fmla="*/ 0 w 56"/>
                  <a:gd name="T3" fmla="*/ 2 h 74"/>
                  <a:gd name="T4" fmla="*/ 1 w 56"/>
                  <a:gd name="T5" fmla="*/ 3 h 74"/>
                  <a:gd name="T6" fmla="*/ 1 w 56"/>
                  <a:gd name="T7" fmla="*/ 3 h 74"/>
                  <a:gd name="T8" fmla="*/ 2 w 56"/>
                  <a:gd name="T9" fmla="*/ 3 h 74"/>
                  <a:gd name="T10" fmla="*/ 2 w 56"/>
                  <a:gd name="T11" fmla="*/ 3 h 74"/>
                  <a:gd name="T12" fmla="*/ 2 w 56"/>
                  <a:gd name="T13" fmla="*/ 3 h 74"/>
                  <a:gd name="T14" fmla="*/ 2 w 56"/>
                  <a:gd name="T15" fmla="*/ 3 h 74"/>
                  <a:gd name="T16" fmla="*/ 3 w 56"/>
                  <a:gd name="T17" fmla="*/ 3 h 74"/>
                  <a:gd name="T18" fmla="*/ 2 w 56"/>
                  <a:gd name="T19" fmla="*/ 3 h 74"/>
                  <a:gd name="T20" fmla="*/ 3 w 56"/>
                  <a:gd name="T21" fmla="*/ 3 h 74"/>
                  <a:gd name="T22" fmla="*/ 2 w 56"/>
                  <a:gd name="T23" fmla="*/ 3 h 74"/>
                  <a:gd name="T24" fmla="*/ 2 w 56"/>
                  <a:gd name="T25" fmla="*/ 3 h 74"/>
                  <a:gd name="T26" fmla="*/ 1 w 56"/>
                  <a:gd name="T27" fmla="*/ 2 h 74"/>
                  <a:gd name="T28" fmla="*/ 2 w 56"/>
                  <a:gd name="T29" fmla="*/ 1 h 74"/>
                  <a:gd name="T30" fmla="*/ 2 w 56"/>
                  <a:gd name="T31" fmla="*/ 1 h 74"/>
                  <a:gd name="T32" fmla="*/ 2 w 56"/>
                  <a:gd name="T33" fmla="*/ 0 h 74"/>
                  <a:gd name="T34" fmla="*/ 2 w 56"/>
                  <a:gd name="T35" fmla="*/ 0 h 74"/>
                  <a:gd name="T36" fmla="*/ 1 w 56"/>
                  <a:gd name="T37" fmla="*/ 0 h 74"/>
                  <a:gd name="T38" fmla="*/ 0 w 56"/>
                  <a:gd name="T39" fmla="*/ 2 h 74"/>
                  <a:gd name="T40" fmla="*/ 0 w 56"/>
                  <a:gd name="T41" fmla="*/ 2 h 74"/>
                  <a:gd name="T42" fmla="*/ 0 w 56"/>
                  <a:gd name="T43" fmla="*/ 2 h 7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56"/>
                  <a:gd name="T67" fmla="*/ 0 h 74"/>
                  <a:gd name="T68" fmla="*/ 56 w 56"/>
                  <a:gd name="T69" fmla="*/ 74 h 7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56" h="74">
                    <a:moveTo>
                      <a:pt x="0" y="31"/>
                    </a:moveTo>
                    <a:lnTo>
                      <a:pt x="0" y="51"/>
                    </a:lnTo>
                    <a:lnTo>
                      <a:pt x="12" y="58"/>
                    </a:lnTo>
                    <a:lnTo>
                      <a:pt x="12" y="68"/>
                    </a:lnTo>
                    <a:lnTo>
                      <a:pt x="29" y="68"/>
                    </a:lnTo>
                    <a:lnTo>
                      <a:pt x="34" y="74"/>
                    </a:lnTo>
                    <a:lnTo>
                      <a:pt x="34" y="68"/>
                    </a:lnTo>
                    <a:lnTo>
                      <a:pt x="41" y="74"/>
                    </a:lnTo>
                    <a:lnTo>
                      <a:pt x="56" y="74"/>
                    </a:lnTo>
                    <a:lnTo>
                      <a:pt x="41" y="68"/>
                    </a:lnTo>
                    <a:lnTo>
                      <a:pt x="56" y="68"/>
                    </a:lnTo>
                    <a:lnTo>
                      <a:pt x="34" y="58"/>
                    </a:lnTo>
                    <a:lnTo>
                      <a:pt x="29" y="68"/>
                    </a:lnTo>
                    <a:lnTo>
                      <a:pt x="19" y="51"/>
                    </a:lnTo>
                    <a:lnTo>
                      <a:pt x="34" y="21"/>
                    </a:lnTo>
                    <a:lnTo>
                      <a:pt x="29" y="14"/>
                    </a:lnTo>
                    <a:lnTo>
                      <a:pt x="34" y="0"/>
                    </a:lnTo>
                    <a:lnTo>
                      <a:pt x="29" y="5"/>
                    </a:lnTo>
                    <a:lnTo>
                      <a:pt x="12" y="0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5" name="Freeform 324"/>
              <p:cNvSpPr>
                <a:spLocks/>
              </p:cNvSpPr>
              <p:nvPr/>
            </p:nvSpPr>
            <p:spPr bwMode="auto">
              <a:xfrm>
                <a:off x="7993987" y="3743348"/>
                <a:ext cx="8" cy="9"/>
              </a:xfrm>
              <a:custGeom>
                <a:avLst/>
                <a:gdLst>
                  <a:gd name="T0" fmla="*/ 0 w 37"/>
                  <a:gd name="T1" fmla="*/ 2 h 43"/>
                  <a:gd name="T2" fmla="*/ 2 w 37"/>
                  <a:gd name="T3" fmla="*/ 1 h 43"/>
                  <a:gd name="T4" fmla="*/ 2 w 37"/>
                  <a:gd name="T5" fmla="*/ 0 h 43"/>
                  <a:gd name="T6" fmla="*/ 0 w 37"/>
                  <a:gd name="T7" fmla="*/ 2 h 43"/>
                  <a:gd name="T8" fmla="*/ 0 w 37"/>
                  <a:gd name="T9" fmla="*/ 2 h 43"/>
                  <a:gd name="T10" fmla="*/ 0 w 37"/>
                  <a:gd name="T11" fmla="*/ 2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43"/>
                  <a:gd name="T20" fmla="*/ 37 w 37"/>
                  <a:gd name="T21" fmla="*/ 43 h 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43">
                    <a:moveTo>
                      <a:pt x="0" y="43"/>
                    </a:moveTo>
                    <a:lnTo>
                      <a:pt x="37" y="13"/>
                    </a:lnTo>
                    <a:lnTo>
                      <a:pt x="37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6" name="Freeform 325"/>
              <p:cNvSpPr>
                <a:spLocks/>
              </p:cNvSpPr>
              <p:nvPr/>
            </p:nvSpPr>
            <p:spPr bwMode="auto">
              <a:xfrm>
                <a:off x="7993996" y="3743340"/>
                <a:ext cx="5" cy="6"/>
              </a:xfrm>
              <a:custGeom>
                <a:avLst/>
                <a:gdLst>
                  <a:gd name="T0" fmla="*/ 0 w 22"/>
                  <a:gd name="T1" fmla="*/ 0 h 27"/>
                  <a:gd name="T2" fmla="*/ 1 w 22"/>
                  <a:gd name="T3" fmla="*/ 1 h 27"/>
                  <a:gd name="T4" fmla="*/ 1 w 22"/>
                  <a:gd name="T5" fmla="*/ 0 h 27"/>
                  <a:gd name="T6" fmla="*/ 0 w 22"/>
                  <a:gd name="T7" fmla="*/ 0 h 27"/>
                  <a:gd name="T8" fmla="*/ 0 w 22"/>
                  <a:gd name="T9" fmla="*/ 0 h 27"/>
                  <a:gd name="T10" fmla="*/ 0 w 22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"/>
                  <a:gd name="T19" fmla="*/ 0 h 27"/>
                  <a:gd name="T20" fmla="*/ 22 w 22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" h="27">
                    <a:moveTo>
                      <a:pt x="0" y="0"/>
                    </a:moveTo>
                    <a:lnTo>
                      <a:pt x="22" y="27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7" name="Freeform 326"/>
              <p:cNvSpPr>
                <a:spLocks/>
              </p:cNvSpPr>
              <p:nvPr/>
            </p:nvSpPr>
            <p:spPr bwMode="auto">
              <a:xfrm>
                <a:off x="7994011" y="3743344"/>
                <a:ext cx="5" cy="7"/>
              </a:xfrm>
              <a:custGeom>
                <a:avLst/>
                <a:gdLst>
                  <a:gd name="T0" fmla="*/ 0 w 22"/>
                  <a:gd name="T1" fmla="*/ 0 h 35"/>
                  <a:gd name="T2" fmla="*/ 1 w 22"/>
                  <a:gd name="T3" fmla="*/ 0 h 35"/>
                  <a:gd name="T4" fmla="*/ 0 w 22"/>
                  <a:gd name="T5" fmla="*/ 1 h 35"/>
                  <a:gd name="T6" fmla="*/ 0 w 22"/>
                  <a:gd name="T7" fmla="*/ 1 h 35"/>
                  <a:gd name="T8" fmla="*/ 1 w 22"/>
                  <a:gd name="T9" fmla="*/ 1 h 35"/>
                  <a:gd name="T10" fmla="*/ 1 w 22"/>
                  <a:gd name="T11" fmla="*/ 1 h 35"/>
                  <a:gd name="T12" fmla="*/ 1 w 22"/>
                  <a:gd name="T13" fmla="*/ 1 h 35"/>
                  <a:gd name="T14" fmla="*/ 1 w 22"/>
                  <a:gd name="T15" fmla="*/ 0 h 35"/>
                  <a:gd name="T16" fmla="*/ 1 w 22"/>
                  <a:gd name="T17" fmla="*/ 0 h 35"/>
                  <a:gd name="T18" fmla="*/ 0 w 22"/>
                  <a:gd name="T19" fmla="*/ 0 h 35"/>
                  <a:gd name="T20" fmla="*/ 0 w 22"/>
                  <a:gd name="T21" fmla="*/ 0 h 35"/>
                  <a:gd name="T22" fmla="*/ 0 w 22"/>
                  <a:gd name="T23" fmla="*/ 0 h 3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2"/>
                  <a:gd name="T37" fmla="*/ 0 h 35"/>
                  <a:gd name="T38" fmla="*/ 22 w 22"/>
                  <a:gd name="T39" fmla="*/ 35 h 3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2" h="35">
                    <a:moveTo>
                      <a:pt x="0" y="0"/>
                    </a:moveTo>
                    <a:lnTo>
                      <a:pt x="13" y="8"/>
                    </a:lnTo>
                    <a:lnTo>
                      <a:pt x="0" y="17"/>
                    </a:lnTo>
                    <a:lnTo>
                      <a:pt x="0" y="35"/>
                    </a:lnTo>
                    <a:lnTo>
                      <a:pt x="13" y="35"/>
                    </a:lnTo>
                    <a:lnTo>
                      <a:pt x="13" y="17"/>
                    </a:lnTo>
                    <a:lnTo>
                      <a:pt x="22" y="17"/>
                    </a:lnTo>
                    <a:lnTo>
                      <a:pt x="13" y="8"/>
                    </a:lnTo>
                    <a:lnTo>
                      <a:pt x="1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8" name="Freeform 327"/>
              <p:cNvSpPr>
                <a:spLocks/>
              </p:cNvSpPr>
              <p:nvPr/>
            </p:nvSpPr>
            <p:spPr bwMode="auto">
              <a:xfrm>
                <a:off x="7994003" y="3743346"/>
                <a:ext cx="8" cy="9"/>
              </a:xfrm>
              <a:custGeom>
                <a:avLst/>
                <a:gdLst>
                  <a:gd name="T0" fmla="*/ 0 w 37"/>
                  <a:gd name="T1" fmla="*/ 1 h 44"/>
                  <a:gd name="T2" fmla="*/ 0 w 37"/>
                  <a:gd name="T3" fmla="*/ 1 h 44"/>
                  <a:gd name="T4" fmla="*/ 0 w 37"/>
                  <a:gd name="T5" fmla="*/ 1 h 44"/>
                  <a:gd name="T6" fmla="*/ 1 w 37"/>
                  <a:gd name="T7" fmla="*/ 2 h 44"/>
                  <a:gd name="T8" fmla="*/ 1 w 37"/>
                  <a:gd name="T9" fmla="*/ 1 h 44"/>
                  <a:gd name="T10" fmla="*/ 2 w 37"/>
                  <a:gd name="T11" fmla="*/ 2 h 44"/>
                  <a:gd name="T12" fmla="*/ 2 w 37"/>
                  <a:gd name="T13" fmla="*/ 1 h 44"/>
                  <a:gd name="T14" fmla="*/ 1 w 37"/>
                  <a:gd name="T15" fmla="*/ 1 h 44"/>
                  <a:gd name="T16" fmla="*/ 1 w 37"/>
                  <a:gd name="T17" fmla="*/ 0 h 44"/>
                  <a:gd name="T18" fmla="*/ 1 w 37"/>
                  <a:gd name="T19" fmla="*/ 1 h 44"/>
                  <a:gd name="T20" fmla="*/ 1 w 37"/>
                  <a:gd name="T21" fmla="*/ 0 h 44"/>
                  <a:gd name="T22" fmla="*/ 0 w 37"/>
                  <a:gd name="T23" fmla="*/ 0 h 44"/>
                  <a:gd name="T24" fmla="*/ 0 w 37"/>
                  <a:gd name="T25" fmla="*/ 0 h 44"/>
                  <a:gd name="T26" fmla="*/ 0 w 37"/>
                  <a:gd name="T27" fmla="*/ 1 h 44"/>
                  <a:gd name="T28" fmla="*/ 0 w 37"/>
                  <a:gd name="T29" fmla="*/ 1 h 44"/>
                  <a:gd name="T30" fmla="*/ 0 w 37"/>
                  <a:gd name="T31" fmla="*/ 1 h 4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7"/>
                  <a:gd name="T49" fmla="*/ 0 h 44"/>
                  <a:gd name="T50" fmla="*/ 37 w 37"/>
                  <a:gd name="T51" fmla="*/ 44 h 4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7" h="44">
                    <a:moveTo>
                      <a:pt x="0" y="20"/>
                    </a:moveTo>
                    <a:lnTo>
                      <a:pt x="8" y="20"/>
                    </a:lnTo>
                    <a:lnTo>
                      <a:pt x="8" y="29"/>
                    </a:lnTo>
                    <a:lnTo>
                      <a:pt x="15" y="44"/>
                    </a:lnTo>
                    <a:lnTo>
                      <a:pt x="15" y="29"/>
                    </a:lnTo>
                    <a:lnTo>
                      <a:pt x="37" y="37"/>
                    </a:lnTo>
                    <a:lnTo>
                      <a:pt x="37" y="29"/>
                    </a:lnTo>
                    <a:lnTo>
                      <a:pt x="30" y="29"/>
                    </a:lnTo>
                    <a:lnTo>
                      <a:pt x="30" y="7"/>
                    </a:lnTo>
                    <a:lnTo>
                      <a:pt x="15" y="20"/>
                    </a:lnTo>
                    <a:lnTo>
                      <a:pt x="15" y="7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>
                <a:off x="7994003" y="3743351"/>
                <a:ext cx="12" cy="15"/>
              </a:xfrm>
              <a:custGeom>
                <a:avLst/>
                <a:gdLst>
                  <a:gd name="T0" fmla="*/ 0 w 57"/>
                  <a:gd name="T1" fmla="*/ 2 h 66"/>
                  <a:gd name="T2" fmla="*/ 0 w 57"/>
                  <a:gd name="T3" fmla="*/ 2 h 66"/>
                  <a:gd name="T4" fmla="*/ 1 w 57"/>
                  <a:gd name="T5" fmla="*/ 2 h 66"/>
                  <a:gd name="T6" fmla="*/ 1 w 57"/>
                  <a:gd name="T7" fmla="*/ 3 h 66"/>
                  <a:gd name="T8" fmla="*/ 2 w 57"/>
                  <a:gd name="T9" fmla="*/ 3 h 66"/>
                  <a:gd name="T10" fmla="*/ 2 w 57"/>
                  <a:gd name="T11" fmla="*/ 3 h 66"/>
                  <a:gd name="T12" fmla="*/ 2 w 57"/>
                  <a:gd name="T13" fmla="*/ 2 h 66"/>
                  <a:gd name="T14" fmla="*/ 2 w 57"/>
                  <a:gd name="T15" fmla="*/ 2 h 66"/>
                  <a:gd name="T16" fmla="*/ 3 w 57"/>
                  <a:gd name="T17" fmla="*/ 3 h 66"/>
                  <a:gd name="T18" fmla="*/ 3 w 57"/>
                  <a:gd name="T19" fmla="*/ 1 h 66"/>
                  <a:gd name="T20" fmla="*/ 2 w 57"/>
                  <a:gd name="T21" fmla="*/ 0 h 66"/>
                  <a:gd name="T22" fmla="*/ 2 w 57"/>
                  <a:gd name="T23" fmla="*/ 1 h 66"/>
                  <a:gd name="T24" fmla="*/ 1 w 57"/>
                  <a:gd name="T25" fmla="*/ 1 h 66"/>
                  <a:gd name="T26" fmla="*/ 1 w 57"/>
                  <a:gd name="T27" fmla="*/ 1 h 66"/>
                  <a:gd name="T28" fmla="*/ 1 w 57"/>
                  <a:gd name="T29" fmla="*/ 1 h 66"/>
                  <a:gd name="T30" fmla="*/ 0 w 57"/>
                  <a:gd name="T31" fmla="*/ 2 h 66"/>
                  <a:gd name="T32" fmla="*/ 0 w 57"/>
                  <a:gd name="T33" fmla="*/ 2 h 66"/>
                  <a:gd name="T34" fmla="*/ 0 w 57"/>
                  <a:gd name="T35" fmla="*/ 2 h 66"/>
                  <a:gd name="T36" fmla="*/ 0 w 57"/>
                  <a:gd name="T37" fmla="*/ 2 h 6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7"/>
                  <a:gd name="T58" fmla="*/ 0 h 66"/>
                  <a:gd name="T59" fmla="*/ 57 w 57"/>
                  <a:gd name="T60" fmla="*/ 66 h 6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7" h="66">
                    <a:moveTo>
                      <a:pt x="0" y="47"/>
                    </a:moveTo>
                    <a:lnTo>
                      <a:pt x="7" y="40"/>
                    </a:lnTo>
                    <a:lnTo>
                      <a:pt x="33" y="40"/>
                    </a:lnTo>
                    <a:lnTo>
                      <a:pt x="28" y="57"/>
                    </a:lnTo>
                    <a:lnTo>
                      <a:pt x="43" y="66"/>
                    </a:lnTo>
                    <a:lnTo>
                      <a:pt x="48" y="57"/>
                    </a:lnTo>
                    <a:lnTo>
                      <a:pt x="43" y="47"/>
                    </a:lnTo>
                    <a:lnTo>
                      <a:pt x="48" y="40"/>
                    </a:lnTo>
                    <a:lnTo>
                      <a:pt x="57" y="57"/>
                    </a:lnTo>
                    <a:lnTo>
                      <a:pt x="57" y="17"/>
                    </a:lnTo>
                    <a:lnTo>
                      <a:pt x="43" y="0"/>
                    </a:lnTo>
                    <a:lnTo>
                      <a:pt x="43" y="17"/>
                    </a:lnTo>
                    <a:lnTo>
                      <a:pt x="33" y="17"/>
                    </a:lnTo>
                    <a:lnTo>
                      <a:pt x="28" y="25"/>
                    </a:lnTo>
                    <a:lnTo>
                      <a:pt x="13" y="17"/>
                    </a:lnTo>
                    <a:lnTo>
                      <a:pt x="0" y="40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13" name="S_PNG"/>
            <p:cNvGrpSpPr>
              <a:grpSpLocks/>
            </p:cNvGrpSpPr>
            <p:nvPr/>
          </p:nvGrpSpPr>
          <p:grpSpPr bwMode="auto">
            <a:xfrm>
              <a:off x="8490308" y="4381500"/>
              <a:ext cx="441594" cy="247650"/>
              <a:chOff x="8678981" y="4381500"/>
              <a:chExt cx="46" cy="26"/>
            </a:xfrm>
            <a:solidFill>
              <a:schemeClr val="bg1">
                <a:lumMod val="75000"/>
              </a:schemeClr>
            </a:solidFill>
          </p:grpSpPr>
          <p:sp>
            <p:nvSpPr>
              <p:cNvPr id="321" name="Freeform 320"/>
              <p:cNvSpPr>
                <a:spLocks/>
              </p:cNvSpPr>
              <p:nvPr/>
            </p:nvSpPr>
            <p:spPr bwMode="auto">
              <a:xfrm>
                <a:off x="8678981" y="4381500"/>
                <a:ext cx="28" cy="26"/>
              </a:xfrm>
              <a:custGeom>
                <a:avLst/>
                <a:gdLst>
                  <a:gd name="T0" fmla="*/ 0 w 127"/>
                  <a:gd name="T1" fmla="*/ 4 h 123"/>
                  <a:gd name="T2" fmla="*/ 0 w 127"/>
                  <a:gd name="T3" fmla="*/ 0 h 123"/>
                  <a:gd name="T4" fmla="*/ 2 w 127"/>
                  <a:gd name="T5" fmla="*/ 0 h 123"/>
                  <a:gd name="T6" fmla="*/ 3 w 127"/>
                  <a:gd name="T7" fmla="*/ 1 h 123"/>
                  <a:gd name="T8" fmla="*/ 3 w 127"/>
                  <a:gd name="T9" fmla="*/ 2 h 123"/>
                  <a:gd name="T10" fmla="*/ 4 w 127"/>
                  <a:gd name="T11" fmla="*/ 3 h 123"/>
                  <a:gd name="T12" fmla="*/ 4 w 127"/>
                  <a:gd name="T13" fmla="*/ 3 h 123"/>
                  <a:gd name="T14" fmla="*/ 4 w 127"/>
                  <a:gd name="T15" fmla="*/ 3 h 123"/>
                  <a:gd name="T16" fmla="*/ 4 w 127"/>
                  <a:gd name="T17" fmla="*/ 3 h 123"/>
                  <a:gd name="T18" fmla="*/ 5 w 127"/>
                  <a:gd name="T19" fmla="*/ 4 h 123"/>
                  <a:gd name="T20" fmla="*/ 5 w 127"/>
                  <a:gd name="T21" fmla="*/ 4 h 123"/>
                  <a:gd name="T22" fmla="*/ 5 w 127"/>
                  <a:gd name="T23" fmla="*/ 5 h 123"/>
                  <a:gd name="T24" fmla="*/ 6 w 127"/>
                  <a:gd name="T25" fmla="*/ 5 h 123"/>
                  <a:gd name="T26" fmla="*/ 6 w 127"/>
                  <a:gd name="T27" fmla="*/ 5 h 123"/>
                  <a:gd name="T28" fmla="*/ 4 w 127"/>
                  <a:gd name="T29" fmla="*/ 5 h 123"/>
                  <a:gd name="T30" fmla="*/ 3 w 127"/>
                  <a:gd name="T31" fmla="*/ 3 h 123"/>
                  <a:gd name="T32" fmla="*/ 2 w 127"/>
                  <a:gd name="T33" fmla="*/ 3 h 123"/>
                  <a:gd name="T34" fmla="*/ 1 w 127"/>
                  <a:gd name="T35" fmla="*/ 4 h 123"/>
                  <a:gd name="T36" fmla="*/ 2 w 127"/>
                  <a:gd name="T37" fmla="*/ 4 h 123"/>
                  <a:gd name="T38" fmla="*/ 0 w 127"/>
                  <a:gd name="T39" fmla="*/ 4 h 123"/>
                  <a:gd name="T40" fmla="*/ 0 w 127"/>
                  <a:gd name="T41" fmla="*/ 4 h 123"/>
                  <a:gd name="T42" fmla="*/ 0 w 127"/>
                  <a:gd name="T43" fmla="*/ 4 h 12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27"/>
                  <a:gd name="T67" fmla="*/ 0 h 123"/>
                  <a:gd name="T68" fmla="*/ 127 w 127"/>
                  <a:gd name="T69" fmla="*/ 123 h 12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27" h="123">
                    <a:moveTo>
                      <a:pt x="0" y="91"/>
                    </a:moveTo>
                    <a:lnTo>
                      <a:pt x="0" y="0"/>
                    </a:lnTo>
                    <a:lnTo>
                      <a:pt x="35" y="7"/>
                    </a:lnTo>
                    <a:lnTo>
                      <a:pt x="57" y="31"/>
                    </a:lnTo>
                    <a:lnTo>
                      <a:pt x="57" y="39"/>
                    </a:lnTo>
                    <a:lnTo>
                      <a:pt x="90" y="61"/>
                    </a:lnTo>
                    <a:lnTo>
                      <a:pt x="78" y="69"/>
                    </a:lnTo>
                    <a:lnTo>
                      <a:pt x="83" y="69"/>
                    </a:lnTo>
                    <a:lnTo>
                      <a:pt x="90" y="76"/>
                    </a:lnTo>
                    <a:lnTo>
                      <a:pt x="98" y="91"/>
                    </a:lnTo>
                    <a:lnTo>
                      <a:pt x="105" y="91"/>
                    </a:lnTo>
                    <a:lnTo>
                      <a:pt x="105" y="106"/>
                    </a:lnTo>
                    <a:lnTo>
                      <a:pt x="127" y="115"/>
                    </a:lnTo>
                    <a:lnTo>
                      <a:pt x="127" y="123"/>
                    </a:lnTo>
                    <a:lnTo>
                      <a:pt x="83" y="115"/>
                    </a:lnTo>
                    <a:lnTo>
                      <a:pt x="63" y="76"/>
                    </a:lnTo>
                    <a:lnTo>
                      <a:pt x="43" y="76"/>
                    </a:lnTo>
                    <a:lnTo>
                      <a:pt x="21" y="84"/>
                    </a:lnTo>
                    <a:lnTo>
                      <a:pt x="35" y="91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2" name="Freeform 321"/>
              <p:cNvSpPr>
                <a:spLocks/>
              </p:cNvSpPr>
              <p:nvPr/>
            </p:nvSpPr>
            <p:spPr bwMode="auto">
              <a:xfrm>
                <a:off x="8679001" y="4381504"/>
                <a:ext cx="13" cy="9"/>
              </a:xfrm>
              <a:custGeom>
                <a:avLst/>
                <a:gdLst>
                  <a:gd name="T0" fmla="*/ 0 w 57"/>
                  <a:gd name="T1" fmla="*/ 1 h 40"/>
                  <a:gd name="T2" fmla="*/ 1 w 57"/>
                  <a:gd name="T3" fmla="*/ 2 h 40"/>
                  <a:gd name="T4" fmla="*/ 2 w 57"/>
                  <a:gd name="T5" fmla="*/ 2 h 40"/>
                  <a:gd name="T6" fmla="*/ 3 w 57"/>
                  <a:gd name="T7" fmla="*/ 1 h 40"/>
                  <a:gd name="T8" fmla="*/ 3 w 57"/>
                  <a:gd name="T9" fmla="*/ 0 h 40"/>
                  <a:gd name="T10" fmla="*/ 3 w 57"/>
                  <a:gd name="T11" fmla="*/ 0 h 40"/>
                  <a:gd name="T12" fmla="*/ 3 w 57"/>
                  <a:gd name="T13" fmla="*/ 0 h 40"/>
                  <a:gd name="T14" fmla="*/ 3 w 57"/>
                  <a:gd name="T15" fmla="*/ 1 h 40"/>
                  <a:gd name="T16" fmla="*/ 0 w 57"/>
                  <a:gd name="T17" fmla="*/ 1 h 40"/>
                  <a:gd name="T18" fmla="*/ 0 w 57"/>
                  <a:gd name="T19" fmla="*/ 1 h 40"/>
                  <a:gd name="T20" fmla="*/ 0 w 57"/>
                  <a:gd name="T21" fmla="*/ 1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7"/>
                  <a:gd name="T34" fmla="*/ 0 h 40"/>
                  <a:gd name="T35" fmla="*/ 57 w 57"/>
                  <a:gd name="T36" fmla="*/ 40 h 4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7" h="40">
                    <a:moveTo>
                      <a:pt x="0" y="19"/>
                    </a:moveTo>
                    <a:lnTo>
                      <a:pt x="14" y="40"/>
                    </a:lnTo>
                    <a:lnTo>
                      <a:pt x="36" y="40"/>
                    </a:lnTo>
                    <a:lnTo>
                      <a:pt x="51" y="24"/>
                    </a:lnTo>
                    <a:lnTo>
                      <a:pt x="57" y="1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51" y="1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3" name="Freeform 322"/>
              <p:cNvSpPr>
                <a:spLocks/>
              </p:cNvSpPr>
              <p:nvPr/>
            </p:nvSpPr>
            <p:spPr bwMode="auto">
              <a:xfrm>
                <a:off x="8679022" y="4381508"/>
                <a:ext cx="5" cy="6"/>
              </a:xfrm>
              <a:custGeom>
                <a:avLst/>
                <a:gdLst>
                  <a:gd name="T0" fmla="*/ 0 w 23"/>
                  <a:gd name="T1" fmla="*/ 0 h 29"/>
                  <a:gd name="T2" fmla="*/ 0 w 23"/>
                  <a:gd name="T3" fmla="*/ 1 h 29"/>
                  <a:gd name="T4" fmla="*/ 1 w 23"/>
                  <a:gd name="T5" fmla="*/ 1 h 29"/>
                  <a:gd name="T6" fmla="*/ 0 w 23"/>
                  <a:gd name="T7" fmla="*/ 0 h 29"/>
                  <a:gd name="T8" fmla="*/ 0 w 23"/>
                  <a:gd name="T9" fmla="*/ 0 h 29"/>
                  <a:gd name="T10" fmla="*/ 0 w 23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3"/>
                  <a:gd name="T19" fmla="*/ 0 h 29"/>
                  <a:gd name="T20" fmla="*/ 23 w 23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3" h="29">
                    <a:moveTo>
                      <a:pt x="0" y="0"/>
                    </a:moveTo>
                    <a:lnTo>
                      <a:pt x="6" y="29"/>
                    </a:lnTo>
                    <a:lnTo>
                      <a:pt x="23" y="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14" name="S_CHN"/>
            <p:cNvGrpSpPr>
              <a:grpSpLocks/>
            </p:cNvGrpSpPr>
            <p:nvPr/>
          </p:nvGrpSpPr>
          <p:grpSpPr bwMode="auto">
            <a:xfrm>
              <a:off x="6446046" y="2390775"/>
              <a:ext cx="1716683" cy="1352550"/>
              <a:chOff x="6785312" y="2390775"/>
              <a:chExt cx="180" cy="142"/>
            </a:xfrm>
            <a:solidFill>
              <a:schemeClr val="bg1">
                <a:lumMod val="75000"/>
              </a:schemeClr>
            </a:solidFill>
          </p:grpSpPr>
          <p:sp>
            <p:nvSpPr>
              <p:cNvPr id="319" name="Freeform 318"/>
              <p:cNvSpPr>
                <a:spLocks/>
              </p:cNvSpPr>
              <p:nvPr/>
            </p:nvSpPr>
            <p:spPr bwMode="auto">
              <a:xfrm>
                <a:off x="6785416" y="2390912"/>
                <a:ext cx="8" cy="5"/>
              </a:xfrm>
              <a:custGeom>
                <a:avLst/>
                <a:gdLst>
                  <a:gd name="T0" fmla="*/ 0 w 37"/>
                  <a:gd name="T1" fmla="*/ 0 h 25"/>
                  <a:gd name="T2" fmla="*/ 0 w 37"/>
                  <a:gd name="T3" fmla="*/ 1 h 25"/>
                  <a:gd name="T4" fmla="*/ 1 w 37"/>
                  <a:gd name="T5" fmla="*/ 1 h 25"/>
                  <a:gd name="T6" fmla="*/ 1 w 37"/>
                  <a:gd name="T7" fmla="*/ 1 h 25"/>
                  <a:gd name="T8" fmla="*/ 2 w 37"/>
                  <a:gd name="T9" fmla="*/ 0 h 25"/>
                  <a:gd name="T10" fmla="*/ 0 w 37"/>
                  <a:gd name="T11" fmla="*/ 0 h 25"/>
                  <a:gd name="T12" fmla="*/ 0 w 37"/>
                  <a:gd name="T13" fmla="*/ 0 h 25"/>
                  <a:gd name="T14" fmla="*/ 0 w 37"/>
                  <a:gd name="T15" fmla="*/ 0 h 25"/>
                  <a:gd name="T16" fmla="*/ 0 w 37"/>
                  <a:gd name="T17" fmla="*/ 0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25"/>
                  <a:gd name="T29" fmla="*/ 37 w 37"/>
                  <a:gd name="T30" fmla="*/ 25 h 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25">
                    <a:moveTo>
                      <a:pt x="0" y="5"/>
                    </a:moveTo>
                    <a:lnTo>
                      <a:pt x="0" y="22"/>
                    </a:lnTo>
                    <a:lnTo>
                      <a:pt x="15" y="25"/>
                    </a:lnTo>
                    <a:lnTo>
                      <a:pt x="20" y="22"/>
                    </a:lnTo>
                    <a:lnTo>
                      <a:pt x="37" y="0"/>
                    </a:lnTo>
                    <a:lnTo>
                      <a:pt x="9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0" name="Freeform 319"/>
              <p:cNvSpPr>
                <a:spLocks/>
              </p:cNvSpPr>
              <p:nvPr/>
            </p:nvSpPr>
            <p:spPr bwMode="auto">
              <a:xfrm>
                <a:off x="6785312" y="2390775"/>
                <a:ext cx="180" cy="135"/>
              </a:xfrm>
              <a:custGeom>
                <a:avLst/>
                <a:gdLst>
                  <a:gd name="T0" fmla="*/ 10 w 817"/>
                  <a:gd name="T1" fmla="*/ 6 h 618"/>
                  <a:gd name="T2" fmla="*/ 11 w 817"/>
                  <a:gd name="T3" fmla="*/ 9 h 618"/>
                  <a:gd name="T4" fmla="*/ 17 w 817"/>
                  <a:gd name="T5" fmla="*/ 11 h 618"/>
                  <a:gd name="T6" fmla="*/ 22 w 817"/>
                  <a:gd name="T7" fmla="*/ 11 h 618"/>
                  <a:gd name="T8" fmla="*/ 24 w 817"/>
                  <a:gd name="T9" fmla="*/ 10 h 618"/>
                  <a:gd name="T10" fmla="*/ 27 w 817"/>
                  <a:gd name="T11" fmla="*/ 8 h 618"/>
                  <a:gd name="T12" fmla="*/ 29 w 817"/>
                  <a:gd name="T13" fmla="*/ 6 h 618"/>
                  <a:gd name="T14" fmla="*/ 27 w 817"/>
                  <a:gd name="T15" fmla="*/ 6 h 618"/>
                  <a:gd name="T16" fmla="*/ 29 w 817"/>
                  <a:gd name="T17" fmla="*/ 4 h 618"/>
                  <a:gd name="T18" fmla="*/ 31 w 817"/>
                  <a:gd name="T19" fmla="*/ 1 h 618"/>
                  <a:gd name="T20" fmla="*/ 31 w 817"/>
                  <a:gd name="T21" fmla="*/ 0 h 618"/>
                  <a:gd name="T22" fmla="*/ 34 w 817"/>
                  <a:gd name="T23" fmla="*/ 1 h 618"/>
                  <a:gd name="T24" fmla="*/ 37 w 817"/>
                  <a:gd name="T25" fmla="*/ 5 h 618"/>
                  <a:gd name="T26" fmla="*/ 40 w 817"/>
                  <a:gd name="T27" fmla="*/ 5 h 618"/>
                  <a:gd name="T28" fmla="*/ 38 w 817"/>
                  <a:gd name="T29" fmla="*/ 9 h 618"/>
                  <a:gd name="T30" fmla="*/ 37 w 817"/>
                  <a:gd name="T31" fmla="*/ 11 h 618"/>
                  <a:gd name="T32" fmla="*/ 35 w 817"/>
                  <a:gd name="T33" fmla="*/ 12 h 618"/>
                  <a:gd name="T34" fmla="*/ 33 w 817"/>
                  <a:gd name="T35" fmla="*/ 14 h 618"/>
                  <a:gd name="T36" fmla="*/ 31 w 817"/>
                  <a:gd name="T37" fmla="*/ 15 h 618"/>
                  <a:gd name="T38" fmla="*/ 31 w 817"/>
                  <a:gd name="T39" fmla="*/ 12 h 618"/>
                  <a:gd name="T40" fmla="*/ 29 w 817"/>
                  <a:gd name="T41" fmla="*/ 15 h 618"/>
                  <a:gd name="T42" fmla="*/ 32 w 817"/>
                  <a:gd name="T43" fmla="*/ 16 h 618"/>
                  <a:gd name="T44" fmla="*/ 31 w 817"/>
                  <a:gd name="T45" fmla="*/ 17 h 618"/>
                  <a:gd name="T46" fmla="*/ 31 w 817"/>
                  <a:gd name="T47" fmla="*/ 20 h 618"/>
                  <a:gd name="T48" fmla="*/ 31 w 817"/>
                  <a:gd name="T49" fmla="*/ 22 h 618"/>
                  <a:gd name="T50" fmla="*/ 31 w 817"/>
                  <a:gd name="T51" fmla="*/ 24 h 618"/>
                  <a:gd name="T52" fmla="*/ 30 w 817"/>
                  <a:gd name="T53" fmla="*/ 25 h 618"/>
                  <a:gd name="T54" fmla="*/ 29 w 817"/>
                  <a:gd name="T55" fmla="*/ 26 h 618"/>
                  <a:gd name="T56" fmla="*/ 27 w 817"/>
                  <a:gd name="T57" fmla="*/ 28 h 618"/>
                  <a:gd name="T58" fmla="*/ 26 w 817"/>
                  <a:gd name="T59" fmla="*/ 28 h 618"/>
                  <a:gd name="T60" fmla="*/ 24 w 817"/>
                  <a:gd name="T61" fmla="*/ 28 h 618"/>
                  <a:gd name="T62" fmla="*/ 19 w 817"/>
                  <a:gd name="T63" fmla="*/ 28 h 618"/>
                  <a:gd name="T64" fmla="*/ 18 w 817"/>
                  <a:gd name="T65" fmla="*/ 28 h 618"/>
                  <a:gd name="T66" fmla="*/ 18 w 817"/>
                  <a:gd name="T67" fmla="*/ 28 h 618"/>
                  <a:gd name="T68" fmla="*/ 17 w 817"/>
                  <a:gd name="T69" fmla="*/ 27 h 618"/>
                  <a:gd name="T70" fmla="*/ 16 w 817"/>
                  <a:gd name="T71" fmla="*/ 24 h 618"/>
                  <a:gd name="T72" fmla="*/ 15 w 817"/>
                  <a:gd name="T73" fmla="*/ 23 h 618"/>
                  <a:gd name="T74" fmla="*/ 10 w 817"/>
                  <a:gd name="T75" fmla="*/ 24 h 618"/>
                  <a:gd name="T76" fmla="*/ 8 w 817"/>
                  <a:gd name="T77" fmla="*/ 24 h 618"/>
                  <a:gd name="T78" fmla="*/ 5 w 817"/>
                  <a:gd name="T79" fmla="*/ 22 h 618"/>
                  <a:gd name="T80" fmla="*/ 4 w 817"/>
                  <a:gd name="T81" fmla="*/ 20 h 618"/>
                  <a:gd name="T82" fmla="*/ 4 w 817"/>
                  <a:gd name="T83" fmla="*/ 17 h 618"/>
                  <a:gd name="T84" fmla="*/ 2 w 817"/>
                  <a:gd name="T85" fmla="*/ 17 h 618"/>
                  <a:gd name="T86" fmla="*/ 1 w 817"/>
                  <a:gd name="T87" fmla="*/ 15 h 618"/>
                  <a:gd name="T88" fmla="*/ 1 w 817"/>
                  <a:gd name="T89" fmla="*/ 13 h 618"/>
                  <a:gd name="T90" fmla="*/ 3 w 817"/>
                  <a:gd name="T91" fmla="*/ 12 h 618"/>
                  <a:gd name="T92" fmla="*/ 4 w 817"/>
                  <a:gd name="T93" fmla="*/ 9 h 618"/>
                  <a:gd name="T94" fmla="*/ 6 w 817"/>
                  <a:gd name="T95" fmla="*/ 7 h 618"/>
                  <a:gd name="T96" fmla="*/ 8 w 817"/>
                  <a:gd name="T97" fmla="*/ 5 h 61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17"/>
                  <a:gd name="T148" fmla="*/ 0 h 618"/>
                  <a:gd name="T149" fmla="*/ 817 w 817"/>
                  <a:gd name="T150" fmla="*/ 618 h 61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17" h="618">
                    <a:moveTo>
                      <a:pt x="172" y="104"/>
                    </a:moveTo>
                    <a:lnTo>
                      <a:pt x="185" y="97"/>
                    </a:lnTo>
                    <a:lnTo>
                      <a:pt x="199" y="126"/>
                    </a:lnTo>
                    <a:lnTo>
                      <a:pt x="222" y="126"/>
                    </a:lnTo>
                    <a:lnTo>
                      <a:pt x="227" y="141"/>
                    </a:lnTo>
                    <a:lnTo>
                      <a:pt x="227" y="179"/>
                    </a:lnTo>
                    <a:lnTo>
                      <a:pt x="276" y="201"/>
                    </a:lnTo>
                    <a:lnTo>
                      <a:pt x="306" y="225"/>
                    </a:lnTo>
                    <a:lnTo>
                      <a:pt x="355" y="225"/>
                    </a:lnTo>
                    <a:lnTo>
                      <a:pt x="385" y="247"/>
                    </a:lnTo>
                    <a:lnTo>
                      <a:pt x="420" y="253"/>
                    </a:lnTo>
                    <a:lnTo>
                      <a:pt x="447" y="232"/>
                    </a:lnTo>
                    <a:lnTo>
                      <a:pt x="484" y="232"/>
                    </a:lnTo>
                    <a:lnTo>
                      <a:pt x="512" y="208"/>
                    </a:lnTo>
                    <a:lnTo>
                      <a:pt x="505" y="201"/>
                    </a:lnTo>
                    <a:lnTo>
                      <a:pt x="519" y="179"/>
                    </a:lnTo>
                    <a:lnTo>
                      <a:pt x="534" y="188"/>
                    </a:lnTo>
                    <a:lnTo>
                      <a:pt x="562" y="171"/>
                    </a:lnTo>
                    <a:lnTo>
                      <a:pt x="574" y="151"/>
                    </a:lnTo>
                    <a:lnTo>
                      <a:pt x="611" y="151"/>
                    </a:lnTo>
                    <a:lnTo>
                      <a:pt x="604" y="132"/>
                    </a:lnTo>
                    <a:lnTo>
                      <a:pt x="596" y="126"/>
                    </a:lnTo>
                    <a:lnTo>
                      <a:pt x="574" y="132"/>
                    </a:lnTo>
                    <a:lnTo>
                      <a:pt x="562" y="132"/>
                    </a:lnTo>
                    <a:lnTo>
                      <a:pt x="562" y="97"/>
                    </a:lnTo>
                    <a:lnTo>
                      <a:pt x="569" y="80"/>
                    </a:lnTo>
                    <a:lnTo>
                      <a:pt x="591" y="89"/>
                    </a:lnTo>
                    <a:lnTo>
                      <a:pt x="611" y="80"/>
                    </a:lnTo>
                    <a:lnTo>
                      <a:pt x="619" y="42"/>
                    </a:lnTo>
                    <a:lnTo>
                      <a:pt x="631" y="28"/>
                    </a:lnTo>
                    <a:lnTo>
                      <a:pt x="631" y="21"/>
                    </a:lnTo>
                    <a:lnTo>
                      <a:pt x="619" y="21"/>
                    </a:lnTo>
                    <a:lnTo>
                      <a:pt x="631" y="8"/>
                    </a:lnTo>
                    <a:lnTo>
                      <a:pt x="661" y="0"/>
                    </a:lnTo>
                    <a:lnTo>
                      <a:pt x="691" y="8"/>
                    </a:lnTo>
                    <a:lnTo>
                      <a:pt x="705" y="21"/>
                    </a:lnTo>
                    <a:lnTo>
                      <a:pt x="725" y="89"/>
                    </a:lnTo>
                    <a:lnTo>
                      <a:pt x="740" y="89"/>
                    </a:lnTo>
                    <a:lnTo>
                      <a:pt x="769" y="104"/>
                    </a:lnTo>
                    <a:lnTo>
                      <a:pt x="769" y="126"/>
                    </a:lnTo>
                    <a:lnTo>
                      <a:pt x="782" y="126"/>
                    </a:lnTo>
                    <a:lnTo>
                      <a:pt x="817" y="110"/>
                    </a:lnTo>
                    <a:lnTo>
                      <a:pt x="817" y="132"/>
                    </a:lnTo>
                    <a:lnTo>
                      <a:pt x="787" y="188"/>
                    </a:lnTo>
                    <a:lnTo>
                      <a:pt x="782" y="179"/>
                    </a:lnTo>
                    <a:lnTo>
                      <a:pt x="769" y="188"/>
                    </a:lnTo>
                    <a:lnTo>
                      <a:pt x="775" y="216"/>
                    </a:lnTo>
                    <a:lnTo>
                      <a:pt x="769" y="232"/>
                    </a:lnTo>
                    <a:lnTo>
                      <a:pt x="755" y="232"/>
                    </a:lnTo>
                    <a:lnTo>
                      <a:pt x="740" y="247"/>
                    </a:lnTo>
                    <a:lnTo>
                      <a:pt x="733" y="247"/>
                    </a:lnTo>
                    <a:lnTo>
                      <a:pt x="725" y="253"/>
                    </a:lnTo>
                    <a:lnTo>
                      <a:pt x="718" y="253"/>
                    </a:lnTo>
                    <a:lnTo>
                      <a:pt x="683" y="284"/>
                    </a:lnTo>
                    <a:lnTo>
                      <a:pt x="683" y="292"/>
                    </a:lnTo>
                    <a:lnTo>
                      <a:pt x="661" y="292"/>
                    </a:lnTo>
                    <a:lnTo>
                      <a:pt x="638" y="307"/>
                    </a:lnTo>
                    <a:lnTo>
                      <a:pt x="638" y="292"/>
                    </a:lnTo>
                    <a:lnTo>
                      <a:pt x="646" y="270"/>
                    </a:lnTo>
                    <a:lnTo>
                      <a:pt x="638" y="263"/>
                    </a:lnTo>
                    <a:lnTo>
                      <a:pt x="604" y="300"/>
                    </a:lnTo>
                    <a:lnTo>
                      <a:pt x="596" y="300"/>
                    </a:lnTo>
                    <a:lnTo>
                      <a:pt x="591" y="307"/>
                    </a:lnTo>
                    <a:lnTo>
                      <a:pt x="611" y="339"/>
                    </a:lnTo>
                    <a:lnTo>
                      <a:pt x="631" y="331"/>
                    </a:lnTo>
                    <a:lnTo>
                      <a:pt x="653" y="339"/>
                    </a:lnTo>
                    <a:lnTo>
                      <a:pt x="653" y="346"/>
                    </a:lnTo>
                    <a:lnTo>
                      <a:pt x="646" y="339"/>
                    </a:lnTo>
                    <a:lnTo>
                      <a:pt x="631" y="346"/>
                    </a:lnTo>
                    <a:lnTo>
                      <a:pt x="611" y="373"/>
                    </a:lnTo>
                    <a:lnTo>
                      <a:pt x="619" y="381"/>
                    </a:lnTo>
                    <a:lnTo>
                      <a:pt x="631" y="420"/>
                    </a:lnTo>
                    <a:lnTo>
                      <a:pt x="646" y="428"/>
                    </a:lnTo>
                    <a:lnTo>
                      <a:pt x="638" y="428"/>
                    </a:lnTo>
                    <a:lnTo>
                      <a:pt x="646" y="452"/>
                    </a:lnTo>
                    <a:lnTo>
                      <a:pt x="619" y="457"/>
                    </a:lnTo>
                    <a:lnTo>
                      <a:pt x="646" y="457"/>
                    </a:lnTo>
                    <a:lnTo>
                      <a:pt x="638" y="494"/>
                    </a:lnTo>
                    <a:lnTo>
                      <a:pt x="619" y="511"/>
                    </a:lnTo>
                    <a:lnTo>
                      <a:pt x="611" y="511"/>
                    </a:lnTo>
                    <a:lnTo>
                      <a:pt x="611" y="532"/>
                    </a:lnTo>
                    <a:lnTo>
                      <a:pt x="604" y="549"/>
                    </a:lnTo>
                    <a:lnTo>
                      <a:pt x="596" y="549"/>
                    </a:lnTo>
                    <a:lnTo>
                      <a:pt x="596" y="556"/>
                    </a:lnTo>
                    <a:lnTo>
                      <a:pt x="569" y="579"/>
                    </a:lnTo>
                    <a:lnTo>
                      <a:pt x="547" y="579"/>
                    </a:lnTo>
                    <a:lnTo>
                      <a:pt x="547" y="586"/>
                    </a:lnTo>
                    <a:lnTo>
                      <a:pt x="534" y="579"/>
                    </a:lnTo>
                    <a:lnTo>
                      <a:pt x="534" y="586"/>
                    </a:lnTo>
                    <a:lnTo>
                      <a:pt x="527" y="586"/>
                    </a:lnTo>
                    <a:lnTo>
                      <a:pt x="490" y="601"/>
                    </a:lnTo>
                    <a:lnTo>
                      <a:pt x="484" y="618"/>
                    </a:lnTo>
                    <a:lnTo>
                      <a:pt x="484" y="595"/>
                    </a:lnTo>
                    <a:lnTo>
                      <a:pt x="442" y="595"/>
                    </a:lnTo>
                    <a:lnTo>
                      <a:pt x="442" y="579"/>
                    </a:lnTo>
                    <a:lnTo>
                      <a:pt x="392" y="586"/>
                    </a:lnTo>
                    <a:lnTo>
                      <a:pt x="385" y="579"/>
                    </a:lnTo>
                    <a:lnTo>
                      <a:pt x="385" y="586"/>
                    </a:lnTo>
                    <a:lnTo>
                      <a:pt x="378" y="586"/>
                    </a:lnTo>
                    <a:lnTo>
                      <a:pt x="378" y="601"/>
                    </a:lnTo>
                    <a:lnTo>
                      <a:pt x="363" y="601"/>
                    </a:lnTo>
                    <a:lnTo>
                      <a:pt x="363" y="595"/>
                    </a:lnTo>
                    <a:lnTo>
                      <a:pt x="355" y="595"/>
                    </a:lnTo>
                    <a:lnTo>
                      <a:pt x="341" y="586"/>
                    </a:lnTo>
                    <a:lnTo>
                      <a:pt x="341" y="573"/>
                    </a:lnTo>
                    <a:lnTo>
                      <a:pt x="333" y="556"/>
                    </a:lnTo>
                    <a:lnTo>
                      <a:pt x="320" y="556"/>
                    </a:lnTo>
                    <a:lnTo>
                      <a:pt x="333" y="511"/>
                    </a:lnTo>
                    <a:lnTo>
                      <a:pt x="320" y="494"/>
                    </a:lnTo>
                    <a:lnTo>
                      <a:pt x="315" y="494"/>
                    </a:lnTo>
                    <a:lnTo>
                      <a:pt x="298" y="474"/>
                    </a:lnTo>
                    <a:lnTo>
                      <a:pt x="276" y="474"/>
                    </a:lnTo>
                    <a:lnTo>
                      <a:pt x="234" y="494"/>
                    </a:lnTo>
                    <a:lnTo>
                      <a:pt x="212" y="494"/>
                    </a:lnTo>
                    <a:lnTo>
                      <a:pt x="199" y="505"/>
                    </a:lnTo>
                    <a:lnTo>
                      <a:pt x="192" y="494"/>
                    </a:lnTo>
                    <a:lnTo>
                      <a:pt x="157" y="494"/>
                    </a:lnTo>
                    <a:lnTo>
                      <a:pt x="135" y="474"/>
                    </a:lnTo>
                    <a:lnTo>
                      <a:pt x="127" y="474"/>
                    </a:lnTo>
                    <a:lnTo>
                      <a:pt x="107" y="457"/>
                    </a:lnTo>
                    <a:lnTo>
                      <a:pt x="62" y="452"/>
                    </a:lnTo>
                    <a:lnTo>
                      <a:pt x="56" y="420"/>
                    </a:lnTo>
                    <a:lnTo>
                      <a:pt x="72" y="420"/>
                    </a:lnTo>
                    <a:lnTo>
                      <a:pt x="62" y="405"/>
                    </a:lnTo>
                    <a:lnTo>
                      <a:pt x="85" y="381"/>
                    </a:lnTo>
                    <a:lnTo>
                      <a:pt x="85" y="366"/>
                    </a:lnTo>
                    <a:lnTo>
                      <a:pt x="72" y="353"/>
                    </a:lnTo>
                    <a:lnTo>
                      <a:pt x="50" y="366"/>
                    </a:lnTo>
                    <a:lnTo>
                      <a:pt x="36" y="353"/>
                    </a:lnTo>
                    <a:lnTo>
                      <a:pt x="8" y="339"/>
                    </a:lnTo>
                    <a:lnTo>
                      <a:pt x="15" y="339"/>
                    </a:lnTo>
                    <a:lnTo>
                      <a:pt x="15" y="307"/>
                    </a:lnTo>
                    <a:lnTo>
                      <a:pt x="0" y="307"/>
                    </a:lnTo>
                    <a:lnTo>
                      <a:pt x="0" y="284"/>
                    </a:lnTo>
                    <a:lnTo>
                      <a:pt x="15" y="270"/>
                    </a:lnTo>
                    <a:lnTo>
                      <a:pt x="36" y="270"/>
                    </a:lnTo>
                    <a:lnTo>
                      <a:pt x="43" y="263"/>
                    </a:lnTo>
                    <a:lnTo>
                      <a:pt x="56" y="263"/>
                    </a:lnTo>
                    <a:lnTo>
                      <a:pt x="85" y="247"/>
                    </a:lnTo>
                    <a:lnTo>
                      <a:pt x="93" y="225"/>
                    </a:lnTo>
                    <a:lnTo>
                      <a:pt x="85" y="188"/>
                    </a:lnTo>
                    <a:lnTo>
                      <a:pt x="85" y="179"/>
                    </a:lnTo>
                    <a:lnTo>
                      <a:pt x="107" y="179"/>
                    </a:lnTo>
                    <a:lnTo>
                      <a:pt x="113" y="141"/>
                    </a:lnTo>
                    <a:lnTo>
                      <a:pt x="150" y="141"/>
                    </a:lnTo>
                    <a:lnTo>
                      <a:pt x="157" y="110"/>
                    </a:lnTo>
                    <a:lnTo>
                      <a:pt x="172" y="104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15" name="S_KAZ"/>
            <p:cNvSpPr>
              <a:spLocks/>
            </p:cNvSpPr>
            <p:nvPr/>
          </p:nvSpPr>
          <p:spPr bwMode="auto">
            <a:xfrm>
              <a:off x="6018228" y="2276475"/>
              <a:ext cx="1156130" cy="657225"/>
            </a:xfrm>
            <a:custGeom>
              <a:avLst/>
              <a:gdLst>
                <a:gd name="T0" fmla="*/ 2147483647 w 554"/>
                <a:gd name="T1" fmla="*/ 2147483647 h 319"/>
                <a:gd name="T2" fmla="*/ 2147483647 w 554"/>
                <a:gd name="T3" fmla="*/ 2147483647 h 319"/>
                <a:gd name="T4" fmla="*/ 2147483647 w 554"/>
                <a:gd name="T5" fmla="*/ 2147483647 h 319"/>
                <a:gd name="T6" fmla="*/ 2147483647 w 554"/>
                <a:gd name="T7" fmla="*/ 2147483647 h 319"/>
                <a:gd name="T8" fmla="*/ 2147483647 w 554"/>
                <a:gd name="T9" fmla="*/ 2147483647 h 319"/>
                <a:gd name="T10" fmla="*/ 2147483647 w 554"/>
                <a:gd name="T11" fmla="*/ 2147483647 h 319"/>
                <a:gd name="T12" fmla="*/ 2147483647 w 554"/>
                <a:gd name="T13" fmla="*/ 2147483647 h 319"/>
                <a:gd name="T14" fmla="*/ 2147483647 w 554"/>
                <a:gd name="T15" fmla="*/ 2147483647 h 319"/>
                <a:gd name="T16" fmla="*/ 2147483647 w 554"/>
                <a:gd name="T17" fmla="*/ 2147483647 h 319"/>
                <a:gd name="T18" fmla="*/ 2147483647 w 554"/>
                <a:gd name="T19" fmla="*/ 2147483647 h 319"/>
                <a:gd name="T20" fmla="*/ 2147483647 w 554"/>
                <a:gd name="T21" fmla="*/ 2147483647 h 319"/>
                <a:gd name="T22" fmla="*/ 2147483647 w 554"/>
                <a:gd name="T23" fmla="*/ 2147483647 h 319"/>
                <a:gd name="T24" fmla="*/ 2147483647 w 554"/>
                <a:gd name="T25" fmla="*/ 2147483647 h 319"/>
                <a:gd name="T26" fmla="*/ 2147483647 w 554"/>
                <a:gd name="T27" fmla="*/ 2147483647 h 319"/>
                <a:gd name="T28" fmla="*/ 2147483647 w 554"/>
                <a:gd name="T29" fmla="*/ 2147483647 h 319"/>
                <a:gd name="T30" fmla="*/ 2147483647 w 554"/>
                <a:gd name="T31" fmla="*/ 2147483647 h 319"/>
                <a:gd name="T32" fmla="*/ 2147483647 w 554"/>
                <a:gd name="T33" fmla="*/ 2147483647 h 319"/>
                <a:gd name="T34" fmla="*/ 2147483647 w 554"/>
                <a:gd name="T35" fmla="*/ 2147483647 h 319"/>
                <a:gd name="T36" fmla="*/ 2147483647 w 554"/>
                <a:gd name="T37" fmla="*/ 2147483647 h 319"/>
                <a:gd name="T38" fmla="*/ 2147483647 w 554"/>
                <a:gd name="T39" fmla="*/ 2147483647 h 319"/>
                <a:gd name="T40" fmla="*/ 2147483647 w 554"/>
                <a:gd name="T41" fmla="*/ 2147483647 h 319"/>
                <a:gd name="T42" fmla="*/ 2147483647 w 554"/>
                <a:gd name="T43" fmla="*/ 2147483647 h 319"/>
                <a:gd name="T44" fmla="*/ 2147483647 w 554"/>
                <a:gd name="T45" fmla="*/ 2147483647 h 319"/>
                <a:gd name="T46" fmla="*/ 2147483647 w 554"/>
                <a:gd name="T47" fmla="*/ 2147483647 h 319"/>
                <a:gd name="T48" fmla="*/ 2147483647 w 554"/>
                <a:gd name="T49" fmla="*/ 2147483647 h 319"/>
                <a:gd name="T50" fmla="*/ 2147483647 w 554"/>
                <a:gd name="T51" fmla="*/ 2147483647 h 319"/>
                <a:gd name="T52" fmla="*/ 2147483647 w 554"/>
                <a:gd name="T53" fmla="*/ 2147483647 h 319"/>
                <a:gd name="T54" fmla="*/ 2147483647 w 554"/>
                <a:gd name="T55" fmla="*/ 2147483647 h 319"/>
                <a:gd name="T56" fmla="*/ 2147483647 w 554"/>
                <a:gd name="T57" fmla="*/ 2147483647 h 319"/>
                <a:gd name="T58" fmla="*/ 2147483647 w 554"/>
                <a:gd name="T59" fmla="*/ 2147483647 h 319"/>
                <a:gd name="T60" fmla="*/ 2147483647 w 554"/>
                <a:gd name="T61" fmla="*/ 2147483647 h 319"/>
                <a:gd name="T62" fmla="*/ 2147483647 w 554"/>
                <a:gd name="T63" fmla="*/ 2147483647 h 319"/>
                <a:gd name="T64" fmla="*/ 2147483647 w 554"/>
                <a:gd name="T65" fmla="*/ 2147483647 h 319"/>
                <a:gd name="T66" fmla="*/ 2147483647 w 554"/>
                <a:gd name="T67" fmla="*/ 0 h 319"/>
                <a:gd name="T68" fmla="*/ 2147483647 w 554"/>
                <a:gd name="T69" fmla="*/ 2147483647 h 319"/>
                <a:gd name="T70" fmla="*/ 2147483647 w 554"/>
                <a:gd name="T71" fmla="*/ 2147483647 h 319"/>
                <a:gd name="T72" fmla="*/ 2147483647 w 554"/>
                <a:gd name="T73" fmla="*/ 2147483647 h 319"/>
                <a:gd name="T74" fmla="*/ 2147483647 w 554"/>
                <a:gd name="T75" fmla="*/ 2147483647 h 319"/>
                <a:gd name="T76" fmla="*/ 2147483647 w 554"/>
                <a:gd name="T77" fmla="*/ 2147483647 h 319"/>
                <a:gd name="T78" fmla="*/ 2147483647 w 554"/>
                <a:gd name="T79" fmla="*/ 2147483647 h 319"/>
                <a:gd name="T80" fmla="*/ 2147483647 w 554"/>
                <a:gd name="T81" fmla="*/ 2147483647 h 319"/>
                <a:gd name="T82" fmla="*/ 2147483647 w 554"/>
                <a:gd name="T83" fmla="*/ 2147483647 h 319"/>
                <a:gd name="T84" fmla="*/ 2147483647 w 554"/>
                <a:gd name="T85" fmla="*/ 2147483647 h 319"/>
                <a:gd name="T86" fmla="*/ 2147483647 w 554"/>
                <a:gd name="T87" fmla="*/ 2147483647 h 31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4"/>
                <a:gd name="T133" fmla="*/ 0 h 319"/>
                <a:gd name="T134" fmla="*/ 554 w 554"/>
                <a:gd name="T135" fmla="*/ 319 h 31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54" h="319">
                  <a:moveTo>
                    <a:pt x="541" y="160"/>
                  </a:moveTo>
                  <a:lnTo>
                    <a:pt x="528" y="166"/>
                  </a:lnTo>
                  <a:lnTo>
                    <a:pt x="519" y="197"/>
                  </a:lnTo>
                  <a:lnTo>
                    <a:pt x="484" y="197"/>
                  </a:lnTo>
                  <a:lnTo>
                    <a:pt x="477" y="235"/>
                  </a:lnTo>
                  <a:lnTo>
                    <a:pt x="457" y="235"/>
                  </a:lnTo>
                  <a:lnTo>
                    <a:pt x="464" y="281"/>
                  </a:lnTo>
                  <a:lnTo>
                    <a:pt x="457" y="289"/>
                  </a:lnTo>
                  <a:lnTo>
                    <a:pt x="434" y="281"/>
                  </a:lnTo>
                  <a:lnTo>
                    <a:pt x="385" y="281"/>
                  </a:lnTo>
                  <a:lnTo>
                    <a:pt x="369" y="274"/>
                  </a:lnTo>
                  <a:lnTo>
                    <a:pt x="362" y="281"/>
                  </a:lnTo>
                  <a:lnTo>
                    <a:pt x="362" y="289"/>
                  </a:lnTo>
                  <a:lnTo>
                    <a:pt x="335" y="281"/>
                  </a:lnTo>
                  <a:lnTo>
                    <a:pt x="298" y="319"/>
                  </a:lnTo>
                  <a:lnTo>
                    <a:pt x="293" y="311"/>
                  </a:lnTo>
                  <a:lnTo>
                    <a:pt x="276" y="311"/>
                  </a:lnTo>
                  <a:lnTo>
                    <a:pt x="276" y="304"/>
                  </a:lnTo>
                  <a:lnTo>
                    <a:pt x="271" y="304"/>
                  </a:lnTo>
                  <a:lnTo>
                    <a:pt x="271" y="281"/>
                  </a:lnTo>
                  <a:lnTo>
                    <a:pt x="250" y="264"/>
                  </a:lnTo>
                  <a:lnTo>
                    <a:pt x="208" y="264"/>
                  </a:lnTo>
                  <a:lnTo>
                    <a:pt x="178" y="235"/>
                  </a:lnTo>
                  <a:lnTo>
                    <a:pt x="166" y="229"/>
                  </a:lnTo>
                  <a:lnTo>
                    <a:pt x="129" y="235"/>
                  </a:lnTo>
                  <a:lnTo>
                    <a:pt x="129" y="311"/>
                  </a:lnTo>
                  <a:lnTo>
                    <a:pt x="121" y="311"/>
                  </a:lnTo>
                  <a:lnTo>
                    <a:pt x="107" y="289"/>
                  </a:lnTo>
                  <a:lnTo>
                    <a:pt x="79" y="304"/>
                  </a:lnTo>
                  <a:lnTo>
                    <a:pt x="79" y="281"/>
                  </a:lnTo>
                  <a:lnTo>
                    <a:pt x="70" y="281"/>
                  </a:lnTo>
                  <a:lnTo>
                    <a:pt x="64" y="257"/>
                  </a:lnTo>
                  <a:lnTo>
                    <a:pt x="49" y="257"/>
                  </a:lnTo>
                  <a:lnTo>
                    <a:pt x="70" y="257"/>
                  </a:lnTo>
                  <a:lnTo>
                    <a:pt x="64" y="244"/>
                  </a:lnTo>
                  <a:lnTo>
                    <a:pt x="70" y="235"/>
                  </a:lnTo>
                  <a:lnTo>
                    <a:pt x="107" y="235"/>
                  </a:lnTo>
                  <a:lnTo>
                    <a:pt x="92" y="205"/>
                  </a:lnTo>
                  <a:lnTo>
                    <a:pt x="64" y="188"/>
                  </a:lnTo>
                  <a:lnTo>
                    <a:pt x="35" y="205"/>
                  </a:lnTo>
                  <a:lnTo>
                    <a:pt x="28" y="205"/>
                  </a:lnTo>
                  <a:lnTo>
                    <a:pt x="35" y="197"/>
                  </a:lnTo>
                  <a:lnTo>
                    <a:pt x="28" y="182"/>
                  </a:lnTo>
                  <a:lnTo>
                    <a:pt x="8" y="182"/>
                  </a:lnTo>
                  <a:lnTo>
                    <a:pt x="0" y="160"/>
                  </a:lnTo>
                  <a:lnTo>
                    <a:pt x="8" y="113"/>
                  </a:lnTo>
                  <a:lnTo>
                    <a:pt x="28" y="136"/>
                  </a:lnTo>
                  <a:lnTo>
                    <a:pt x="35" y="136"/>
                  </a:lnTo>
                  <a:lnTo>
                    <a:pt x="28" y="113"/>
                  </a:lnTo>
                  <a:lnTo>
                    <a:pt x="49" y="82"/>
                  </a:lnTo>
                  <a:lnTo>
                    <a:pt x="70" y="96"/>
                  </a:lnTo>
                  <a:lnTo>
                    <a:pt x="79" y="82"/>
                  </a:lnTo>
                  <a:lnTo>
                    <a:pt x="92" y="96"/>
                  </a:lnTo>
                  <a:lnTo>
                    <a:pt x="121" y="113"/>
                  </a:lnTo>
                  <a:lnTo>
                    <a:pt x="136" y="106"/>
                  </a:lnTo>
                  <a:lnTo>
                    <a:pt x="156" y="106"/>
                  </a:lnTo>
                  <a:lnTo>
                    <a:pt x="166" y="113"/>
                  </a:lnTo>
                  <a:lnTo>
                    <a:pt x="201" y="113"/>
                  </a:lnTo>
                  <a:lnTo>
                    <a:pt x="208" y="96"/>
                  </a:lnTo>
                  <a:lnTo>
                    <a:pt x="178" y="82"/>
                  </a:lnTo>
                  <a:lnTo>
                    <a:pt x="201" y="77"/>
                  </a:lnTo>
                  <a:lnTo>
                    <a:pt x="193" y="71"/>
                  </a:lnTo>
                  <a:lnTo>
                    <a:pt x="201" y="62"/>
                  </a:lnTo>
                  <a:lnTo>
                    <a:pt x="201" y="30"/>
                  </a:lnTo>
                  <a:lnTo>
                    <a:pt x="214" y="39"/>
                  </a:lnTo>
                  <a:lnTo>
                    <a:pt x="293" y="15"/>
                  </a:lnTo>
                  <a:lnTo>
                    <a:pt x="293" y="0"/>
                  </a:lnTo>
                  <a:lnTo>
                    <a:pt x="328" y="0"/>
                  </a:lnTo>
                  <a:lnTo>
                    <a:pt x="335" y="24"/>
                  </a:lnTo>
                  <a:lnTo>
                    <a:pt x="335" y="30"/>
                  </a:lnTo>
                  <a:lnTo>
                    <a:pt x="340" y="30"/>
                  </a:lnTo>
                  <a:lnTo>
                    <a:pt x="362" y="39"/>
                  </a:lnTo>
                  <a:lnTo>
                    <a:pt x="362" y="54"/>
                  </a:lnTo>
                  <a:lnTo>
                    <a:pt x="379" y="54"/>
                  </a:lnTo>
                  <a:lnTo>
                    <a:pt x="392" y="30"/>
                  </a:lnTo>
                  <a:lnTo>
                    <a:pt x="414" y="24"/>
                  </a:lnTo>
                  <a:lnTo>
                    <a:pt x="420" y="54"/>
                  </a:lnTo>
                  <a:lnTo>
                    <a:pt x="457" y="113"/>
                  </a:lnTo>
                  <a:lnTo>
                    <a:pt x="464" y="96"/>
                  </a:lnTo>
                  <a:lnTo>
                    <a:pt x="471" y="113"/>
                  </a:lnTo>
                  <a:lnTo>
                    <a:pt x="498" y="106"/>
                  </a:lnTo>
                  <a:lnTo>
                    <a:pt x="519" y="136"/>
                  </a:lnTo>
                  <a:lnTo>
                    <a:pt x="541" y="143"/>
                  </a:lnTo>
                  <a:lnTo>
                    <a:pt x="541" y="136"/>
                  </a:lnTo>
                  <a:lnTo>
                    <a:pt x="554" y="151"/>
                  </a:lnTo>
                  <a:lnTo>
                    <a:pt x="541" y="16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16" name="S_MNG"/>
            <p:cNvSpPr>
              <a:spLocks/>
            </p:cNvSpPr>
            <p:nvPr/>
          </p:nvSpPr>
          <p:spPr bwMode="auto">
            <a:xfrm>
              <a:off x="7174359" y="2447925"/>
              <a:ext cx="895540" cy="476250"/>
            </a:xfrm>
            <a:custGeom>
              <a:avLst/>
              <a:gdLst>
                <a:gd name="T0" fmla="*/ 1250123734 w 429"/>
                <a:gd name="T1" fmla="*/ 263832096 h 229"/>
                <a:gd name="T2" fmla="*/ 1023620858 w 429"/>
                <a:gd name="T3" fmla="*/ 129754206 h 229"/>
                <a:gd name="T4" fmla="*/ 945216187 w 429"/>
                <a:gd name="T5" fmla="*/ 168679867 h 229"/>
                <a:gd name="T6" fmla="*/ 906012808 w 429"/>
                <a:gd name="T7" fmla="*/ 168679867 h 229"/>
                <a:gd name="T8" fmla="*/ 849386632 w 429"/>
                <a:gd name="T9" fmla="*/ 60552380 h 229"/>
                <a:gd name="T10" fmla="*/ 688221591 w 429"/>
                <a:gd name="T11" fmla="*/ 0 h 229"/>
                <a:gd name="T12" fmla="*/ 592394123 w 429"/>
                <a:gd name="T13" fmla="*/ 60552380 h 229"/>
                <a:gd name="T14" fmla="*/ 592394123 w 429"/>
                <a:gd name="T15" fmla="*/ 224906468 h 229"/>
                <a:gd name="T16" fmla="*/ 448649661 w 429"/>
                <a:gd name="T17" fmla="*/ 224906468 h 229"/>
                <a:gd name="T18" fmla="*/ 374600689 w 429"/>
                <a:gd name="T19" fmla="*/ 168679867 h 229"/>
                <a:gd name="T20" fmla="*/ 222146981 w 429"/>
                <a:gd name="T21" fmla="*/ 129754206 h 229"/>
                <a:gd name="T22" fmla="*/ 0 w 429"/>
                <a:gd name="T23" fmla="*/ 298434106 h 229"/>
                <a:gd name="T24" fmla="*/ 69693305 w 429"/>
                <a:gd name="T25" fmla="*/ 423862517 h 229"/>
                <a:gd name="T26" fmla="*/ 161165106 w 429"/>
                <a:gd name="T27" fmla="*/ 423862517 h 229"/>
                <a:gd name="T28" fmla="*/ 191657087 w 429"/>
                <a:gd name="T29" fmla="*/ 493064327 h 229"/>
                <a:gd name="T30" fmla="*/ 191657087 w 429"/>
                <a:gd name="T31" fmla="*/ 661744259 h 229"/>
                <a:gd name="T32" fmla="*/ 405092670 w 429"/>
                <a:gd name="T33" fmla="*/ 756898568 h 229"/>
                <a:gd name="T34" fmla="*/ 535767818 w 429"/>
                <a:gd name="T35" fmla="*/ 856374480 h 229"/>
                <a:gd name="T36" fmla="*/ 753559165 w 429"/>
                <a:gd name="T37" fmla="*/ 856374480 h 229"/>
                <a:gd name="T38" fmla="*/ 871167215 w 429"/>
                <a:gd name="T39" fmla="*/ 951528789 h 229"/>
                <a:gd name="T40" fmla="*/ 1023620858 w 429"/>
                <a:gd name="T41" fmla="*/ 990454417 h 229"/>
                <a:gd name="T42" fmla="*/ 1149940567 w 429"/>
                <a:gd name="T43" fmla="*/ 886650662 h 229"/>
                <a:gd name="T44" fmla="*/ 1306749909 w 429"/>
                <a:gd name="T45" fmla="*/ 886650662 h 229"/>
                <a:gd name="T46" fmla="*/ 1433069357 w 429"/>
                <a:gd name="T47" fmla="*/ 787172670 h 229"/>
                <a:gd name="T48" fmla="*/ 1402577377 w 429"/>
                <a:gd name="T49" fmla="*/ 756898568 h 229"/>
                <a:gd name="T50" fmla="*/ 1467914950 w 429"/>
                <a:gd name="T51" fmla="*/ 661744259 h 229"/>
                <a:gd name="T52" fmla="*/ 1528896825 w 429"/>
                <a:gd name="T53" fmla="*/ 692020441 h 229"/>
                <a:gd name="T54" fmla="*/ 1650860574 w 429"/>
                <a:gd name="T55" fmla="*/ 631468077 h 229"/>
                <a:gd name="T56" fmla="*/ 1711842449 w 429"/>
                <a:gd name="T57" fmla="*/ 531989955 h 229"/>
                <a:gd name="T58" fmla="*/ 1868651791 w 429"/>
                <a:gd name="T59" fmla="*/ 531989955 h 229"/>
                <a:gd name="T60" fmla="*/ 1803314217 w 429"/>
                <a:gd name="T61" fmla="*/ 423862517 h 229"/>
                <a:gd name="T62" fmla="*/ 1711842449 w 429"/>
                <a:gd name="T63" fmla="*/ 458464462 h 229"/>
                <a:gd name="T64" fmla="*/ 1650860574 w 429"/>
                <a:gd name="T65" fmla="*/ 458464462 h 229"/>
                <a:gd name="T66" fmla="*/ 1650860574 w 429"/>
                <a:gd name="T67" fmla="*/ 298434106 h 229"/>
                <a:gd name="T68" fmla="*/ 1672639070 w 429"/>
                <a:gd name="T69" fmla="*/ 224906468 h 229"/>
                <a:gd name="T70" fmla="*/ 1585523000 w 429"/>
                <a:gd name="T71" fmla="*/ 168679867 h 229"/>
                <a:gd name="T72" fmla="*/ 1498406931 w 429"/>
                <a:gd name="T73" fmla="*/ 263832096 h 229"/>
                <a:gd name="T74" fmla="*/ 1337239803 w 429"/>
                <a:gd name="T75" fmla="*/ 298434106 h 229"/>
                <a:gd name="T76" fmla="*/ 1250123734 w 429"/>
                <a:gd name="T77" fmla="*/ 263832096 h 229"/>
                <a:gd name="T78" fmla="*/ 1250123734 w 429"/>
                <a:gd name="T79" fmla="*/ 263832096 h 229"/>
                <a:gd name="T80" fmla="*/ 1250123734 w 429"/>
                <a:gd name="T81" fmla="*/ 263832096 h 2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29"/>
                <a:gd name="T124" fmla="*/ 0 h 229"/>
                <a:gd name="T125" fmla="*/ 429 w 429"/>
                <a:gd name="T126" fmla="*/ 229 h 2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29" h="229">
                  <a:moveTo>
                    <a:pt x="287" y="61"/>
                  </a:moveTo>
                  <a:lnTo>
                    <a:pt x="235" y="30"/>
                  </a:lnTo>
                  <a:lnTo>
                    <a:pt x="217" y="39"/>
                  </a:lnTo>
                  <a:lnTo>
                    <a:pt x="208" y="39"/>
                  </a:lnTo>
                  <a:lnTo>
                    <a:pt x="195" y="14"/>
                  </a:lnTo>
                  <a:lnTo>
                    <a:pt x="158" y="0"/>
                  </a:lnTo>
                  <a:lnTo>
                    <a:pt x="136" y="14"/>
                  </a:lnTo>
                  <a:lnTo>
                    <a:pt x="136" y="52"/>
                  </a:lnTo>
                  <a:lnTo>
                    <a:pt x="103" y="52"/>
                  </a:lnTo>
                  <a:lnTo>
                    <a:pt x="86" y="39"/>
                  </a:lnTo>
                  <a:lnTo>
                    <a:pt x="51" y="30"/>
                  </a:lnTo>
                  <a:lnTo>
                    <a:pt x="0" y="69"/>
                  </a:lnTo>
                  <a:lnTo>
                    <a:pt x="16" y="98"/>
                  </a:lnTo>
                  <a:lnTo>
                    <a:pt x="37" y="98"/>
                  </a:lnTo>
                  <a:lnTo>
                    <a:pt x="44" y="114"/>
                  </a:lnTo>
                  <a:lnTo>
                    <a:pt x="44" y="153"/>
                  </a:lnTo>
                  <a:lnTo>
                    <a:pt x="93" y="175"/>
                  </a:lnTo>
                  <a:lnTo>
                    <a:pt x="123" y="198"/>
                  </a:lnTo>
                  <a:lnTo>
                    <a:pt x="173" y="198"/>
                  </a:lnTo>
                  <a:lnTo>
                    <a:pt x="200" y="220"/>
                  </a:lnTo>
                  <a:lnTo>
                    <a:pt x="235" y="229"/>
                  </a:lnTo>
                  <a:lnTo>
                    <a:pt x="264" y="205"/>
                  </a:lnTo>
                  <a:lnTo>
                    <a:pt x="300" y="205"/>
                  </a:lnTo>
                  <a:lnTo>
                    <a:pt x="329" y="182"/>
                  </a:lnTo>
                  <a:lnTo>
                    <a:pt x="322" y="175"/>
                  </a:lnTo>
                  <a:lnTo>
                    <a:pt x="337" y="153"/>
                  </a:lnTo>
                  <a:lnTo>
                    <a:pt x="351" y="160"/>
                  </a:lnTo>
                  <a:lnTo>
                    <a:pt x="379" y="146"/>
                  </a:lnTo>
                  <a:lnTo>
                    <a:pt x="393" y="123"/>
                  </a:lnTo>
                  <a:lnTo>
                    <a:pt x="429" y="123"/>
                  </a:lnTo>
                  <a:lnTo>
                    <a:pt x="414" y="98"/>
                  </a:lnTo>
                  <a:lnTo>
                    <a:pt x="393" y="106"/>
                  </a:lnTo>
                  <a:lnTo>
                    <a:pt x="379" y="106"/>
                  </a:lnTo>
                  <a:lnTo>
                    <a:pt x="379" y="69"/>
                  </a:lnTo>
                  <a:lnTo>
                    <a:pt x="384" y="52"/>
                  </a:lnTo>
                  <a:lnTo>
                    <a:pt x="364" y="39"/>
                  </a:lnTo>
                  <a:lnTo>
                    <a:pt x="344" y="61"/>
                  </a:lnTo>
                  <a:lnTo>
                    <a:pt x="307" y="69"/>
                  </a:lnTo>
                  <a:lnTo>
                    <a:pt x="287" y="6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17" name="S_BGD"/>
            <p:cNvSpPr>
              <a:spLocks/>
            </p:cNvSpPr>
            <p:nvPr/>
          </p:nvSpPr>
          <p:spPr bwMode="auto">
            <a:xfrm>
              <a:off x="7174359" y="3476625"/>
              <a:ext cx="153611" cy="161925"/>
            </a:xfrm>
            <a:custGeom>
              <a:avLst/>
              <a:gdLst>
                <a:gd name="T0" fmla="*/ 318161093 w 73"/>
                <a:gd name="T1" fmla="*/ 318403437 h 77"/>
                <a:gd name="T2" fmla="*/ 257144687 w 73"/>
                <a:gd name="T3" fmla="*/ 207846493 h 77"/>
                <a:gd name="T4" fmla="*/ 257144687 w 73"/>
                <a:gd name="T5" fmla="*/ 141514048 h 77"/>
                <a:gd name="T6" fmla="*/ 222276416 w 73"/>
                <a:gd name="T7" fmla="*/ 207846493 h 77"/>
                <a:gd name="T8" fmla="*/ 191769289 w 73"/>
                <a:gd name="T9" fmla="*/ 207846493 h 77"/>
                <a:gd name="T10" fmla="*/ 191769289 w 73"/>
                <a:gd name="T11" fmla="*/ 141514048 h 77"/>
                <a:gd name="T12" fmla="*/ 257144687 w 73"/>
                <a:gd name="T13" fmla="*/ 66334564 h 77"/>
                <a:gd name="T14" fmla="*/ 126391772 w 73"/>
                <a:gd name="T15" fmla="*/ 66334564 h 77"/>
                <a:gd name="T16" fmla="*/ 126391772 w 73"/>
                <a:gd name="T17" fmla="*/ 0 h 77"/>
                <a:gd name="T18" fmla="*/ 39225255 w 73"/>
                <a:gd name="T19" fmla="*/ 0 h 77"/>
                <a:gd name="T20" fmla="*/ 39225255 w 73"/>
                <a:gd name="T21" fmla="*/ 30955009 h 77"/>
                <a:gd name="T22" fmla="*/ 0 w 73"/>
                <a:gd name="T23" fmla="*/ 110556911 h 77"/>
                <a:gd name="T24" fmla="*/ 39225255 w 73"/>
                <a:gd name="T25" fmla="*/ 110556911 h 77"/>
                <a:gd name="T26" fmla="*/ 69734486 w 73"/>
                <a:gd name="T27" fmla="*/ 318403437 h 77"/>
                <a:gd name="T28" fmla="*/ 161260075 w 73"/>
                <a:gd name="T29" fmla="*/ 318403437 h 77"/>
                <a:gd name="T30" fmla="*/ 222276416 w 73"/>
                <a:gd name="T31" fmla="*/ 243226040 h 77"/>
                <a:gd name="T32" fmla="*/ 257144687 w 73"/>
                <a:gd name="T33" fmla="*/ 340515654 h 77"/>
                <a:gd name="T34" fmla="*/ 318161093 w 73"/>
                <a:gd name="T35" fmla="*/ 318403437 h 77"/>
                <a:gd name="T36" fmla="*/ 318161093 w 73"/>
                <a:gd name="T37" fmla="*/ 318403437 h 77"/>
                <a:gd name="T38" fmla="*/ 318161093 w 73"/>
                <a:gd name="T39" fmla="*/ 318403437 h 7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3"/>
                <a:gd name="T61" fmla="*/ 0 h 77"/>
                <a:gd name="T62" fmla="*/ 73 w 73"/>
                <a:gd name="T63" fmla="*/ 77 h 7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3" h="77">
                  <a:moveTo>
                    <a:pt x="73" y="72"/>
                  </a:moveTo>
                  <a:lnTo>
                    <a:pt x="59" y="47"/>
                  </a:lnTo>
                  <a:lnTo>
                    <a:pt x="59" y="32"/>
                  </a:lnTo>
                  <a:lnTo>
                    <a:pt x="51" y="47"/>
                  </a:lnTo>
                  <a:lnTo>
                    <a:pt x="44" y="47"/>
                  </a:lnTo>
                  <a:lnTo>
                    <a:pt x="44" y="32"/>
                  </a:lnTo>
                  <a:lnTo>
                    <a:pt x="59" y="15"/>
                  </a:lnTo>
                  <a:lnTo>
                    <a:pt x="29" y="15"/>
                  </a:lnTo>
                  <a:lnTo>
                    <a:pt x="29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5"/>
                  </a:lnTo>
                  <a:lnTo>
                    <a:pt x="9" y="25"/>
                  </a:lnTo>
                  <a:lnTo>
                    <a:pt x="16" y="72"/>
                  </a:lnTo>
                  <a:lnTo>
                    <a:pt x="37" y="72"/>
                  </a:lnTo>
                  <a:lnTo>
                    <a:pt x="51" y="55"/>
                  </a:lnTo>
                  <a:lnTo>
                    <a:pt x="59" y="77"/>
                  </a:lnTo>
                  <a:lnTo>
                    <a:pt x="73" y="7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18" name="S_MMR"/>
            <p:cNvSpPr>
              <a:spLocks/>
            </p:cNvSpPr>
            <p:nvPr/>
          </p:nvSpPr>
          <p:spPr bwMode="auto">
            <a:xfrm>
              <a:off x="7302817" y="3419475"/>
              <a:ext cx="243399" cy="590550"/>
            </a:xfrm>
            <a:custGeom>
              <a:avLst/>
              <a:gdLst>
                <a:gd name="T0" fmla="*/ 394115234 w 119"/>
                <a:gd name="T1" fmla="*/ 1223681757 h 285"/>
                <a:gd name="T2" fmla="*/ 459080680 w 119"/>
                <a:gd name="T3" fmla="*/ 1069110800 h 285"/>
                <a:gd name="T4" fmla="*/ 394115234 w 119"/>
                <a:gd name="T5" fmla="*/ 871604027 h 285"/>
                <a:gd name="T6" fmla="*/ 394115234 w 119"/>
                <a:gd name="T7" fmla="*/ 785731878 h 285"/>
                <a:gd name="T8" fmla="*/ 333482621 w 119"/>
                <a:gd name="T9" fmla="*/ 678392727 h 285"/>
                <a:gd name="T10" fmla="*/ 333482621 w 119"/>
                <a:gd name="T11" fmla="*/ 583931705 h 285"/>
                <a:gd name="T12" fmla="*/ 480734441 w 119"/>
                <a:gd name="T13" fmla="*/ 523821899 h 285"/>
                <a:gd name="T14" fmla="*/ 515382540 w 119"/>
                <a:gd name="T15" fmla="*/ 433656350 h 285"/>
                <a:gd name="T16" fmla="*/ 480734441 w 119"/>
                <a:gd name="T17" fmla="*/ 433656350 h 285"/>
                <a:gd name="T18" fmla="*/ 420101828 w 119"/>
                <a:gd name="T19" fmla="*/ 395013675 h 285"/>
                <a:gd name="T20" fmla="*/ 420101828 w 119"/>
                <a:gd name="T21" fmla="*/ 330608527 h 285"/>
                <a:gd name="T22" fmla="*/ 394115234 w 119"/>
                <a:gd name="T23" fmla="*/ 266205386 h 285"/>
                <a:gd name="T24" fmla="*/ 333482621 w 119"/>
                <a:gd name="T25" fmla="*/ 266205386 h 285"/>
                <a:gd name="T26" fmla="*/ 394115234 w 119"/>
                <a:gd name="T27" fmla="*/ 72991981 h 285"/>
                <a:gd name="T28" fmla="*/ 333482621 w 119"/>
                <a:gd name="T29" fmla="*/ 0 h 285"/>
                <a:gd name="T30" fmla="*/ 307498108 w 119"/>
                <a:gd name="T31" fmla="*/ 0 h 285"/>
                <a:gd name="T32" fmla="*/ 307498108 w 119"/>
                <a:gd name="T33" fmla="*/ 72991981 h 285"/>
                <a:gd name="T34" fmla="*/ 238201844 w 119"/>
                <a:gd name="T35" fmla="*/ 72991981 h 285"/>
                <a:gd name="T36" fmla="*/ 60632629 w 119"/>
                <a:gd name="T37" fmla="*/ 395013675 h 285"/>
                <a:gd name="T38" fmla="*/ 60632629 w 119"/>
                <a:gd name="T39" fmla="*/ 433656350 h 285"/>
                <a:gd name="T40" fmla="*/ 0 w 119"/>
                <a:gd name="T41" fmla="*/ 455123351 h 285"/>
                <a:gd name="T42" fmla="*/ 95280744 w 119"/>
                <a:gd name="T43" fmla="*/ 553877903 h 285"/>
                <a:gd name="T44" fmla="*/ 147251885 w 119"/>
                <a:gd name="T45" fmla="*/ 742795803 h 285"/>
                <a:gd name="T46" fmla="*/ 116934505 w 119"/>
                <a:gd name="T47" fmla="*/ 785731878 h 285"/>
                <a:gd name="T48" fmla="*/ 190561488 w 119"/>
                <a:gd name="T49" fmla="*/ 837254753 h 285"/>
                <a:gd name="T50" fmla="*/ 277180761 w 119"/>
                <a:gd name="T51" fmla="*/ 742795803 h 285"/>
                <a:gd name="T52" fmla="*/ 307498108 w 119"/>
                <a:gd name="T53" fmla="*/ 785731878 h 285"/>
                <a:gd name="T54" fmla="*/ 394115234 w 119"/>
                <a:gd name="T55" fmla="*/ 1039054926 h 285"/>
                <a:gd name="T56" fmla="*/ 394115234 w 119"/>
                <a:gd name="T57" fmla="*/ 1223681757 h 285"/>
                <a:gd name="T58" fmla="*/ 394115234 w 119"/>
                <a:gd name="T59" fmla="*/ 1223681757 h 285"/>
                <a:gd name="T60" fmla="*/ 394115234 w 119"/>
                <a:gd name="T61" fmla="*/ 1223681757 h 2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9"/>
                <a:gd name="T94" fmla="*/ 0 h 285"/>
                <a:gd name="T95" fmla="*/ 119 w 119"/>
                <a:gd name="T96" fmla="*/ 285 h 2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9" h="285">
                  <a:moveTo>
                    <a:pt x="91" y="285"/>
                  </a:moveTo>
                  <a:lnTo>
                    <a:pt x="106" y="249"/>
                  </a:lnTo>
                  <a:lnTo>
                    <a:pt x="91" y="203"/>
                  </a:lnTo>
                  <a:lnTo>
                    <a:pt x="91" y="183"/>
                  </a:lnTo>
                  <a:lnTo>
                    <a:pt x="77" y="158"/>
                  </a:lnTo>
                  <a:lnTo>
                    <a:pt x="77" y="136"/>
                  </a:lnTo>
                  <a:lnTo>
                    <a:pt x="111" y="122"/>
                  </a:lnTo>
                  <a:lnTo>
                    <a:pt x="119" y="101"/>
                  </a:lnTo>
                  <a:lnTo>
                    <a:pt x="111" y="101"/>
                  </a:lnTo>
                  <a:lnTo>
                    <a:pt x="97" y="92"/>
                  </a:lnTo>
                  <a:lnTo>
                    <a:pt x="97" y="77"/>
                  </a:lnTo>
                  <a:lnTo>
                    <a:pt x="91" y="62"/>
                  </a:lnTo>
                  <a:lnTo>
                    <a:pt x="77" y="62"/>
                  </a:lnTo>
                  <a:lnTo>
                    <a:pt x="91" y="17"/>
                  </a:lnTo>
                  <a:lnTo>
                    <a:pt x="77" y="0"/>
                  </a:lnTo>
                  <a:lnTo>
                    <a:pt x="71" y="0"/>
                  </a:lnTo>
                  <a:lnTo>
                    <a:pt x="71" y="17"/>
                  </a:lnTo>
                  <a:lnTo>
                    <a:pt x="55" y="17"/>
                  </a:lnTo>
                  <a:lnTo>
                    <a:pt x="14" y="92"/>
                  </a:lnTo>
                  <a:lnTo>
                    <a:pt x="14" y="101"/>
                  </a:lnTo>
                  <a:lnTo>
                    <a:pt x="0" y="106"/>
                  </a:lnTo>
                  <a:lnTo>
                    <a:pt x="22" y="129"/>
                  </a:lnTo>
                  <a:lnTo>
                    <a:pt x="34" y="173"/>
                  </a:lnTo>
                  <a:lnTo>
                    <a:pt x="27" y="183"/>
                  </a:lnTo>
                  <a:lnTo>
                    <a:pt x="44" y="195"/>
                  </a:lnTo>
                  <a:lnTo>
                    <a:pt x="64" y="173"/>
                  </a:lnTo>
                  <a:lnTo>
                    <a:pt x="71" y="183"/>
                  </a:lnTo>
                  <a:lnTo>
                    <a:pt x="91" y="242"/>
                  </a:lnTo>
                  <a:lnTo>
                    <a:pt x="91" y="28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19" name="S_LAO"/>
            <p:cNvSpPr>
              <a:spLocks/>
            </p:cNvSpPr>
            <p:nvPr/>
          </p:nvSpPr>
          <p:spPr bwMode="auto">
            <a:xfrm>
              <a:off x="7536727" y="3609975"/>
              <a:ext cx="189779" cy="266700"/>
            </a:xfrm>
            <a:custGeom>
              <a:avLst/>
              <a:gdLst>
                <a:gd name="T0" fmla="*/ 386066491 w 94"/>
                <a:gd name="T1" fmla="*/ 520962911 h 128"/>
                <a:gd name="T2" fmla="*/ 386066491 w 94"/>
                <a:gd name="T3" fmla="*/ 455842303 h 128"/>
                <a:gd name="T4" fmla="*/ 332673817 w 94"/>
                <a:gd name="T5" fmla="*/ 360332494 h 128"/>
                <a:gd name="T6" fmla="*/ 332673817 w 94"/>
                <a:gd name="T7" fmla="*/ 329943294 h 128"/>
                <a:gd name="T8" fmla="*/ 188925337 w 94"/>
                <a:gd name="T9" fmla="*/ 199702013 h 128"/>
                <a:gd name="T10" fmla="*/ 271067352 w 94"/>
                <a:gd name="T11" fmla="*/ 169312813 h 128"/>
                <a:gd name="T12" fmla="*/ 213568733 w 94"/>
                <a:gd name="T13" fmla="*/ 138923612 h 128"/>
                <a:gd name="T14" fmla="*/ 151962269 w 94"/>
                <a:gd name="T15" fmla="*/ 69462848 h 128"/>
                <a:gd name="T16" fmla="*/ 119105052 w 94"/>
                <a:gd name="T17" fmla="*/ 0 h 128"/>
                <a:gd name="T18" fmla="*/ 98569563 w 94"/>
                <a:gd name="T19" fmla="*/ 0 h 128"/>
                <a:gd name="T20" fmla="*/ 98569563 w 94"/>
                <a:gd name="T21" fmla="*/ 69462848 h 128"/>
                <a:gd name="T22" fmla="*/ 36963084 w 94"/>
                <a:gd name="T23" fmla="*/ 69462848 h 128"/>
                <a:gd name="T24" fmla="*/ 36963084 w 94"/>
                <a:gd name="T25" fmla="*/ 39071548 h 128"/>
                <a:gd name="T26" fmla="*/ 0 w 94"/>
                <a:gd name="T27" fmla="*/ 138923612 h 128"/>
                <a:gd name="T28" fmla="*/ 0 w 94"/>
                <a:gd name="T29" fmla="*/ 169312813 h 128"/>
                <a:gd name="T30" fmla="*/ 36963084 w 94"/>
                <a:gd name="T31" fmla="*/ 199702013 h 128"/>
                <a:gd name="T32" fmla="*/ 36963084 w 94"/>
                <a:gd name="T33" fmla="*/ 329943294 h 128"/>
                <a:gd name="T34" fmla="*/ 188925337 w 94"/>
                <a:gd name="T35" fmla="*/ 273505017 h 128"/>
                <a:gd name="T36" fmla="*/ 213568733 w 94"/>
                <a:gd name="T37" fmla="*/ 329943294 h 128"/>
                <a:gd name="T38" fmla="*/ 271067352 w 94"/>
                <a:gd name="T39" fmla="*/ 395063902 h 128"/>
                <a:gd name="T40" fmla="*/ 291602841 w 94"/>
                <a:gd name="T41" fmla="*/ 455842303 h 128"/>
                <a:gd name="T42" fmla="*/ 291602841 w 94"/>
                <a:gd name="T43" fmla="*/ 520962911 h 128"/>
                <a:gd name="T44" fmla="*/ 332673817 w 94"/>
                <a:gd name="T45" fmla="*/ 555694449 h 128"/>
                <a:gd name="T46" fmla="*/ 332673817 w 94"/>
                <a:gd name="T47" fmla="*/ 520962911 h 128"/>
                <a:gd name="T48" fmla="*/ 386066491 w 94"/>
                <a:gd name="T49" fmla="*/ 520962911 h 128"/>
                <a:gd name="T50" fmla="*/ 386066491 w 94"/>
                <a:gd name="T51" fmla="*/ 520962911 h 12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4"/>
                <a:gd name="T79" fmla="*/ 0 h 128"/>
                <a:gd name="T80" fmla="*/ 94 w 94"/>
                <a:gd name="T81" fmla="*/ 128 h 12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4" h="128">
                  <a:moveTo>
                    <a:pt x="94" y="120"/>
                  </a:moveTo>
                  <a:lnTo>
                    <a:pt x="94" y="105"/>
                  </a:lnTo>
                  <a:lnTo>
                    <a:pt x="81" y="83"/>
                  </a:lnTo>
                  <a:lnTo>
                    <a:pt x="81" y="76"/>
                  </a:lnTo>
                  <a:lnTo>
                    <a:pt x="46" y="46"/>
                  </a:lnTo>
                  <a:lnTo>
                    <a:pt x="66" y="39"/>
                  </a:lnTo>
                  <a:lnTo>
                    <a:pt x="52" y="32"/>
                  </a:lnTo>
                  <a:lnTo>
                    <a:pt x="37" y="16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32"/>
                  </a:lnTo>
                  <a:lnTo>
                    <a:pt x="0" y="39"/>
                  </a:lnTo>
                  <a:lnTo>
                    <a:pt x="9" y="46"/>
                  </a:lnTo>
                  <a:lnTo>
                    <a:pt x="9" y="76"/>
                  </a:lnTo>
                  <a:lnTo>
                    <a:pt x="46" y="63"/>
                  </a:lnTo>
                  <a:lnTo>
                    <a:pt x="52" y="76"/>
                  </a:lnTo>
                  <a:lnTo>
                    <a:pt x="66" y="91"/>
                  </a:lnTo>
                  <a:lnTo>
                    <a:pt x="71" y="105"/>
                  </a:lnTo>
                  <a:lnTo>
                    <a:pt x="71" y="120"/>
                  </a:lnTo>
                  <a:lnTo>
                    <a:pt x="81" y="128"/>
                  </a:lnTo>
                  <a:lnTo>
                    <a:pt x="81" y="120"/>
                  </a:lnTo>
                  <a:lnTo>
                    <a:pt x="94" y="12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0" name="S_IND"/>
            <p:cNvSpPr>
              <a:spLocks/>
            </p:cNvSpPr>
            <p:nvPr/>
          </p:nvSpPr>
          <p:spPr bwMode="auto">
            <a:xfrm>
              <a:off x="6636801" y="3095625"/>
              <a:ext cx="805036" cy="952500"/>
            </a:xfrm>
            <a:custGeom>
              <a:avLst/>
              <a:gdLst>
                <a:gd name="T0" fmla="*/ 1337732513 w 391"/>
                <a:gd name="T1" fmla="*/ 683645963 h 455"/>
                <a:gd name="T2" fmla="*/ 1187666185 w 391"/>
                <a:gd name="T3" fmla="*/ 749383099 h 455"/>
                <a:gd name="T4" fmla="*/ 1157652091 w 391"/>
                <a:gd name="T5" fmla="*/ 683645963 h 455"/>
                <a:gd name="T6" fmla="*/ 1119063429 w 391"/>
                <a:gd name="T7" fmla="*/ 815118142 h 455"/>
                <a:gd name="T8" fmla="*/ 763192716 w 391"/>
                <a:gd name="T9" fmla="*/ 683645963 h 455"/>
                <a:gd name="T10" fmla="*/ 733180693 w 391"/>
                <a:gd name="T11" fmla="*/ 512735977 h 455"/>
                <a:gd name="T12" fmla="*/ 574537726 w 391"/>
                <a:gd name="T13" fmla="*/ 350589119 h 455"/>
                <a:gd name="T14" fmla="*/ 604551820 w 391"/>
                <a:gd name="T15" fmla="*/ 293617074 h 455"/>
                <a:gd name="T16" fmla="*/ 703166599 w 391"/>
                <a:gd name="T17" fmla="*/ 118323528 h 455"/>
                <a:gd name="T18" fmla="*/ 553100271 w 391"/>
                <a:gd name="T19" fmla="*/ 118323528 h 455"/>
                <a:gd name="T20" fmla="*/ 394459245 w 391"/>
                <a:gd name="T21" fmla="*/ 0 h 455"/>
                <a:gd name="T22" fmla="*/ 304419034 w 391"/>
                <a:gd name="T23" fmla="*/ 87646756 h 455"/>
                <a:gd name="T24" fmla="*/ 368733471 w 391"/>
                <a:gd name="T25" fmla="*/ 118323528 h 455"/>
                <a:gd name="T26" fmla="*/ 330144809 w 391"/>
                <a:gd name="T27" fmla="*/ 188440103 h 455"/>
                <a:gd name="T28" fmla="*/ 330144809 w 391"/>
                <a:gd name="T29" fmla="*/ 324293846 h 455"/>
                <a:gd name="T30" fmla="*/ 394459245 w 391"/>
                <a:gd name="T31" fmla="*/ 390028889 h 455"/>
                <a:gd name="T32" fmla="*/ 394459245 w 391"/>
                <a:gd name="T33" fmla="*/ 455763932 h 455"/>
                <a:gd name="T34" fmla="*/ 150066393 w 391"/>
                <a:gd name="T35" fmla="*/ 727471418 h 455"/>
                <a:gd name="T36" fmla="*/ 60026133 w 391"/>
                <a:gd name="T37" fmla="*/ 727471418 h 455"/>
                <a:gd name="T38" fmla="*/ 124340586 w 391"/>
                <a:gd name="T39" fmla="*/ 815118142 h 455"/>
                <a:gd name="T40" fmla="*/ 150066393 w 391"/>
                <a:gd name="T41" fmla="*/ 845792820 h 455"/>
                <a:gd name="T42" fmla="*/ 30014102 w 391"/>
                <a:gd name="T43" fmla="*/ 950969726 h 455"/>
                <a:gd name="T44" fmla="*/ 60026133 w 391"/>
                <a:gd name="T45" fmla="*/ 1051765133 h 455"/>
                <a:gd name="T46" fmla="*/ 124340586 w 391"/>
                <a:gd name="T47" fmla="*/ 1082439812 h 455"/>
                <a:gd name="T48" fmla="*/ 150066393 w 391"/>
                <a:gd name="T49" fmla="*/ 1213912253 h 455"/>
                <a:gd name="T50" fmla="*/ 244392853 w 391"/>
                <a:gd name="T51" fmla="*/ 1244589025 h 455"/>
                <a:gd name="T52" fmla="*/ 553100271 w 391"/>
                <a:gd name="T53" fmla="*/ 1993969769 h 455"/>
                <a:gd name="T54" fmla="*/ 647428801 w 391"/>
                <a:gd name="T55" fmla="*/ 1766087868 h 455"/>
                <a:gd name="T56" fmla="*/ 703166599 w 391"/>
                <a:gd name="T57" fmla="*/ 1529440877 h 455"/>
                <a:gd name="T58" fmla="*/ 763192716 w 391"/>
                <a:gd name="T59" fmla="*/ 1472470925 h 455"/>
                <a:gd name="T60" fmla="*/ 797493059 w 391"/>
                <a:gd name="T61" fmla="*/ 1437410561 h 455"/>
                <a:gd name="T62" fmla="*/ 1063325373 w 391"/>
                <a:gd name="T63" fmla="*/ 1244589025 h 455"/>
                <a:gd name="T64" fmla="*/ 1157652091 w 391"/>
                <a:gd name="T65" fmla="*/ 1082439812 h 455"/>
                <a:gd name="T66" fmla="*/ 1187666185 w 391"/>
                <a:gd name="T67" fmla="*/ 1117500438 h 455"/>
                <a:gd name="T68" fmla="*/ 1119063429 w 391"/>
                <a:gd name="T69" fmla="*/ 920292954 h 455"/>
                <a:gd name="T70" fmla="*/ 1157652091 w 391"/>
                <a:gd name="T71" fmla="*/ 815118142 h 455"/>
                <a:gd name="T72" fmla="*/ 1243403983 w 391"/>
                <a:gd name="T73" fmla="*/ 876469592 h 455"/>
                <a:gd name="T74" fmla="*/ 1307718419 w 391"/>
                <a:gd name="T75" fmla="*/ 950969726 h 455"/>
                <a:gd name="T76" fmla="*/ 1337732513 w 391"/>
                <a:gd name="T77" fmla="*/ 1016704769 h 455"/>
                <a:gd name="T78" fmla="*/ 1372032856 w 391"/>
                <a:gd name="T79" fmla="*/ 1016704769 h 455"/>
                <a:gd name="T80" fmla="*/ 1432058973 w 391"/>
                <a:gd name="T81" fmla="*/ 1082439812 h 455"/>
                <a:gd name="T82" fmla="*/ 1607851075 w 391"/>
                <a:gd name="T83" fmla="*/ 749383099 h 455"/>
                <a:gd name="T84" fmla="*/ 1676451761 w 391"/>
                <a:gd name="T85" fmla="*/ 683645963 h 455"/>
                <a:gd name="T86" fmla="*/ 1517810864 w 391"/>
                <a:gd name="T87" fmla="*/ 595999239 h 455"/>
                <a:gd name="T88" fmla="*/ 1517810864 w 391"/>
                <a:gd name="T89" fmla="*/ 595999239 h 4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91"/>
                <a:gd name="T136" fmla="*/ 0 h 455"/>
                <a:gd name="T137" fmla="*/ 391 w 391"/>
                <a:gd name="T138" fmla="*/ 455 h 4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91" h="455">
                  <a:moveTo>
                    <a:pt x="354" y="136"/>
                  </a:moveTo>
                  <a:lnTo>
                    <a:pt x="312" y="156"/>
                  </a:lnTo>
                  <a:lnTo>
                    <a:pt x="320" y="171"/>
                  </a:lnTo>
                  <a:lnTo>
                    <a:pt x="277" y="171"/>
                  </a:lnTo>
                  <a:lnTo>
                    <a:pt x="277" y="166"/>
                  </a:lnTo>
                  <a:lnTo>
                    <a:pt x="270" y="156"/>
                  </a:lnTo>
                  <a:lnTo>
                    <a:pt x="261" y="156"/>
                  </a:lnTo>
                  <a:lnTo>
                    <a:pt x="261" y="186"/>
                  </a:lnTo>
                  <a:lnTo>
                    <a:pt x="256" y="186"/>
                  </a:lnTo>
                  <a:lnTo>
                    <a:pt x="178" y="156"/>
                  </a:lnTo>
                  <a:lnTo>
                    <a:pt x="164" y="139"/>
                  </a:lnTo>
                  <a:lnTo>
                    <a:pt x="171" y="117"/>
                  </a:lnTo>
                  <a:lnTo>
                    <a:pt x="141" y="112"/>
                  </a:lnTo>
                  <a:lnTo>
                    <a:pt x="134" y="80"/>
                  </a:lnTo>
                  <a:lnTo>
                    <a:pt x="151" y="80"/>
                  </a:lnTo>
                  <a:lnTo>
                    <a:pt x="141" y="67"/>
                  </a:lnTo>
                  <a:lnTo>
                    <a:pt x="164" y="43"/>
                  </a:lnTo>
                  <a:lnTo>
                    <a:pt x="164" y="27"/>
                  </a:lnTo>
                  <a:lnTo>
                    <a:pt x="151" y="15"/>
                  </a:lnTo>
                  <a:lnTo>
                    <a:pt x="129" y="27"/>
                  </a:lnTo>
                  <a:lnTo>
                    <a:pt x="99" y="6"/>
                  </a:lnTo>
                  <a:lnTo>
                    <a:pt x="92" y="0"/>
                  </a:lnTo>
                  <a:lnTo>
                    <a:pt x="71" y="0"/>
                  </a:lnTo>
                  <a:lnTo>
                    <a:pt x="71" y="20"/>
                  </a:lnTo>
                  <a:lnTo>
                    <a:pt x="77" y="20"/>
                  </a:lnTo>
                  <a:lnTo>
                    <a:pt x="86" y="27"/>
                  </a:lnTo>
                  <a:lnTo>
                    <a:pt x="86" y="35"/>
                  </a:lnTo>
                  <a:lnTo>
                    <a:pt x="77" y="43"/>
                  </a:lnTo>
                  <a:lnTo>
                    <a:pt x="86" y="52"/>
                  </a:lnTo>
                  <a:lnTo>
                    <a:pt x="77" y="74"/>
                  </a:lnTo>
                  <a:lnTo>
                    <a:pt x="92" y="80"/>
                  </a:lnTo>
                  <a:lnTo>
                    <a:pt x="92" y="89"/>
                  </a:lnTo>
                  <a:lnTo>
                    <a:pt x="86" y="89"/>
                  </a:lnTo>
                  <a:lnTo>
                    <a:pt x="92" y="104"/>
                  </a:lnTo>
                  <a:lnTo>
                    <a:pt x="49" y="156"/>
                  </a:lnTo>
                  <a:lnTo>
                    <a:pt x="35" y="166"/>
                  </a:lnTo>
                  <a:lnTo>
                    <a:pt x="29" y="156"/>
                  </a:lnTo>
                  <a:lnTo>
                    <a:pt x="14" y="166"/>
                  </a:lnTo>
                  <a:lnTo>
                    <a:pt x="14" y="186"/>
                  </a:lnTo>
                  <a:lnTo>
                    <a:pt x="29" y="186"/>
                  </a:lnTo>
                  <a:lnTo>
                    <a:pt x="29" y="193"/>
                  </a:lnTo>
                  <a:lnTo>
                    <a:pt x="35" y="193"/>
                  </a:lnTo>
                  <a:lnTo>
                    <a:pt x="35" y="217"/>
                  </a:lnTo>
                  <a:lnTo>
                    <a:pt x="7" y="217"/>
                  </a:lnTo>
                  <a:lnTo>
                    <a:pt x="0" y="232"/>
                  </a:lnTo>
                  <a:lnTo>
                    <a:pt x="14" y="240"/>
                  </a:lnTo>
                  <a:lnTo>
                    <a:pt x="29" y="240"/>
                  </a:lnTo>
                  <a:lnTo>
                    <a:pt x="29" y="247"/>
                  </a:lnTo>
                  <a:lnTo>
                    <a:pt x="7" y="247"/>
                  </a:lnTo>
                  <a:lnTo>
                    <a:pt x="35" y="277"/>
                  </a:lnTo>
                  <a:lnTo>
                    <a:pt x="57" y="247"/>
                  </a:lnTo>
                  <a:lnTo>
                    <a:pt x="57" y="284"/>
                  </a:lnTo>
                  <a:lnTo>
                    <a:pt x="114" y="447"/>
                  </a:lnTo>
                  <a:lnTo>
                    <a:pt x="129" y="455"/>
                  </a:lnTo>
                  <a:lnTo>
                    <a:pt x="151" y="432"/>
                  </a:lnTo>
                  <a:lnTo>
                    <a:pt x="151" y="403"/>
                  </a:lnTo>
                  <a:lnTo>
                    <a:pt x="164" y="378"/>
                  </a:lnTo>
                  <a:lnTo>
                    <a:pt x="164" y="349"/>
                  </a:lnTo>
                  <a:lnTo>
                    <a:pt x="171" y="349"/>
                  </a:lnTo>
                  <a:lnTo>
                    <a:pt x="178" y="336"/>
                  </a:lnTo>
                  <a:lnTo>
                    <a:pt x="186" y="336"/>
                  </a:lnTo>
                  <a:lnTo>
                    <a:pt x="186" y="328"/>
                  </a:lnTo>
                  <a:lnTo>
                    <a:pt x="226" y="291"/>
                  </a:lnTo>
                  <a:lnTo>
                    <a:pt x="248" y="284"/>
                  </a:lnTo>
                  <a:lnTo>
                    <a:pt x="256" y="255"/>
                  </a:lnTo>
                  <a:lnTo>
                    <a:pt x="270" y="247"/>
                  </a:lnTo>
                  <a:lnTo>
                    <a:pt x="270" y="255"/>
                  </a:lnTo>
                  <a:lnTo>
                    <a:pt x="277" y="255"/>
                  </a:lnTo>
                  <a:lnTo>
                    <a:pt x="270" y="210"/>
                  </a:lnTo>
                  <a:lnTo>
                    <a:pt x="261" y="210"/>
                  </a:lnTo>
                  <a:lnTo>
                    <a:pt x="270" y="193"/>
                  </a:lnTo>
                  <a:lnTo>
                    <a:pt x="270" y="186"/>
                  </a:lnTo>
                  <a:lnTo>
                    <a:pt x="290" y="186"/>
                  </a:lnTo>
                  <a:lnTo>
                    <a:pt x="290" y="200"/>
                  </a:lnTo>
                  <a:lnTo>
                    <a:pt x="320" y="200"/>
                  </a:lnTo>
                  <a:lnTo>
                    <a:pt x="305" y="217"/>
                  </a:lnTo>
                  <a:lnTo>
                    <a:pt x="305" y="232"/>
                  </a:lnTo>
                  <a:lnTo>
                    <a:pt x="312" y="232"/>
                  </a:lnTo>
                  <a:lnTo>
                    <a:pt x="320" y="217"/>
                  </a:lnTo>
                  <a:lnTo>
                    <a:pt x="320" y="232"/>
                  </a:lnTo>
                  <a:lnTo>
                    <a:pt x="334" y="255"/>
                  </a:lnTo>
                  <a:lnTo>
                    <a:pt x="334" y="247"/>
                  </a:lnTo>
                  <a:lnTo>
                    <a:pt x="364" y="186"/>
                  </a:lnTo>
                  <a:lnTo>
                    <a:pt x="375" y="171"/>
                  </a:lnTo>
                  <a:lnTo>
                    <a:pt x="391" y="171"/>
                  </a:lnTo>
                  <a:lnTo>
                    <a:pt x="391" y="156"/>
                  </a:lnTo>
                  <a:lnTo>
                    <a:pt x="375" y="136"/>
                  </a:lnTo>
                  <a:lnTo>
                    <a:pt x="354" y="13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1" name="S_KOR"/>
            <p:cNvSpPr>
              <a:spLocks/>
            </p:cNvSpPr>
            <p:nvPr/>
          </p:nvSpPr>
          <p:spPr bwMode="auto">
            <a:xfrm>
              <a:off x="8259678" y="3028950"/>
              <a:ext cx="85401" cy="152400"/>
            </a:xfrm>
            <a:custGeom>
              <a:avLst/>
              <a:gdLst>
                <a:gd name="T0" fmla="*/ 0 w 40"/>
                <a:gd name="T1" fmla="*/ 2147483647 h 76"/>
                <a:gd name="T2" fmla="*/ 2147483647 w 40"/>
                <a:gd name="T3" fmla="*/ 0 h 76"/>
                <a:gd name="T4" fmla="*/ 2147483647 w 40"/>
                <a:gd name="T5" fmla="*/ 2147483647 h 76"/>
                <a:gd name="T6" fmla="*/ 2147483647 w 40"/>
                <a:gd name="T7" fmla="*/ 2147483647 h 76"/>
                <a:gd name="T8" fmla="*/ 0 w 40"/>
                <a:gd name="T9" fmla="*/ 2147483647 h 76"/>
                <a:gd name="T10" fmla="*/ 0 w 40"/>
                <a:gd name="T11" fmla="*/ 2147483647 h 76"/>
                <a:gd name="T12" fmla="*/ 0 w 40"/>
                <a:gd name="T13" fmla="*/ 2147483647 h 76"/>
                <a:gd name="T14" fmla="*/ 0 w 40"/>
                <a:gd name="T15" fmla="*/ 2147483647 h 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76"/>
                <a:gd name="T26" fmla="*/ 40 w 40"/>
                <a:gd name="T27" fmla="*/ 76 h 7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76">
                  <a:moveTo>
                    <a:pt x="0" y="24"/>
                  </a:moveTo>
                  <a:lnTo>
                    <a:pt x="27" y="0"/>
                  </a:lnTo>
                  <a:lnTo>
                    <a:pt x="40" y="48"/>
                  </a:lnTo>
                  <a:lnTo>
                    <a:pt x="35" y="68"/>
                  </a:lnTo>
                  <a:lnTo>
                    <a:pt x="0" y="7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2" name="S_PRK"/>
            <p:cNvSpPr>
              <a:spLocks/>
            </p:cNvSpPr>
            <p:nvPr/>
          </p:nvSpPr>
          <p:spPr bwMode="auto">
            <a:xfrm>
              <a:off x="8221722" y="2876550"/>
              <a:ext cx="170801" cy="190500"/>
            </a:xfrm>
            <a:custGeom>
              <a:avLst/>
              <a:gdLst>
                <a:gd name="T0" fmla="*/ 2147483647 w 82"/>
                <a:gd name="T1" fmla="*/ 0 h 94"/>
                <a:gd name="T2" fmla="*/ 2147483647 w 82"/>
                <a:gd name="T3" fmla="*/ 0 h 94"/>
                <a:gd name="T4" fmla="*/ 2147483647 w 82"/>
                <a:gd name="T5" fmla="*/ 2147483647 h 94"/>
                <a:gd name="T6" fmla="*/ 2147483647 w 82"/>
                <a:gd name="T7" fmla="*/ 2147483647 h 94"/>
                <a:gd name="T8" fmla="*/ 2147483647 w 82"/>
                <a:gd name="T9" fmla="*/ 2147483647 h 94"/>
                <a:gd name="T10" fmla="*/ 2147483647 w 82"/>
                <a:gd name="T11" fmla="*/ 2147483647 h 94"/>
                <a:gd name="T12" fmla="*/ 0 w 82"/>
                <a:gd name="T13" fmla="*/ 2147483647 h 94"/>
                <a:gd name="T14" fmla="*/ 0 w 82"/>
                <a:gd name="T15" fmla="*/ 2147483647 h 94"/>
                <a:gd name="T16" fmla="*/ 2147483647 w 82"/>
                <a:gd name="T17" fmla="*/ 2147483647 h 94"/>
                <a:gd name="T18" fmla="*/ 0 w 82"/>
                <a:gd name="T19" fmla="*/ 2147483647 h 94"/>
                <a:gd name="T20" fmla="*/ 2147483647 w 82"/>
                <a:gd name="T21" fmla="*/ 2147483647 h 94"/>
                <a:gd name="T22" fmla="*/ 2147483647 w 82"/>
                <a:gd name="T23" fmla="*/ 2147483647 h 94"/>
                <a:gd name="T24" fmla="*/ 2147483647 w 82"/>
                <a:gd name="T25" fmla="*/ 2147483647 h 94"/>
                <a:gd name="T26" fmla="*/ 2147483647 w 82"/>
                <a:gd name="T27" fmla="*/ 2147483647 h 94"/>
                <a:gd name="T28" fmla="*/ 2147483647 w 82"/>
                <a:gd name="T29" fmla="*/ 2147483647 h 94"/>
                <a:gd name="T30" fmla="*/ 2147483647 w 82"/>
                <a:gd name="T31" fmla="*/ 2147483647 h 94"/>
                <a:gd name="T32" fmla="*/ 2147483647 w 82"/>
                <a:gd name="T33" fmla="*/ 2147483647 h 94"/>
                <a:gd name="T34" fmla="*/ 2147483647 w 82"/>
                <a:gd name="T35" fmla="*/ 0 h 94"/>
                <a:gd name="T36" fmla="*/ 2147483647 w 82"/>
                <a:gd name="T37" fmla="*/ 0 h 94"/>
                <a:gd name="T38" fmla="*/ 2147483647 w 82"/>
                <a:gd name="T39" fmla="*/ 0 h 9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2"/>
                <a:gd name="T61" fmla="*/ 0 h 94"/>
                <a:gd name="T62" fmla="*/ 82 w 82"/>
                <a:gd name="T63" fmla="*/ 94 h 9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2" h="94">
                  <a:moveTo>
                    <a:pt x="82" y="0"/>
                  </a:moveTo>
                  <a:lnTo>
                    <a:pt x="68" y="0"/>
                  </a:lnTo>
                  <a:lnTo>
                    <a:pt x="55" y="17"/>
                  </a:lnTo>
                  <a:lnTo>
                    <a:pt x="48" y="17"/>
                  </a:lnTo>
                  <a:lnTo>
                    <a:pt x="38" y="24"/>
                  </a:lnTo>
                  <a:lnTo>
                    <a:pt x="33" y="24"/>
                  </a:lnTo>
                  <a:lnTo>
                    <a:pt x="0" y="52"/>
                  </a:lnTo>
                  <a:lnTo>
                    <a:pt x="0" y="59"/>
                  </a:lnTo>
                  <a:lnTo>
                    <a:pt x="8" y="59"/>
                  </a:lnTo>
                  <a:lnTo>
                    <a:pt x="0" y="88"/>
                  </a:lnTo>
                  <a:lnTo>
                    <a:pt x="8" y="94"/>
                  </a:lnTo>
                  <a:lnTo>
                    <a:pt x="20" y="94"/>
                  </a:lnTo>
                  <a:lnTo>
                    <a:pt x="48" y="74"/>
                  </a:lnTo>
                  <a:lnTo>
                    <a:pt x="33" y="66"/>
                  </a:lnTo>
                  <a:lnTo>
                    <a:pt x="33" y="59"/>
                  </a:lnTo>
                  <a:lnTo>
                    <a:pt x="60" y="37"/>
                  </a:lnTo>
                  <a:lnTo>
                    <a:pt x="60" y="24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23" name="S_JPN"/>
            <p:cNvGrpSpPr>
              <a:grpSpLocks/>
            </p:cNvGrpSpPr>
            <p:nvPr/>
          </p:nvGrpSpPr>
          <p:grpSpPr bwMode="auto">
            <a:xfrm>
              <a:off x="8685694" y="2752725"/>
              <a:ext cx="466750" cy="581025"/>
              <a:chOff x="8345078" y="2752725"/>
              <a:chExt cx="49" cy="61"/>
            </a:xfrm>
            <a:solidFill>
              <a:schemeClr val="bg1">
                <a:lumMod val="75000"/>
              </a:schemeClr>
            </a:solidFill>
          </p:grpSpPr>
          <p:sp>
            <p:nvSpPr>
              <p:cNvPr id="315" name="Freeform 314"/>
              <p:cNvSpPr>
                <a:spLocks/>
              </p:cNvSpPr>
              <p:nvPr/>
            </p:nvSpPr>
            <p:spPr bwMode="auto">
              <a:xfrm>
                <a:off x="8345078" y="2752772"/>
                <a:ext cx="8" cy="14"/>
              </a:xfrm>
              <a:custGeom>
                <a:avLst/>
                <a:gdLst>
                  <a:gd name="T0" fmla="*/ 0 w 37"/>
                  <a:gd name="T1" fmla="*/ 0 h 62"/>
                  <a:gd name="T2" fmla="*/ 0 w 37"/>
                  <a:gd name="T3" fmla="*/ 0 h 62"/>
                  <a:gd name="T4" fmla="*/ 0 w 37"/>
                  <a:gd name="T5" fmla="*/ 0 h 62"/>
                  <a:gd name="T6" fmla="*/ 0 w 37"/>
                  <a:gd name="T7" fmla="*/ 1 h 62"/>
                  <a:gd name="T8" fmla="*/ 0 w 37"/>
                  <a:gd name="T9" fmla="*/ 1 h 62"/>
                  <a:gd name="T10" fmla="*/ 0 w 37"/>
                  <a:gd name="T11" fmla="*/ 1 h 62"/>
                  <a:gd name="T12" fmla="*/ 0 w 37"/>
                  <a:gd name="T13" fmla="*/ 0 h 62"/>
                  <a:gd name="T14" fmla="*/ 0 w 37"/>
                  <a:gd name="T15" fmla="*/ 0 h 62"/>
                  <a:gd name="T16" fmla="*/ 0 w 37"/>
                  <a:gd name="T17" fmla="*/ 0 h 62"/>
                  <a:gd name="T18" fmla="*/ 0 w 37"/>
                  <a:gd name="T19" fmla="*/ 0 h 62"/>
                  <a:gd name="T20" fmla="*/ 0 w 37"/>
                  <a:gd name="T21" fmla="*/ 0 h 6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62"/>
                  <a:gd name="T35" fmla="*/ 37 w 37"/>
                  <a:gd name="T36" fmla="*/ 62 h 6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62">
                    <a:moveTo>
                      <a:pt x="0" y="16"/>
                    </a:moveTo>
                    <a:lnTo>
                      <a:pt x="0" y="23"/>
                    </a:lnTo>
                    <a:lnTo>
                      <a:pt x="10" y="23"/>
                    </a:lnTo>
                    <a:lnTo>
                      <a:pt x="10" y="53"/>
                    </a:lnTo>
                    <a:lnTo>
                      <a:pt x="24" y="62"/>
                    </a:lnTo>
                    <a:lnTo>
                      <a:pt x="30" y="53"/>
                    </a:lnTo>
                    <a:lnTo>
                      <a:pt x="37" y="23"/>
                    </a:lnTo>
                    <a:lnTo>
                      <a:pt x="10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6" name="Freeform 315"/>
              <p:cNvSpPr>
                <a:spLocks/>
              </p:cNvSpPr>
              <p:nvPr/>
            </p:nvSpPr>
            <p:spPr bwMode="auto">
              <a:xfrm>
                <a:off x="8345086" y="2752772"/>
                <a:ext cx="8" cy="6"/>
              </a:xfrm>
              <a:custGeom>
                <a:avLst/>
                <a:gdLst>
                  <a:gd name="T0" fmla="*/ 0 w 35"/>
                  <a:gd name="T1" fmla="*/ 0 h 28"/>
                  <a:gd name="T2" fmla="*/ 0 w 35"/>
                  <a:gd name="T3" fmla="*/ 0 h 28"/>
                  <a:gd name="T4" fmla="*/ 0 w 35"/>
                  <a:gd name="T5" fmla="*/ 0 h 28"/>
                  <a:gd name="T6" fmla="*/ 0 w 35"/>
                  <a:gd name="T7" fmla="*/ 0 h 28"/>
                  <a:gd name="T8" fmla="*/ 0 w 35"/>
                  <a:gd name="T9" fmla="*/ 0 h 28"/>
                  <a:gd name="T10" fmla="*/ 0 w 35"/>
                  <a:gd name="T11" fmla="*/ 0 h 28"/>
                  <a:gd name="T12" fmla="*/ 0 w 35"/>
                  <a:gd name="T13" fmla="*/ 0 h 28"/>
                  <a:gd name="T14" fmla="*/ 0 w 35"/>
                  <a:gd name="T15" fmla="*/ 0 h 28"/>
                  <a:gd name="T16" fmla="*/ 0 w 35"/>
                  <a:gd name="T17" fmla="*/ 0 h 28"/>
                  <a:gd name="T18" fmla="*/ 0 w 35"/>
                  <a:gd name="T19" fmla="*/ 0 h 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5"/>
                  <a:gd name="T31" fmla="*/ 0 h 28"/>
                  <a:gd name="T32" fmla="*/ 35 w 35"/>
                  <a:gd name="T33" fmla="*/ 28 h 2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5" h="28">
                    <a:moveTo>
                      <a:pt x="0" y="18"/>
                    </a:moveTo>
                    <a:lnTo>
                      <a:pt x="0" y="28"/>
                    </a:lnTo>
                    <a:lnTo>
                      <a:pt x="7" y="28"/>
                    </a:lnTo>
                    <a:lnTo>
                      <a:pt x="15" y="18"/>
                    </a:lnTo>
                    <a:lnTo>
                      <a:pt x="28" y="18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7" name="Freeform 316"/>
              <p:cNvSpPr>
                <a:spLocks/>
              </p:cNvSpPr>
              <p:nvPr/>
            </p:nvSpPr>
            <p:spPr bwMode="auto">
              <a:xfrm>
                <a:off x="8345083" y="2752742"/>
                <a:ext cx="31" cy="33"/>
              </a:xfrm>
              <a:custGeom>
                <a:avLst/>
                <a:gdLst>
                  <a:gd name="T0" fmla="*/ 0 w 142"/>
                  <a:gd name="T1" fmla="*/ 1 h 150"/>
                  <a:gd name="T2" fmla="*/ 0 w 142"/>
                  <a:gd name="T3" fmla="*/ 2 h 150"/>
                  <a:gd name="T4" fmla="*/ 0 w 142"/>
                  <a:gd name="T5" fmla="*/ 2 h 150"/>
                  <a:gd name="T6" fmla="*/ 0 w 142"/>
                  <a:gd name="T7" fmla="*/ 1 h 150"/>
                  <a:gd name="T8" fmla="*/ 1 w 142"/>
                  <a:gd name="T9" fmla="*/ 1 h 150"/>
                  <a:gd name="T10" fmla="*/ 1 w 142"/>
                  <a:gd name="T11" fmla="*/ 2 h 150"/>
                  <a:gd name="T12" fmla="*/ 1 w 142"/>
                  <a:gd name="T13" fmla="*/ 2 h 150"/>
                  <a:gd name="T14" fmla="*/ 1 w 142"/>
                  <a:gd name="T15" fmla="*/ 1 h 150"/>
                  <a:gd name="T16" fmla="*/ 1 w 142"/>
                  <a:gd name="T17" fmla="*/ 1 h 150"/>
                  <a:gd name="T18" fmla="*/ 1 w 142"/>
                  <a:gd name="T19" fmla="*/ 1 h 150"/>
                  <a:gd name="T20" fmla="*/ 1 w 142"/>
                  <a:gd name="T21" fmla="*/ 1 h 150"/>
                  <a:gd name="T22" fmla="*/ 1 w 142"/>
                  <a:gd name="T23" fmla="*/ 1 h 150"/>
                  <a:gd name="T24" fmla="*/ 1 w 142"/>
                  <a:gd name="T25" fmla="*/ 1 h 150"/>
                  <a:gd name="T26" fmla="*/ 1 w 142"/>
                  <a:gd name="T27" fmla="*/ 1 h 150"/>
                  <a:gd name="T28" fmla="*/ 1 w 142"/>
                  <a:gd name="T29" fmla="*/ 1 h 150"/>
                  <a:gd name="T30" fmla="*/ 1 w 142"/>
                  <a:gd name="T31" fmla="*/ 1 h 150"/>
                  <a:gd name="T32" fmla="*/ 1 w 142"/>
                  <a:gd name="T33" fmla="*/ 1 h 150"/>
                  <a:gd name="T34" fmla="*/ 2 w 142"/>
                  <a:gd name="T35" fmla="*/ 1 h 150"/>
                  <a:gd name="T36" fmla="*/ 2 w 142"/>
                  <a:gd name="T37" fmla="*/ 1 h 150"/>
                  <a:gd name="T38" fmla="*/ 2 w 142"/>
                  <a:gd name="T39" fmla="*/ 1 h 150"/>
                  <a:gd name="T40" fmla="*/ 2 w 142"/>
                  <a:gd name="T41" fmla="*/ 0 h 150"/>
                  <a:gd name="T42" fmla="*/ 2 w 142"/>
                  <a:gd name="T43" fmla="*/ 0 h 150"/>
                  <a:gd name="T44" fmla="*/ 2 w 142"/>
                  <a:gd name="T45" fmla="*/ 0 h 150"/>
                  <a:gd name="T46" fmla="*/ 1 w 142"/>
                  <a:gd name="T47" fmla="*/ 0 h 150"/>
                  <a:gd name="T48" fmla="*/ 1 w 142"/>
                  <a:gd name="T49" fmla="*/ 1 h 150"/>
                  <a:gd name="T50" fmla="*/ 1 w 142"/>
                  <a:gd name="T51" fmla="*/ 1 h 150"/>
                  <a:gd name="T52" fmla="*/ 1 w 142"/>
                  <a:gd name="T53" fmla="*/ 1 h 150"/>
                  <a:gd name="T54" fmla="*/ 1 w 142"/>
                  <a:gd name="T55" fmla="*/ 1 h 150"/>
                  <a:gd name="T56" fmla="*/ 1 w 142"/>
                  <a:gd name="T57" fmla="*/ 1 h 150"/>
                  <a:gd name="T58" fmla="*/ 0 w 142"/>
                  <a:gd name="T59" fmla="*/ 1 h 150"/>
                  <a:gd name="T60" fmla="*/ 0 w 142"/>
                  <a:gd name="T61" fmla="*/ 1 h 150"/>
                  <a:gd name="T62" fmla="*/ 0 w 142"/>
                  <a:gd name="T63" fmla="*/ 1 h 150"/>
                  <a:gd name="T64" fmla="*/ 0 w 142"/>
                  <a:gd name="T65" fmla="*/ 1 h 15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2"/>
                  <a:gd name="T100" fmla="*/ 0 h 150"/>
                  <a:gd name="T101" fmla="*/ 142 w 142"/>
                  <a:gd name="T102" fmla="*/ 150 h 15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2" h="150">
                    <a:moveTo>
                      <a:pt x="0" y="130"/>
                    </a:moveTo>
                    <a:lnTo>
                      <a:pt x="0" y="137"/>
                    </a:lnTo>
                    <a:lnTo>
                      <a:pt x="13" y="137"/>
                    </a:lnTo>
                    <a:lnTo>
                      <a:pt x="50" y="120"/>
                    </a:lnTo>
                    <a:lnTo>
                      <a:pt x="58" y="130"/>
                    </a:lnTo>
                    <a:lnTo>
                      <a:pt x="58" y="137"/>
                    </a:lnTo>
                    <a:lnTo>
                      <a:pt x="64" y="150"/>
                    </a:lnTo>
                    <a:lnTo>
                      <a:pt x="72" y="130"/>
                    </a:lnTo>
                    <a:lnTo>
                      <a:pt x="72" y="120"/>
                    </a:lnTo>
                    <a:lnTo>
                      <a:pt x="85" y="130"/>
                    </a:lnTo>
                    <a:lnTo>
                      <a:pt x="94" y="130"/>
                    </a:lnTo>
                    <a:lnTo>
                      <a:pt x="99" y="120"/>
                    </a:lnTo>
                    <a:lnTo>
                      <a:pt x="109" y="130"/>
                    </a:lnTo>
                    <a:lnTo>
                      <a:pt x="109" y="120"/>
                    </a:lnTo>
                    <a:lnTo>
                      <a:pt x="114" y="113"/>
                    </a:lnTo>
                    <a:lnTo>
                      <a:pt x="114" y="120"/>
                    </a:lnTo>
                    <a:lnTo>
                      <a:pt x="131" y="120"/>
                    </a:lnTo>
                    <a:lnTo>
                      <a:pt x="136" y="113"/>
                    </a:lnTo>
                    <a:lnTo>
                      <a:pt x="136" y="69"/>
                    </a:lnTo>
                    <a:lnTo>
                      <a:pt x="142" y="69"/>
                    </a:lnTo>
                    <a:lnTo>
                      <a:pt x="142" y="10"/>
                    </a:lnTo>
                    <a:lnTo>
                      <a:pt x="136" y="0"/>
                    </a:lnTo>
                    <a:lnTo>
                      <a:pt x="136" y="10"/>
                    </a:lnTo>
                    <a:lnTo>
                      <a:pt x="131" y="10"/>
                    </a:lnTo>
                    <a:lnTo>
                      <a:pt x="99" y="78"/>
                    </a:lnTo>
                    <a:lnTo>
                      <a:pt x="85" y="93"/>
                    </a:lnTo>
                    <a:lnTo>
                      <a:pt x="85" y="78"/>
                    </a:lnTo>
                    <a:lnTo>
                      <a:pt x="72" y="86"/>
                    </a:lnTo>
                    <a:lnTo>
                      <a:pt x="64" y="113"/>
                    </a:lnTo>
                    <a:lnTo>
                      <a:pt x="22" y="113"/>
                    </a:lnTo>
                    <a:lnTo>
                      <a:pt x="0" y="13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8" name="Freeform 317"/>
              <p:cNvSpPr>
                <a:spLocks/>
              </p:cNvSpPr>
              <p:nvPr/>
            </p:nvSpPr>
            <p:spPr bwMode="auto">
              <a:xfrm>
                <a:off x="8345108" y="2752725"/>
                <a:ext cx="19" cy="18"/>
              </a:xfrm>
              <a:custGeom>
                <a:avLst/>
                <a:gdLst>
                  <a:gd name="T0" fmla="*/ 0 w 86"/>
                  <a:gd name="T1" fmla="*/ 1 h 84"/>
                  <a:gd name="T2" fmla="*/ 0 w 86"/>
                  <a:gd name="T3" fmla="*/ 1 h 84"/>
                  <a:gd name="T4" fmla="*/ 0 w 86"/>
                  <a:gd name="T5" fmla="*/ 1 h 84"/>
                  <a:gd name="T6" fmla="*/ 0 w 86"/>
                  <a:gd name="T7" fmla="*/ 1 h 84"/>
                  <a:gd name="T8" fmla="*/ 0 w 86"/>
                  <a:gd name="T9" fmla="*/ 1 h 84"/>
                  <a:gd name="T10" fmla="*/ 0 w 86"/>
                  <a:gd name="T11" fmla="*/ 1 h 84"/>
                  <a:gd name="T12" fmla="*/ 1 w 86"/>
                  <a:gd name="T13" fmla="*/ 1 h 84"/>
                  <a:gd name="T14" fmla="*/ 1 w 86"/>
                  <a:gd name="T15" fmla="*/ 0 h 84"/>
                  <a:gd name="T16" fmla="*/ 1 w 86"/>
                  <a:gd name="T17" fmla="*/ 0 h 84"/>
                  <a:gd name="T18" fmla="*/ 1 w 86"/>
                  <a:gd name="T19" fmla="*/ 0 h 84"/>
                  <a:gd name="T20" fmla="*/ 1 w 86"/>
                  <a:gd name="T21" fmla="*/ 0 h 84"/>
                  <a:gd name="T22" fmla="*/ 1 w 86"/>
                  <a:gd name="T23" fmla="*/ 0 h 84"/>
                  <a:gd name="T24" fmla="*/ 1 w 86"/>
                  <a:gd name="T25" fmla="*/ 0 h 84"/>
                  <a:gd name="T26" fmla="*/ 1 w 86"/>
                  <a:gd name="T27" fmla="*/ 0 h 84"/>
                  <a:gd name="T28" fmla="*/ 1 w 86"/>
                  <a:gd name="T29" fmla="*/ 0 h 84"/>
                  <a:gd name="T30" fmla="*/ 0 w 86"/>
                  <a:gd name="T31" fmla="*/ 0 h 84"/>
                  <a:gd name="T32" fmla="*/ 0 w 86"/>
                  <a:gd name="T33" fmla="*/ 0 h 84"/>
                  <a:gd name="T34" fmla="*/ 0 w 86"/>
                  <a:gd name="T35" fmla="*/ 0 h 84"/>
                  <a:gd name="T36" fmla="*/ 0 w 86"/>
                  <a:gd name="T37" fmla="*/ 0 h 84"/>
                  <a:gd name="T38" fmla="*/ 0 w 86"/>
                  <a:gd name="T39" fmla="*/ 1 h 84"/>
                  <a:gd name="T40" fmla="*/ 0 w 86"/>
                  <a:gd name="T41" fmla="*/ 1 h 84"/>
                  <a:gd name="T42" fmla="*/ 0 w 86"/>
                  <a:gd name="T43" fmla="*/ 1 h 8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6"/>
                  <a:gd name="T67" fmla="*/ 0 h 84"/>
                  <a:gd name="T68" fmla="*/ 86 w 86"/>
                  <a:gd name="T69" fmla="*/ 84 h 8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6" h="84">
                    <a:moveTo>
                      <a:pt x="0" y="62"/>
                    </a:moveTo>
                    <a:lnTo>
                      <a:pt x="0" y="84"/>
                    </a:lnTo>
                    <a:lnTo>
                      <a:pt x="22" y="75"/>
                    </a:lnTo>
                    <a:lnTo>
                      <a:pt x="17" y="75"/>
                    </a:lnTo>
                    <a:lnTo>
                      <a:pt x="17" y="62"/>
                    </a:lnTo>
                    <a:lnTo>
                      <a:pt x="29" y="62"/>
                    </a:lnTo>
                    <a:lnTo>
                      <a:pt x="59" y="75"/>
                    </a:lnTo>
                    <a:lnTo>
                      <a:pt x="66" y="53"/>
                    </a:lnTo>
                    <a:lnTo>
                      <a:pt x="71" y="53"/>
                    </a:lnTo>
                    <a:lnTo>
                      <a:pt x="86" y="45"/>
                    </a:lnTo>
                    <a:lnTo>
                      <a:pt x="79" y="45"/>
                    </a:lnTo>
                    <a:lnTo>
                      <a:pt x="71" y="37"/>
                    </a:lnTo>
                    <a:lnTo>
                      <a:pt x="79" y="30"/>
                    </a:lnTo>
                    <a:lnTo>
                      <a:pt x="71" y="37"/>
                    </a:lnTo>
                    <a:lnTo>
                      <a:pt x="59" y="30"/>
                    </a:lnTo>
                    <a:lnTo>
                      <a:pt x="29" y="0"/>
                    </a:lnTo>
                    <a:lnTo>
                      <a:pt x="22" y="53"/>
                    </a:lnTo>
                    <a:lnTo>
                      <a:pt x="17" y="45"/>
                    </a:lnTo>
                    <a:lnTo>
                      <a:pt x="17" y="53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24" name="S_AFG"/>
            <p:cNvSpPr>
              <a:spLocks/>
            </p:cNvSpPr>
            <p:nvPr/>
          </p:nvSpPr>
          <p:spPr bwMode="auto">
            <a:xfrm>
              <a:off x="6413451" y="3028950"/>
              <a:ext cx="409816" cy="352425"/>
            </a:xfrm>
            <a:custGeom>
              <a:avLst/>
              <a:gdLst>
                <a:gd name="T0" fmla="*/ 846661553 w 193"/>
                <a:gd name="T1" fmla="*/ 137526616 h 170"/>
                <a:gd name="T2" fmla="*/ 801627417 w 193"/>
                <a:gd name="T3" fmla="*/ 137526616 h 170"/>
                <a:gd name="T4" fmla="*/ 707053821 w 193"/>
                <a:gd name="T5" fmla="*/ 167609188 h 170"/>
                <a:gd name="T6" fmla="*/ 648507958 w 193"/>
                <a:gd name="T7" fmla="*/ 206288855 h 170"/>
                <a:gd name="T8" fmla="*/ 648507958 w 193"/>
                <a:gd name="T9" fmla="*/ 292243273 h 170"/>
                <a:gd name="T10" fmla="*/ 612478102 w 193"/>
                <a:gd name="T11" fmla="*/ 365305096 h 170"/>
                <a:gd name="T12" fmla="*/ 580953570 w 193"/>
                <a:gd name="T13" fmla="*/ 365305096 h 170"/>
                <a:gd name="T14" fmla="*/ 580953570 w 193"/>
                <a:gd name="T15" fmla="*/ 429769824 h 170"/>
                <a:gd name="T16" fmla="*/ 513401172 w 193"/>
                <a:gd name="T17" fmla="*/ 464151980 h 170"/>
                <a:gd name="T18" fmla="*/ 513401172 w 193"/>
                <a:gd name="T19" fmla="*/ 528616709 h 170"/>
                <a:gd name="T20" fmla="*/ 382799842 w 193"/>
                <a:gd name="T21" fmla="*/ 593081567 h 170"/>
                <a:gd name="T22" fmla="*/ 355778511 w 193"/>
                <a:gd name="T23" fmla="*/ 631761233 h 170"/>
                <a:gd name="T24" fmla="*/ 355778511 w 193"/>
                <a:gd name="T25" fmla="*/ 696225962 h 170"/>
                <a:gd name="T26" fmla="*/ 99076831 w 193"/>
                <a:gd name="T27" fmla="*/ 730608118 h 170"/>
                <a:gd name="T28" fmla="*/ 36027750 w 193"/>
                <a:gd name="T29" fmla="*/ 696225962 h 170"/>
                <a:gd name="T30" fmla="*/ 67552282 w 193"/>
                <a:gd name="T31" fmla="*/ 631761233 h 170"/>
                <a:gd name="T32" fmla="*/ 67552282 w 193"/>
                <a:gd name="T33" fmla="*/ 593081567 h 170"/>
                <a:gd name="T34" fmla="*/ 0 w 193"/>
                <a:gd name="T35" fmla="*/ 528616709 h 170"/>
                <a:gd name="T36" fmla="*/ 0 w 193"/>
                <a:gd name="T37" fmla="*/ 365305096 h 170"/>
                <a:gd name="T38" fmla="*/ 36027750 w 193"/>
                <a:gd name="T39" fmla="*/ 292243273 h 170"/>
                <a:gd name="T40" fmla="*/ 36027750 w 193"/>
                <a:gd name="T41" fmla="*/ 262158563 h 170"/>
                <a:gd name="T42" fmla="*/ 126098162 w 193"/>
                <a:gd name="T43" fmla="*/ 262158563 h 170"/>
                <a:gd name="T44" fmla="*/ 126098162 w 193"/>
                <a:gd name="T45" fmla="*/ 206288855 h 170"/>
                <a:gd name="T46" fmla="*/ 225177115 w 193"/>
                <a:gd name="T47" fmla="*/ 206288855 h 170"/>
                <a:gd name="T48" fmla="*/ 265708050 w 193"/>
                <a:gd name="T49" fmla="*/ 137526616 h 170"/>
                <a:gd name="T50" fmla="*/ 301735850 w 193"/>
                <a:gd name="T51" fmla="*/ 137526616 h 170"/>
                <a:gd name="T52" fmla="*/ 301735850 w 193"/>
                <a:gd name="T53" fmla="*/ 103144427 h 170"/>
                <a:gd name="T54" fmla="*/ 450352107 w 193"/>
                <a:gd name="T55" fmla="*/ 137526616 h 170"/>
                <a:gd name="T56" fmla="*/ 513401172 w 193"/>
                <a:gd name="T57" fmla="*/ 137526616 h 170"/>
                <a:gd name="T58" fmla="*/ 513401172 w 193"/>
                <a:gd name="T59" fmla="*/ 103144427 h 170"/>
                <a:gd name="T60" fmla="*/ 580953570 w 193"/>
                <a:gd name="T61" fmla="*/ 103144427 h 170"/>
                <a:gd name="T62" fmla="*/ 612478102 w 193"/>
                <a:gd name="T63" fmla="*/ 0 h 170"/>
                <a:gd name="T64" fmla="*/ 648507958 w 193"/>
                <a:gd name="T65" fmla="*/ 73061855 h 170"/>
                <a:gd name="T66" fmla="*/ 671023965 w 193"/>
                <a:gd name="T67" fmla="*/ 167609188 h 170"/>
                <a:gd name="T68" fmla="*/ 770102885 w 193"/>
                <a:gd name="T69" fmla="*/ 103144427 h 170"/>
                <a:gd name="T70" fmla="*/ 869179683 w 193"/>
                <a:gd name="T71" fmla="*/ 137526616 h 170"/>
                <a:gd name="T72" fmla="*/ 846661553 w 193"/>
                <a:gd name="T73" fmla="*/ 137526616 h 170"/>
                <a:gd name="T74" fmla="*/ 846661553 w 193"/>
                <a:gd name="T75" fmla="*/ 137526616 h 170"/>
                <a:gd name="T76" fmla="*/ 846661553 w 193"/>
                <a:gd name="T77" fmla="*/ 137526616 h 17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3"/>
                <a:gd name="T118" fmla="*/ 0 h 170"/>
                <a:gd name="T119" fmla="*/ 193 w 193"/>
                <a:gd name="T120" fmla="*/ 170 h 17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3" h="170">
                  <a:moveTo>
                    <a:pt x="188" y="32"/>
                  </a:moveTo>
                  <a:lnTo>
                    <a:pt x="178" y="32"/>
                  </a:lnTo>
                  <a:lnTo>
                    <a:pt x="157" y="39"/>
                  </a:lnTo>
                  <a:lnTo>
                    <a:pt x="144" y="48"/>
                  </a:lnTo>
                  <a:lnTo>
                    <a:pt x="144" y="68"/>
                  </a:lnTo>
                  <a:lnTo>
                    <a:pt x="136" y="85"/>
                  </a:lnTo>
                  <a:lnTo>
                    <a:pt x="129" y="85"/>
                  </a:lnTo>
                  <a:lnTo>
                    <a:pt x="129" y="100"/>
                  </a:lnTo>
                  <a:lnTo>
                    <a:pt x="114" y="108"/>
                  </a:lnTo>
                  <a:lnTo>
                    <a:pt x="114" y="123"/>
                  </a:lnTo>
                  <a:lnTo>
                    <a:pt x="85" y="138"/>
                  </a:lnTo>
                  <a:lnTo>
                    <a:pt x="79" y="147"/>
                  </a:lnTo>
                  <a:lnTo>
                    <a:pt x="79" y="162"/>
                  </a:lnTo>
                  <a:lnTo>
                    <a:pt x="22" y="170"/>
                  </a:lnTo>
                  <a:lnTo>
                    <a:pt x="8" y="162"/>
                  </a:lnTo>
                  <a:lnTo>
                    <a:pt x="15" y="147"/>
                  </a:lnTo>
                  <a:lnTo>
                    <a:pt x="15" y="138"/>
                  </a:lnTo>
                  <a:lnTo>
                    <a:pt x="0" y="123"/>
                  </a:lnTo>
                  <a:lnTo>
                    <a:pt x="0" y="85"/>
                  </a:lnTo>
                  <a:lnTo>
                    <a:pt x="8" y="68"/>
                  </a:lnTo>
                  <a:lnTo>
                    <a:pt x="8" y="61"/>
                  </a:lnTo>
                  <a:lnTo>
                    <a:pt x="28" y="61"/>
                  </a:lnTo>
                  <a:lnTo>
                    <a:pt x="28" y="48"/>
                  </a:lnTo>
                  <a:lnTo>
                    <a:pt x="50" y="48"/>
                  </a:lnTo>
                  <a:lnTo>
                    <a:pt x="59" y="32"/>
                  </a:lnTo>
                  <a:lnTo>
                    <a:pt x="67" y="32"/>
                  </a:lnTo>
                  <a:lnTo>
                    <a:pt x="67" y="24"/>
                  </a:lnTo>
                  <a:lnTo>
                    <a:pt x="100" y="32"/>
                  </a:lnTo>
                  <a:lnTo>
                    <a:pt x="114" y="32"/>
                  </a:lnTo>
                  <a:lnTo>
                    <a:pt x="114" y="24"/>
                  </a:lnTo>
                  <a:lnTo>
                    <a:pt x="129" y="24"/>
                  </a:lnTo>
                  <a:lnTo>
                    <a:pt x="136" y="0"/>
                  </a:lnTo>
                  <a:lnTo>
                    <a:pt x="144" y="17"/>
                  </a:lnTo>
                  <a:lnTo>
                    <a:pt x="149" y="39"/>
                  </a:lnTo>
                  <a:lnTo>
                    <a:pt x="171" y="24"/>
                  </a:lnTo>
                  <a:lnTo>
                    <a:pt x="193" y="32"/>
                  </a:lnTo>
                  <a:lnTo>
                    <a:pt x="188" y="3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5" name="S_IRN"/>
            <p:cNvSpPr>
              <a:spLocks/>
            </p:cNvSpPr>
            <p:nvPr/>
          </p:nvSpPr>
          <p:spPr bwMode="auto">
            <a:xfrm>
              <a:off x="5946704" y="2981325"/>
              <a:ext cx="523682" cy="533400"/>
            </a:xfrm>
            <a:custGeom>
              <a:avLst/>
              <a:gdLst>
                <a:gd name="T0" fmla="*/ 2147483647 w 253"/>
                <a:gd name="T1" fmla="*/ 2147483647 h 254"/>
                <a:gd name="T2" fmla="*/ 2147483647 w 253"/>
                <a:gd name="T3" fmla="*/ 2147483647 h 254"/>
                <a:gd name="T4" fmla="*/ 2147483647 w 253"/>
                <a:gd name="T5" fmla="*/ 2147483647 h 254"/>
                <a:gd name="T6" fmla="*/ 2147483647 w 253"/>
                <a:gd name="T7" fmla="*/ 2147483647 h 254"/>
                <a:gd name="T8" fmla="*/ 2147483647 w 253"/>
                <a:gd name="T9" fmla="*/ 2147483647 h 254"/>
                <a:gd name="T10" fmla="*/ 2147483647 w 253"/>
                <a:gd name="T11" fmla="*/ 2147483647 h 254"/>
                <a:gd name="T12" fmla="*/ 2147483647 w 253"/>
                <a:gd name="T13" fmla="*/ 2147483647 h 254"/>
                <a:gd name="T14" fmla="*/ 2147483647 w 253"/>
                <a:gd name="T15" fmla="*/ 2147483647 h 254"/>
                <a:gd name="T16" fmla="*/ 2147483647 w 253"/>
                <a:gd name="T17" fmla="*/ 2147483647 h 254"/>
                <a:gd name="T18" fmla="*/ 2147483647 w 253"/>
                <a:gd name="T19" fmla="*/ 2147483647 h 254"/>
                <a:gd name="T20" fmla="*/ 2147483647 w 253"/>
                <a:gd name="T21" fmla="*/ 2147483647 h 254"/>
                <a:gd name="T22" fmla="*/ 2147483647 w 253"/>
                <a:gd name="T23" fmla="*/ 2147483647 h 254"/>
                <a:gd name="T24" fmla="*/ 2147483647 w 253"/>
                <a:gd name="T25" fmla="*/ 2147483647 h 254"/>
                <a:gd name="T26" fmla="*/ 2147483647 w 253"/>
                <a:gd name="T27" fmla="*/ 2147483647 h 254"/>
                <a:gd name="T28" fmla="*/ 2147483647 w 253"/>
                <a:gd name="T29" fmla="*/ 2147483647 h 254"/>
                <a:gd name="T30" fmla="*/ 0 w 253"/>
                <a:gd name="T31" fmla="*/ 2147483647 h 254"/>
                <a:gd name="T32" fmla="*/ 2147483647 w 253"/>
                <a:gd name="T33" fmla="*/ 0 h 254"/>
                <a:gd name="T34" fmla="*/ 2147483647 w 253"/>
                <a:gd name="T35" fmla="*/ 2147483647 h 254"/>
                <a:gd name="T36" fmla="*/ 2147483647 w 253"/>
                <a:gd name="T37" fmla="*/ 2147483647 h 254"/>
                <a:gd name="T38" fmla="*/ 2147483647 w 253"/>
                <a:gd name="T39" fmla="*/ 2147483647 h 254"/>
                <a:gd name="T40" fmla="*/ 2147483647 w 253"/>
                <a:gd name="T41" fmla="*/ 2147483647 h 254"/>
                <a:gd name="T42" fmla="*/ 2147483647 w 253"/>
                <a:gd name="T43" fmla="*/ 2147483647 h 254"/>
                <a:gd name="T44" fmla="*/ 2147483647 w 253"/>
                <a:gd name="T45" fmla="*/ 2147483647 h 254"/>
                <a:gd name="T46" fmla="*/ 2147483647 w 253"/>
                <a:gd name="T47" fmla="*/ 2147483647 h 254"/>
                <a:gd name="T48" fmla="*/ 2147483647 w 253"/>
                <a:gd name="T49" fmla="*/ 2147483647 h 254"/>
                <a:gd name="T50" fmla="*/ 2147483647 w 253"/>
                <a:gd name="T51" fmla="*/ 2147483647 h 254"/>
                <a:gd name="T52" fmla="*/ 2147483647 w 253"/>
                <a:gd name="T53" fmla="*/ 2147483647 h 254"/>
                <a:gd name="T54" fmla="*/ 2147483647 w 253"/>
                <a:gd name="T55" fmla="*/ 2147483647 h 254"/>
                <a:gd name="T56" fmla="*/ 2147483647 w 253"/>
                <a:gd name="T57" fmla="*/ 2147483647 h 254"/>
                <a:gd name="T58" fmla="*/ 2147483647 w 253"/>
                <a:gd name="T59" fmla="*/ 2147483647 h 254"/>
                <a:gd name="T60" fmla="*/ 2147483647 w 253"/>
                <a:gd name="T61" fmla="*/ 2147483647 h 254"/>
                <a:gd name="T62" fmla="*/ 2147483647 w 253"/>
                <a:gd name="T63" fmla="*/ 2147483647 h 254"/>
                <a:gd name="T64" fmla="*/ 2147483647 w 253"/>
                <a:gd name="T65" fmla="*/ 2147483647 h 254"/>
                <a:gd name="T66" fmla="*/ 2147483647 w 253"/>
                <a:gd name="T67" fmla="*/ 2147483647 h 254"/>
                <a:gd name="T68" fmla="*/ 2147483647 w 253"/>
                <a:gd name="T69" fmla="*/ 2147483647 h 254"/>
                <a:gd name="T70" fmla="*/ 2147483647 w 253"/>
                <a:gd name="T71" fmla="*/ 2147483647 h 254"/>
                <a:gd name="T72" fmla="*/ 2147483647 w 253"/>
                <a:gd name="T73" fmla="*/ 2147483647 h 254"/>
                <a:gd name="T74" fmla="*/ 2147483647 w 253"/>
                <a:gd name="T75" fmla="*/ 2147483647 h 254"/>
                <a:gd name="T76" fmla="*/ 2147483647 w 253"/>
                <a:gd name="T77" fmla="*/ 2147483647 h 254"/>
                <a:gd name="T78" fmla="*/ 2147483647 w 253"/>
                <a:gd name="T79" fmla="*/ 2147483647 h 254"/>
                <a:gd name="T80" fmla="*/ 2147483647 w 253"/>
                <a:gd name="T81" fmla="*/ 2147483647 h 25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53"/>
                <a:gd name="T124" fmla="*/ 0 h 254"/>
                <a:gd name="T125" fmla="*/ 253 w 253"/>
                <a:gd name="T126" fmla="*/ 254 h 25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53" h="254">
                  <a:moveTo>
                    <a:pt x="240" y="254"/>
                  </a:moveTo>
                  <a:lnTo>
                    <a:pt x="181" y="246"/>
                  </a:lnTo>
                  <a:lnTo>
                    <a:pt x="166" y="226"/>
                  </a:lnTo>
                  <a:lnTo>
                    <a:pt x="148" y="239"/>
                  </a:lnTo>
                  <a:lnTo>
                    <a:pt x="126" y="239"/>
                  </a:lnTo>
                  <a:lnTo>
                    <a:pt x="83" y="178"/>
                  </a:lnTo>
                  <a:lnTo>
                    <a:pt x="69" y="172"/>
                  </a:lnTo>
                  <a:lnTo>
                    <a:pt x="62" y="172"/>
                  </a:lnTo>
                  <a:lnTo>
                    <a:pt x="56" y="165"/>
                  </a:lnTo>
                  <a:lnTo>
                    <a:pt x="41" y="135"/>
                  </a:lnTo>
                  <a:lnTo>
                    <a:pt x="26" y="126"/>
                  </a:lnTo>
                  <a:lnTo>
                    <a:pt x="19" y="105"/>
                  </a:lnTo>
                  <a:lnTo>
                    <a:pt x="26" y="88"/>
                  </a:lnTo>
                  <a:lnTo>
                    <a:pt x="26" y="68"/>
                  </a:lnTo>
                  <a:lnTo>
                    <a:pt x="19" y="68"/>
                  </a:lnTo>
                  <a:lnTo>
                    <a:pt x="0" y="7"/>
                  </a:lnTo>
                  <a:lnTo>
                    <a:pt x="12" y="0"/>
                  </a:lnTo>
                  <a:lnTo>
                    <a:pt x="19" y="15"/>
                  </a:lnTo>
                  <a:lnTo>
                    <a:pt x="34" y="15"/>
                  </a:lnTo>
                  <a:lnTo>
                    <a:pt x="56" y="7"/>
                  </a:lnTo>
                  <a:lnTo>
                    <a:pt x="62" y="7"/>
                  </a:lnTo>
                  <a:lnTo>
                    <a:pt x="56" y="15"/>
                  </a:lnTo>
                  <a:lnTo>
                    <a:pt x="69" y="24"/>
                  </a:lnTo>
                  <a:lnTo>
                    <a:pt x="69" y="46"/>
                  </a:lnTo>
                  <a:lnTo>
                    <a:pt x="104" y="61"/>
                  </a:lnTo>
                  <a:lnTo>
                    <a:pt x="141" y="61"/>
                  </a:lnTo>
                  <a:lnTo>
                    <a:pt x="141" y="46"/>
                  </a:lnTo>
                  <a:lnTo>
                    <a:pt x="153" y="37"/>
                  </a:lnTo>
                  <a:lnTo>
                    <a:pt x="181" y="37"/>
                  </a:lnTo>
                  <a:lnTo>
                    <a:pt x="233" y="61"/>
                  </a:lnTo>
                  <a:lnTo>
                    <a:pt x="233" y="88"/>
                  </a:lnTo>
                  <a:lnTo>
                    <a:pt x="225" y="105"/>
                  </a:lnTo>
                  <a:lnTo>
                    <a:pt x="225" y="143"/>
                  </a:lnTo>
                  <a:lnTo>
                    <a:pt x="240" y="157"/>
                  </a:lnTo>
                  <a:lnTo>
                    <a:pt x="240" y="165"/>
                  </a:lnTo>
                  <a:lnTo>
                    <a:pt x="233" y="178"/>
                  </a:lnTo>
                  <a:lnTo>
                    <a:pt x="253" y="226"/>
                  </a:lnTo>
                  <a:lnTo>
                    <a:pt x="240" y="239"/>
                  </a:lnTo>
                  <a:lnTo>
                    <a:pt x="240" y="25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6" name="S_TJK"/>
            <p:cNvSpPr>
              <a:spLocks/>
            </p:cNvSpPr>
            <p:nvPr/>
          </p:nvSpPr>
          <p:spPr bwMode="auto">
            <a:xfrm>
              <a:off x="6617823" y="2933700"/>
              <a:ext cx="205444" cy="180975"/>
            </a:xfrm>
            <a:custGeom>
              <a:avLst/>
              <a:gdLst>
                <a:gd name="T0" fmla="*/ 380824332 w 99"/>
                <a:gd name="T1" fmla="*/ 148535245 h 84"/>
                <a:gd name="T2" fmla="*/ 380824332 w 99"/>
                <a:gd name="T3" fmla="*/ 213518173 h 84"/>
                <a:gd name="T4" fmla="*/ 443547496 w 99"/>
                <a:gd name="T5" fmla="*/ 213518173 h 84"/>
                <a:gd name="T6" fmla="*/ 443547496 w 99"/>
                <a:gd name="T7" fmla="*/ 362053417 h 84"/>
                <a:gd name="T8" fmla="*/ 344980709 w 99"/>
                <a:gd name="T9" fmla="*/ 320278370 h 84"/>
                <a:gd name="T10" fmla="*/ 246415974 w 99"/>
                <a:gd name="T11" fmla="*/ 389904167 h 84"/>
                <a:gd name="T12" fmla="*/ 192652657 w 99"/>
                <a:gd name="T13" fmla="*/ 213518173 h 84"/>
                <a:gd name="T14" fmla="*/ 165770998 w 99"/>
                <a:gd name="T15" fmla="*/ 320278370 h 84"/>
                <a:gd name="T16" fmla="*/ 98566819 w 99"/>
                <a:gd name="T17" fmla="*/ 320278370 h 84"/>
                <a:gd name="T18" fmla="*/ 98566819 w 99"/>
                <a:gd name="T19" fmla="*/ 362053417 h 84"/>
                <a:gd name="T20" fmla="*/ 0 w 99"/>
                <a:gd name="T21" fmla="*/ 362053417 h 84"/>
                <a:gd name="T22" fmla="*/ 35841522 w 99"/>
                <a:gd name="T23" fmla="*/ 292427620 h 84"/>
                <a:gd name="T24" fmla="*/ 35841522 w 99"/>
                <a:gd name="T25" fmla="*/ 181026709 h 84"/>
                <a:gd name="T26" fmla="*/ 0 w 99"/>
                <a:gd name="T27" fmla="*/ 148535245 h 84"/>
                <a:gd name="T28" fmla="*/ 67204162 w 99"/>
                <a:gd name="T29" fmla="*/ 148535245 h 84"/>
                <a:gd name="T30" fmla="*/ 98566819 w 99"/>
                <a:gd name="T31" fmla="*/ 41775064 h 84"/>
                <a:gd name="T32" fmla="*/ 98566819 w 99"/>
                <a:gd name="T33" fmla="*/ 0 h 84"/>
                <a:gd name="T34" fmla="*/ 192652657 w 99"/>
                <a:gd name="T35" fmla="*/ 0 h 84"/>
                <a:gd name="T36" fmla="*/ 192652657 w 99"/>
                <a:gd name="T37" fmla="*/ 111400878 h 84"/>
                <a:gd name="T38" fmla="*/ 98566819 w 99"/>
                <a:gd name="T39" fmla="*/ 111400878 h 84"/>
                <a:gd name="T40" fmla="*/ 98566819 w 99"/>
                <a:gd name="T41" fmla="*/ 148535245 h 84"/>
                <a:gd name="T42" fmla="*/ 380824332 w 99"/>
                <a:gd name="T43" fmla="*/ 148535245 h 84"/>
                <a:gd name="T44" fmla="*/ 380824332 w 99"/>
                <a:gd name="T45" fmla="*/ 148535245 h 8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9"/>
                <a:gd name="T70" fmla="*/ 0 h 84"/>
                <a:gd name="T71" fmla="*/ 99 w 99"/>
                <a:gd name="T72" fmla="*/ 84 h 8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9" h="84">
                  <a:moveTo>
                    <a:pt x="85" y="32"/>
                  </a:moveTo>
                  <a:lnTo>
                    <a:pt x="85" y="46"/>
                  </a:lnTo>
                  <a:lnTo>
                    <a:pt x="99" y="46"/>
                  </a:lnTo>
                  <a:lnTo>
                    <a:pt x="99" y="78"/>
                  </a:lnTo>
                  <a:lnTo>
                    <a:pt x="77" y="69"/>
                  </a:lnTo>
                  <a:lnTo>
                    <a:pt x="55" y="84"/>
                  </a:lnTo>
                  <a:lnTo>
                    <a:pt x="43" y="46"/>
                  </a:lnTo>
                  <a:lnTo>
                    <a:pt x="37" y="69"/>
                  </a:lnTo>
                  <a:lnTo>
                    <a:pt x="22" y="69"/>
                  </a:lnTo>
                  <a:lnTo>
                    <a:pt x="22" y="78"/>
                  </a:lnTo>
                  <a:lnTo>
                    <a:pt x="0" y="78"/>
                  </a:lnTo>
                  <a:lnTo>
                    <a:pt x="8" y="63"/>
                  </a:lnTo>
                  <a:lnTo>
                    <a:pt x="8" y="39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43" y="0"/>
                  </a:lnTo>
                  <a:lnTo>
                    <a:pt x="43" y="24"/>
                  </a:lnTo>
                  <a:lnTo>
                    <a:pt x="22" y="24"/>
                  </a:lnTo>
                  <a:lnTo>
                    <a:pt x="22" y="32"/>
                  </a:lnTo>
                  <a:lnTo>
                    <a:pt x="85" y="3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7" name="S_TKM"/>
            <p:cNvSpPr>
              <a:spLocks/>
            </p:cNvSpPr>
            <p:nvPr/>
          </p:nvSpPr>
          <p:spPr bwMode="auto">
            <a:xfrm>
              <a:off x="6176228" y="2857500"/>
              <a:ext cx="417514" cy="295275"/>
            </a:xfrm>
            <a:custGeom>
              <a:avLst/>
              <a:gdLst>
                <a:gd name="T0" fmla="*/ 843421031 w 201"/>
                <a:gd name="T1" fmla="*/ 494583478 h 143"/>
                <a:gd name="T2" fmla="*/ 778208257 w 201"/>
                <a:gd name="T3" fmla="*/ 460474068 h 143"/>
                <a:gd name="T4" fmla="*/ 778208257 w 201"/>
                <a:gd name="T5" fmla="*/ 494583478 h 143"/>
                <a:gd name="T6" fmla="*/ 752123981 w 201"/>
                <a:gd name="T7" fmla="*/ 494583478 h 143"/>
                <a:gd name="T8" fmla="*/ 712995483 w 201"/>
                <a:gd name="T9" fmla="*/ 558538493 h 143"/>
                <a:gd name="T10" fmla="*/ 617351054 w 201"/>
                <a:gd name="T11" fmla="*/ 558538493 h 143"/>
                <a:gd name="T12" fmla="*/ 617351054 w 201"/>
                <a:gd name="T13" fmla="*/ 609701576 h 143"/>
                <a:gd name="T14" fmla="*/ 530399168 w 201"/>
                <a:gd name="T15" fmla="*/ 609701576 h 143"/>
                <a:gd name="T16" fmla="*/ 530399168 w 201"/>
                <a:gd name="T17" fmla="*/ 524428954 h 143"/>
                <a:gd name="T18" fmla="*/ 313021864 w 201"/>
                <a:gd name="T19" fmla="*/ 430628592 h 143"/>
                <a:gd name="T20" fmla="*/ 191291009 w 201"/>
                <a:gd name="T21" fmla="*/ 430628592 h 143"/>
                <a:gd name="T22" fmla="*/ 130425581 w 201"/>
                <a:gd name="T23" fmla="*/ 460474068 h 143"/>
                <a:gd name="T24" fmla="*/ 130425581 w 201"/>
                <a:gd name="T25" fmla="*/ 328300362 h 143"/>
                <a:gd name="T26" fmla="*/ 56518032 w 201"/>
                <a:gd name="T27" fmla="*/ 328300362 h 143"/>
                <a:gd name="T28" fmla="*/ 56518032 w 201"/>
                <a:gd name="T29" fmla="*/ 260081477 h 143"/>
                <a:gd name="T30" fmla="*/ 34781136 w 201"/>
                <a:gd name="T31" fmla="*/ 260081477 h 143"/>
                <a:gd name="T32" fmla="*/ 34781136 w 201"/>
                <a:gd name="T33" fmla="*/ 200390526 h 143"/>
                <a:gd name="T34" fmla="*/ 130425581 w 201"/>
                <a:gd name="T35" fmla="*/ 200390526 h 143"/>
                <a:gd name="T36" fmla="*/ 152164595 w 201"/>
                <a:gd name="T37" fmla="*/ 170545050 h 143"/>
                <a:gd name="T38" fmla="*/ 56518032 w 201"/>
                <a:gd name="T39" fmla="*/ 102328263 h 143"/>
                <a:gd name="T40" fmla="*/ 34781136 w 201"/>
                <a:gd name="T41" fmla="*/ 102328263 h 143"/>
                <a:gd name="T42" fmla="*/ 34781136 w 201"/>
                <a:gd name="T43" fmla="*/ 170545050 h 143"/>
                <a:gd name="T44" fmla="*/ 0 w 201"/>
                <a:gd name="T45" fmla="*/ 102328263 h 143"/>
                <a:gd name="T46" fmla="*/ 130425581 w 201"/>
                <a:gd name="T47" fmla="*/ 38373361 h 143"/>
                <a:gd name="T48" fmla="*/ 191291009 w 201"/>
                <a:gd name="T49" fmla="*/ 127909804 h 143"/>
                <a:gd name="T50" fmla="*/ 239114266 w 201"/>
                <a:gd name="T51" fmla="*/ 127909804 h 143"/>
                <a:gd name="T52" fmla="*/ 239114266 w 201"/>
                <a:gd name="T53" fmla="*/ 102328263 h 143"/>
                <a:gd name="T54" fmla="*/ 343455604 w 201"/>
                <a:gd name="T55" fmla="*/ 38373361 h 143"/>
                <a:gd name="T56" fmla="*/ 369539879 w 201"/>
                <a:gd name="T57" fmla="*/ 38373361 h 143"/>
                <a:gd name="T58" fmla="*/ 343455604 w 201"/>
                <a:gd name="T59" fmla="*/ 0 h 143"/>
                <a:gd name="T60" fmla="*/ 369539879 w 201"/>
                <a:gd name="T61" fmla="*/ 0 h 143"/>
                <a:gd name="T62" fmla="*/ 439102118 w 201"/>
                <a:gd name="T63" fmla="*/ 38373361 h 143"/>
                <a:gd name="T64" fmla="*/ 439102118 w 201"/>
                <a:gd name="T65" fmla="*/ 127909804 h 143"/>
                <a:gd name="T66" fmla="*/ 569527797 w 201"/>
                <a:gd name="T67" fmla="*/ 127909804 h 143"/>
                <a:gd name="T68" fmla="*/ 595612072 w 201"/>
                <a:gd name="T69" fmla="*/ 260081477 h 143"/>
                <a:gd name="T70" fmla="*/ 873854771 w 201"/>
                <a:gd name="T71" fmla="*/ 430628592 h 143"/>
                <a:gd name="T72" fmla="*/ 843421031 w 201"/>
                <a:gd name="T73" fmla="*/ 494583478 h 143"/>
                <a:gd name="T74" fmla="*/ 843421031 w 201"/>
                <a:gd name="T75" fmla="*/ 494583478 h 143"/>
                <a:gd name="T76" fmla="*/ 843421031 w 201"/>
                <a:gd name="T77" fmla="*/ 494583478 h 14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1"/>
                <a:gd name="T118" fmla="*/ 0 h 143"/>
                <a:gd name="T119" fmla="*/ 201 w 201"/>
                <a:gd name="T120" fmla="*/ 143 h 14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1" h="143">
                  <a:moveTo>
                    <a:pt x="194" y="116"/>
                  </a:moveTo>
                  <a:lnTo>
                    <a:pt x="179" y="108"/>
                  </a:lnTo>
                  <a:lnTo>
                    <a:pt x="179" y="116"/>
                  </a:lnTo>
                  <a:lnTo>
                    <a:pt x="173" y="116"/>
                  </a:lnTo>
                  <a:lnTo>
                    <a:pt x="164" y="131"/>
                  </a:lnTo>
                  <a:lnTo>
                    <a:pt x="142" y="131"/>
                  </a:lnTo>
                  <a:lnTo>
                    <a:pt x="142" y="143"/>
                  </a:lnTo>
                  <a:lnTo>
                    <a:pt x="122" y="143"/>
                  </a:lnTo>
                  <a:lnTo>
                    <a:pt x="122" y="123"/>
                  </a:lnTo>
                  <a:lnTo>
                    <a:pt x="72" y="101"/>
                  </a:lnTo>
                  <a:lnTo>
                    <a:pt x="44" y="101"/>
                  </a:lnTo>
                  <a:lnTo>
                    <a:pt x="30" y="108"/>
                  </a:lnTo>
                  <a:lnTo>
                    <a:pt x="30" y="77"/>
                  </a:lnTo>
                  <a:lnTo>
                    <a:pt x="13" y="77"/>
                  </a:lnTo>
                  <a:lnTo>
                    <a:pt x="13" y="61"/>
                  </a:lnTo>
                  <a:lnTo>
                    <a:pt x="8" y="61"/>
                  </a:lnTo>
                  <a:lnTo>
                    <a:pt x="8" y="47"/>
                  </a:lnTo>
                  <a:lnTo>
                    <a:pt x="30" y="47"/>
                  </a:lnTo>
                  <a:lnTo>
                    <a:pt x="35" y="40"/>
                  </a:lnTo>
                  <a:lnTo>
                    <a:pt x="13" y="24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0" y="24"/>
                  </a:lnTo>
                  <a:lnTo>
                    <a:pt x="30" y="9"/>
                  </a:lnTo>
                  <a:lnTo>
                    <a:pt x="44" y="30"/>
                  </a:lnTo>
                  <a:lnTo>
                    <a:pt x="55" y="30"/>
                  </a:lnTo>
                  <a:lnTo>
                    <a:pt x="55" y="24"/>
                  </a:lnTo>
                  <a:lnTo>
                    <a:pt x="79" y="9"/>
                  </a:lnTo>
                  <a:lnTo>
                    <a:pt x="85" y="9"/>
                  </a:lnTo>
                  <a:lnTo>
                    <a:pt x="79" y="0"/>
                  </a:lnTo>
                  <a:lnTo>
                    <a:pt x="85" y="0"/>
                  </a:lnTo>
                  <a:lnTo>
                    <a:pt x="101" y="9"/>
                  </a:lnTo>
                  <a:lnTo>
                    <a:pt x="101" y="30"/>
                  </a:lnTo>
                  <a:lnTo>
                    <a:pt x="131" y="30"/>
                  </a:lnTo>
                  <a:lnTo>
                    <a:pt x="137" y="61"/>
                  </a:lnTo>
                  <a:lnTo>
                    <a:pt x="201" y="101"/>
                  </a:lnTo>
                  <a:lnTo>
                    <a:pt x="194" y="11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8" name="S_UZB"/>
            <p:cNvSpPr>
              <a:spLocks/>
            </p:cNvSpPr>
            <p:nvPr/>
          </p:nvSpPr>
          <p:spPr bwMode="auto">
            <a:xfrm>
              <a:off x="6280606" y="2752725"/>
              <a:ext cx="495217" cy="323850"/>
            </a:xfrm>
            <a:custGeom>
              <a:avLst/>
              <a:gdLst>
                <a:gd name="T0" fmla="*/ 622743484 w 239"/>
                <a:gd name="T1" fmla="*/ 659615237 h 159"/>
                <a:gd name="T2" fmla="*/ 674279540 w 239"/>
                <a:gd name="T3" fmla="*/ 659615237 h 159"/>
                <a:gd name="T4" fmla="*/ 717227634 w 239"/>
                <a:gd name="T5" fmla="*/ 597387178 h 159"/>
                <a:gd name="T6" fmla="*/ 717227634 w 239"/>
                <a:gd name="T7" fmla="*/ 506120453 h 159"/>
                <a:gd name="T8" fmla="*/ 674279540 w 239"/>
                <a:gd name="T9" fmla="*/ 472930933 h 159"/>
                <a:gd name="T10" fmla="*/ 747291715 w 239"/>
                <a:gd name="T11" fmla="*/ 472930933 h 159"/>
                <a:gd name="T12" fmla="*/ 777355795 w 239"/>
                <a:gd name="T13" fmla="*/ 389960187 h 159"/>
                <a:gd name="T14" fmla="*/ 777355795 w 239"/>
                <a:gd name="T15" fmla="*/ 352623759 h 159"/>
                <a:gd name="T16" fmla="*/ 867545965 w 239"/>
                <a:gd name="T17" fmla="*/ 352623759 h 159"/>
                <a:gd name="T18" fmla="*/ 867545965 w 239"/>
                <a:gd name="T19" fmla="*/ 389960187 h 159"/>
                <a:gd name="T20" fmla="*/ 931968106 w 239"/>
                <a:gd name="T21" fmla="*/ 389960187 h 159"/>
                <a:gd name="T22" fmla="*/ 1026452256 w 239"/>
                <a:gd name="T23" fmla="*/ 352623759 h 159"/>
                <a:gd name="T24" fmla="*/ 931968106 w 239"/>
                <a:gd name="T25" fmla="*/ 327734165 h 159"/>
                <a:gd name="T26" fmla="*/ 841775865 w 239"/>
                <a:gd name="T27" fmla="*/ 327734165 h 159"/>
                <a:gd name="T28" fmla="*/ 897607973 w 239"/>
                <a:gd name="T29" fmla="*/ 236465466 h 159"/>
                <a:gd name="T30" fmla="*/ 867545965 w 239"/>
                <a:gd name="T31" fmla="*/ 236465466 h 159"/>
                <a:gd name="T32" fmla="*/ 747291715 w 239"/>
                <a:gd name="T33" fmla="*/ 352623759 h 159"/>
                <a:gd name="T34" fmla="*/ 717227634 w 239"/>
                <a:gd name="T35" fmla="*/ 327734165 h 159"/>
                <a:gd name="T36" fmla="*/ 652807565 w 239"/>
                <a:gd name="T37" fmla="*/ 327734165 h 159"/>
                <a:gd name="T38" fmla="*/ 652807565 w 239"/>
                <a:gd name="T39" fmla="*/ 298693589 h 159"/>
                <a:gd name="T40" fmla="*/ 622743484 w 239"/>
                <a:gd name="T41" fmla="*/ 298693589 h 159"/>
                <a:gd name="T42" fmla="*/ 622743484 w 239"/>
                <a:gd name="T43" fmla="*/ 207426927 h 159"/>
                <a:gd name="T44" fmla="*/ 532553185 w 239"/>
                <a:gd name="T45" fmla="*/ 136900979 h 159"/>
                <a:gd name="T46" fmla="*/ 352172846 w 239"/>
                <a:gd name="T47" fmla="*/ 136900979 h 159"/>
                <a:gd name="T48" fmla="*/ 163202409 w 239"/>
                <a:gd name="T49" fmla="*/ 0 h 159"/>
                <a:gd name="T50" fmla="*/ 0 w 239"/>
                <a:gd name="T51" fmla="*/ 24891639 h 159"/>
                <a:gd name="T52" fmla="*/ 0 w 239"/>
                <a:gd name="T53" fmla="*/ 327734165 h 159"/>
                <a:gd name="T54" fmla="*/ 25768036 w 239"/>
                <a:gd name="T55" fmla="*/ 327734165 h 159"/>
                <a:gd name="T56" fmla="*/ 25768036 w 239"/>
                <a:gd name="T57" fmla="*/ 298693589 h 159"/>
                <a:gd name="T58" fmla="*/ 120254282 w 239"/>
                <a:gd name="T59" fmla="*/ 236465466 h 159"/>
                <a:gd name="T60" fmla="*/ 163202409 w 239"/>
                <a:gd name="T61" fmla="*/ 236465466 h 159"/>
                <a:gd name="T62" fmla="*/ 120254282 w 239"/>
                <a:gd name="T63" fmla="*/ 207426927 h 159"/>
                <a:gd name="T64" fmla="*/ 163202409 w 239"/>
                <a:gd name="T65" fmla="*/ 207426927 h 159"/>
                <a:gd name="T66" fmla="*/ 214738465 w 239"/>
                <a:gd name="T67" fmla="*/ 236465466 h 159"/>
                <a:gd name="T68" fmla="*/ 214738465 w 239"/>
                <a:gd name="T69" fmla="*/ 327734165 h 159"/>
                <a:gd name="T70" fmla="*/ 352172846 w 239"/>
                <a:gd name="T71" fmla="*/ 327734165 h 159"/>
                <a:gd name="T72" fmla="*/ 377940874 w 239"/>
                <a:gd name="T73" fmla="*/ 443892394 h 159"/>
                <a:gd name="T74" fmla="*/ 652807565 w 239"/>
                <a:gd name="T75" fmla="*/ 597387178 h 159"/>
                <a:gd name="T76" fmla="*/ 622743484 w 239"/>
                <a:gd name="T77" fmla="*/ 659615237 h 159"/>
                <a:gd name="T78" fmla="*/ 622743484 w 239"/>
                <a:gd name="T79" fmla="*/ 659615237 h 159"/>
                <a:gd name="T80" fmla="*/ 622743484 w 239"/>
                <a:gd name="T81" fmla="*/ 659615237 h 15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39"/>
                <a:gd name="T124" fmla="*/ 0 h 159"/>
                <a:gd name="T125" fmla="*/ 239 w 239"/>
                <a:gd name="T126" fmla="*/ 159 h 15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39" h="159">
                  <a:moveTo>
                    <a:pt x="145" y="159"/>
                  </a:moveTo>
                  <a:lnTo>
                    <a:pt x="157" y="159"/>
                  </a:lnTo>
                  <a:lnTo>
                    <a:pt x="167" y="144"/>
                  </a:lnTo>
                  <a:lnTo>
                    <a:pt x="167" y="122"/>
                  </a:lnTo>
                  <a:lnTo>
                    <a:pt x="157" y="114"/>
                  </a:lnTo>
                  <a:lnTo>
                    <a:pt x="174" y="114"/>
                  </a:lnTo>
                  <a:lnTo>
                    <a:pt x="181" y="94"/>
                  </a:lnTo>
                  <a:lnTo>
                    <a:pt x="181" y="85"/>
                  </a:lnTo>
                  <a:lnTo>
                    <a:pt x="202" y="85"/>
                  </a:lnTo>
                  <a:lnTo>
                    <a:pt x="202" y="94"/>
                  </a:lnTo>
                  <a:lnTo>
                    <a:pt x="217" y="94"/>
                  </a:lnTo>
                  <a:lnTo>
                    <a:pt x="239" y="85"/>
                  </a:lnTo>
                  <a:lnTo>
                    <a:pt x="217" y="79"/>
                  </a:lnTo>
                  <a:lnTo>
                    <a:pt x="196" y="79"/>
                  </a:lnTo>
                  <a:lnTo>
                    <a:pt x="209" y="57"/>
                  </a:lnTo>
                  <a:lnTo>
                    <a:pt x="202" y="57"/>
                  </a:lnTo>
                  <a:lnTo>
                    <a:pt x="174" y="85"/>
                  </a:lnTo>
                  <a:lnTo>
                    <a:pt x="167" y="79"/>
                  </a:lnTo>
                  <a:lnTo>
                    <a:pt x="152" y="79"/>
                  </a:lnTo>
                  <a:lnTo>
                    <a:pt x="152" y="72"/>
                  </a:lnTo>
                  <a:lnTo>
                    <a:pt x="145" y="72"/>
                  </a:lnTo>
                  <a:lnTo>
                    <a:pt x="145" y="50"/>
                  </a:lnTo>
                  <a:lnTo>
                    <a:pt x="124" y="33"/>
                  </a:lnTo>
                  <a:lnTo>
                    <a:pt x="82" y="33"/>
                  </a:lnTo>
                  <a:lnTo>
                    <a:pt x="38" y="0"/>
                  </a:lnTo>
                  <a:lnTo>
                    <a:pt x="0" y="6"/>
                  </a:lnTo>
                  <a:lnTo>
                    <a:pt x="0" y="79"/>
                  </a:lnTo>
                  <a:lnTo>
                    <a:pt x="6" y="79"/>
                  </a:lnTo>
                  <a:lnTo>
                    <a:pt x="6" y="72"/>
                  </a:lnTo>
                  <a:lnTo>
                    <a:pt x="28" y="57"/>
                  </a:lnTo>
                  <a:lnTo>
                    <a:pt x="38" y="57"/>
                  </a:lnTo>
                  <a:lnTo>
                    <a:pt x="28" y="50"/>
                  </a:lnTo>
                  <a:lnTo>
                    <a:pt x="38" y="50"/>
                  </a:lnTo>
                  <a:lnTo>
                    <a:pt x="50" y="57"/>
                  </a:lnTo>
                  <a:lnTo>
                    <a:pt x="50" y="79"/>
                  </a:lnTo>
                  <a:lnTo>
                    <a:pt x="82" y="79"/>
                  </a:lnTo>
                  <a:lnTo>
                    <a:pt x="88" y="107"/>
                  </a:lnTo>
                  <a:lnTo>
                    <a:pt x="152" y="144"/>
                  </a:lnTo>
                  <a:lnTo>
                    <a:pt x="145" y="15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9" name="S_TUR"/>
            <p:cNvSpPr>
              <a:spLocks/>
            </p:cNvSpPr>
            <p:nvPr/>
          </p:nvSpPr>
          <p:spPr bwMode="auto">
            <a:xfrm>
              <a:off x="5437613" y="2905125"/>
              <a:ext cx="528068" cy="209550"/>
            </a:xfrm>
            <a:custGeom>
              <a:avLst/>
              <a:gdLst>
                <a:gd name="T0" fmla="*/ 2147483647 w 251"/>
                <a:gd name="T1" fmla="*/ 2147483647 h 99"/>
                <a:gd name="T2" fmla="*/ 2147483647 w 251"/>
                <a:gd name="T3" fmla="*/ 2147483647 h 99"/>
                <a:gd name="T4" fmla="*/ 2147483647 w 251"/>
                <a:gd name="T5" fmla="*/ 2147483647 h 99"/>
                <a:gd name="T6" fmla="*/ 2147483647 w 251"/>
                <a:gd name="T7" fmla="*/ 2147483647 h 99"/>
                <a:gd name="T8" fmla="*/ 2147483647 w 251"/>
                <a:gd name="T9" fmla="*/ 2147483647 h 99"/>
                <a:gd name="T10" fmla="*/ 2147483647 w 251"/>
                <a:gd name="T11" fmla="*/ 2147483647 h 99"/>
                <a:gd name="T12" fmla="*/ 2147483647 w 251"/>
                <a:gd name="T13" fmla="*/ 0 h 99"/>
                <a:gd name="T14" fmla="*/ 2147483647 w 251"/>
                <a:gd name="T15" fmla="*/ 0 h 99"/>
                <a:gd name="T16" fmla="*/ 2147483647 w 251"/>
                <a:gd name="T17" fmla="*/ 2147483647 h 99"/>
                <a:gd name="T18" fmla="*/ 2147483647 w 251"/>
                <a:gd name="T19" fmla="*/ 2147483647 h 99"/>
                <a:gd name="T20" fmla="*/ 2147483647 w 251"/>
                <a:gd name="T21" fmla="*/ 0 h 99"/>
                <a:gd name="T22" fmla="*/ 2147483647 w 251"/>
                <a:gd name="T23" fmla="*/ 0 h 99"/>
                <a:gd name="T24" fmla="*/ 2147483647 w 251"/>
                <a:gd name="T25" fmla="*/ 2147483647 h 99"/>
                <a:gd name="T26" fmla="*/ 0 w 251"/>
                <a:gd name="T27" fmla="*/ 2147483647 h 99"/>
                <a:gd name="T28" fmla="*/ 2147483647 w 251"/>
                <a:gd name="T29" fmla="*/ 2147483647 h 99"/>
                <a:gd name="T30" fmla="*/ 2147483647 w 251"/>
                <a:gd name="T31" fmla="*/ 2147483647 h 99"/>
                <a:gd name="T32" fmla="*/ 2147483647 w 251"/>
                <a:gd name="T33" fmla="*/ 2147483647 h 99"/>
                <a:gd name="T34" fmla="*/ 2147483647 w 251"/>
                <a:gd name="T35" fmla="*/ 2147483647 h 99"/>
                <a:gd name="T36" fmla="*/ 2147483647 w 251"/>
                <a:gd name="T37" fmla="*/ 2147483647 h 99"/>
                <a:gd name="T38" fmla="*/ 2147483647 w 251"/>
                <a:gd name="T39" fmla="*/ 2147483647 h 99"/>
                <a:gd name="T40" fmla="*/ 2147483647 w 251"/>
                <a:gd name="T41" fmla="*/ 2147483647 h 99"/>
                <a:gd name="T42" fmla="*/ 2147483647 w 251"/>
                <a:gd name="T43" fmla="*/ 2147483647 h 99"/>
                <a:gd name="T44" fmla="*/ 2147483647 w 251"/>
                <a:gd name="T45" fmla="*/ 2147483647 h 99"/>
                <a:gd name="T46" fmla="*/ 2147483647 w 251"/>
                <a:gd name="T47" fmla="*/ 2147483647 h 99"/>
                <a:gd name="T48" fmla="*/ 2147483647 w 251"/>
                <a:gd name="T49" fmla="*/ 2147483647 h 99"/>
                <a:gd name="T50" fmla="*/ 2147483647 w 251"/>
                <a:gd name="T51" fmla="*/ 2147483647 h 99"/>
                <a:gd name="T52" fmla="*/ 2147483647 w 251"/>
                <a:gd name="T53" fmla="*/ 2147483647 h 99"/>
                <a:gd name="T54" fmla="*/ 2147483647 w 251"/>
                <a:gd name="T55" fmla="*/ 2147483647 h 99"/>
                <a:gd name="T56" fmla="*/ 2147483647 w 251"/>
                <a:gd name="T57" fmla="*/ 2147483647 h 99"/>
                <a:gd name="T58" fmla="*/ 2147483647 w 251"/>
                <a:gd name="T59" fmla="*/ 2147483647 h 99"/>
                <a:gd name="T60" fmla="*/ 2147483647 w 251"/>
                <a:gd name="T61" fmla="*/ 2147483647 h 99"/>
                <a:gd name="T62" fmla="*/ 2147483647 w 251"/>
                <a:gd name="T63" fmla="*/ 2147483647 h 99"/>
                <a:gd name="T64" fmla="*/ 2147483647 w 251"/>
                <a:gd name="T65" fmla="*/ 2147483647 h 99"/>
                <a:gd name="T66" fmla="*/ 2147483647 w 251"/>
                <a:gd name="T67" fmla="*/ 2147483647 h 99"/>
                <a:gd name="T68" fmla="*/ 2147483647 w 251"/>
                <a:gd name="T69" fmla="*/ 2147483647 h 99"/>
                <a:gd name="T70" fmla="*/ 2147483647 w 251"/>
                <a:gd name="T71" fmla="*/ 2147483647 h 99"/>
                <a:gd name="T72" fmla="*/ 2147483647 w 251"/>
                <a:gd name="T73" fmla="*/ 2147483647 h 99"/>
                <a:gd name="T74" fmla="*/ 2147483647 w 251"/>
                <a:gd name="T75" fmla="*/ 2147483647 h 99"/>
                <a:gd name="T76" fmla="*/ 2147483647 w 251"/>
                <a:gd name="T77" fmla="*/ 2147483647 h 99"/>
                <a:gd name="T78" fmla="*/ 2147483647 w 251"/>
                <a:gd name="T79" fmla="*/ 2147483647 h 99"/>
                <a:gd name="T80" fmla="*/ 2147483647 w 251"/>
                <a:gd name="T81" fmla="*/ 2147483647 h 99"/>
                <a:gd name="T82" fmla="*/ 2147483647 w 251"/>
                <a:gd name="T83" fmla="*/ 2147483647 h 99"/>
                <a:gd name="T84" fmla="*/ 2147483647 w 251"/>
                <a:gd name="T85" fmla="*/ 2147483647 h 99"/>
                <a:gd name="T86" fmla="*/ 2147483647 w 251"/>
                <a:gd name="T87" fmla="*/ 2147483647 h 99"/>
                <a:gd name="T88" fmla="*/ 2147483647 w 251"/>
                <a:gd name="T89" fmla="*/ 2147483647 h 99"/>
                <a:gd name="T90" fmla="*/ 2147483647 w 251"/>
                <a:gd name="T91" fmla="*/ 2147483647 h 99"/>
                <a:gd name="T92" fmla="*/ 2147483647 w 251"/>
                <a:gd name="T93" fmla="*/ 2147483647 h 99"/>
                <a:gd name="T94" fmla="*/ 2147483647 w 251"/>
                <a:gd name="T95" fmla="*/ 2147483647 h 99"/>
                <a:gd name="T96" fmla="*/ 2147483647 w 251"/>
                <a:gd name="T97" fmla="*/ 2147483647 h 99"/>
                <a:gd name="T98" fmla="*/ 2147483647 w 251"/>
                <a:gd name="T99" fmla="*/ 2147483647 h 99"/>
                <a:gd name="T100" fmla="*/ 2147483647 w 251"/>
                <a:gd name="T101" fmla="*/ 2147483647 h 99"/>
                <a:gd name="T102" fmla="*/ 2147483647 w 251"/>
                <a:gd name="T103" fmla="*/ 2147483647 h 9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51"/>
                <a:gd name="T157" fmla="*/ 0 h 99"/>
                <a:gd name="T158" fmla="*/ 251 w 251"/>
                <a:gd name="T159" fmla="*/ 99 h 9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51" h="99">
                  <a:moveTo>
                    <a:pt x="251" y="36"/>
                  </a:moveTo>
                  <a:lnTo>
                    <a:pt x="237" y="36"/>
                  </a:lnTo>
                  <a:lnTo>
                    <a:pt x="231" y="7"/>
                  </a:lnTo>
                  <a:lnTo>
                    <a:pt x="211" y="7"/>
                  </a:lnTo>
                  <a:lnTo>
                    <a:pt x="180" y="15"/>
                  </a:lnTo>
                  <a:lnTo>
                    <a:pt x="145" y="15"/>
                  </a:lnTo>
                  <a:lnTo>
                    <a:pt x="125" y="0"/>
                  </a:lnTo>
                  <a:lnTo>
                    <a:pt x="97" y="0"/>
                  </a:lnTo>
                  <a:lnTo>
                    <a:pt x="68" y="15"/>
                  </a:lnTo>
                  <a:lnTo>
                    <a:pt x="33" y="15"/>
                  </a:lnTo>
                  <a:lnTo>
                    <a:pt x="26" y="0"/>
                  </a:lnTo>
                  <a:lnTo>
                    <a:pt x="13" y="0"/>
                  </a:lnTo>
                  <a:lnTo>
                    <a:pt x="5" y="7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36"/>
                  </a:lnTo>
                  <a:lnTo>
                    <a:pt x="21" y="15"/>
                  </a:lnTo>
                  <a:lnTo>
                    <a:pt x="33" y="15"/>
                  </a:lnTo>
                  <a:lnTo>
                    <a:pt x="48" y="22"/>
                  </a:lnTo>
                  <a:lnTo>
                    <a:pt x="33" y="22"/>
                  </a:lnTo>
                  <a:lnTo>
                    <a:pt x="33" y="36"/>
                  </a:lnTo>
                  <a:lnTo>
                    <a:pt x="13" y="36"/>
                  </a:lnTo>
                  <a:lnTo>
                    <a:pt x="5" y="42"/>
                  </a:lnTo>
                  <a:lnTo>
                    <a:pt x="5" y="51"/>
                  </a:lnTo>
                  <a:lnTo>
                    <a:pt x="13" y="42"/>
                  </a:lnTo>
                  <a:lnTo>
                    <a:pt x="13" y="51"/>
                  </a:lnTo>
                  <a:lnTo>
                    <a:pt x="5" y="57"/>
                  </a:lnTo>
                  <a:lnTo>
                    <a:pt x="5" y="71"/>
                  </a:lnTo>
                  <a:lnTo>
                    <a:pt x="13" y="79"/>
                  </a:lnTo>
                  <a:lnTo>
                    <a:pt x="21" y="86"/>
                  </a:lnTo>
                  <a:lnTo>
                    <a:pt x="26" y="86"/>
                  </a:lnTo>
                  <a:lnTo>
                    <a:pt x="26" y="93"/>
                  </a:lnTo>
                  <a:lnTo>
                    <a:pt x="48" y="99"/>
                  </a:lnTo>
                  <a:lnTo>
                    <a:pt x="60" y="93"/>
                  </a:lnTo>
                  <a:lnTo>
                    <a:pt x="68" y="93"/>
                  </a:lnTo>
                  <a:lnTo>
                    <a:pt x="90" y="99"/>
                  </a:lnTo>
                  <a:lnTo>
                    <a:pt x="97" y="99"/>
                  </a:lnTo>
                  <a:lnTo>
                    <a:pt x="110" y="93"/>
                  </a:lnTo>
                  <a:lnTo>
                    <a:pt x="130" y="93"/>
                  </a:lnTo>
                  <a:lnTo>
                    <a:pt x="130" y="99"/>
                  </a:lnTo>
                  <a:lnTo>
                    <a:pt x="139" y="99"/>
                  </a:lnTo>
                  <a:lnTo>
                    <a:pt x="139" y="93"/>
                  </a:lnTo>
                  <a:lnTo>
                    <a:pt x="165" y="86"/>
                  </a:lnTo>
                  <a:lnTo>
                    <a:pt x="174" y="93"/>
                  </a:lnTo>
                  <a:lnTo>
                    <a:pt x="196" y="86"/>
                  </a:lnTo>
                  <a:lnTo>
                    <a:pt x="222" y="86"/>
                  </a:lnTo>
                  <a:lnTo>
                    <a:pt x="222" y="79"/>
                  </a:lnTo>
                  <a:lnTo>
                    <a:pt x="251" y="86"/>
                  </a:lnTo>
                  <a:lnTo>
                    <a:pt x="237" y="42"/>
                  </a:lnTo>
                  <a:lnTo>
                    <a:pt x="251" y="36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0" name="S_BTN"/>
            <p:cNvSpPr>
              <a:spLocks/>
            </p:cNvSpPr>
            <p:nvPr/>
          </p:nvSpPr>
          <p:spPr bwMode="auto">
            <a:xfrm>
              <a:off x="7202826" y="3419475"/>
              <a:ext cx="99992" cy="57150"/>
            </a:xfrm>
            <a:custGeom>
              <a:avLst/>
              <a:gdLst>
                <a:gd name="T0" fmla="*/ 170249858 w 45"/>
                <a:gd name="T1" fmla="*/ 0 h 27"/>
                <a:gd name="T2" fmla="*/ 67204160 w 45"/>
                <a:gd name="T3" fmla="*/ 0 h 27"/>
                <a:gd name="T4" fmla="*/ 0 w 45"/>
                <a:gd name="T5" fmla="*/ 76164028 h 27"/>
                <a:gd name="T6" fmla="*/ 0 w 45"/>
                <a:gd name="T7" fmla="*/ 120967499 h 27"/>
                <a:gd name="T8" fmla="*/ 201612498 w 45"/>
                <a:gd name="T9" fmla="*/ 120967499 h 27"/>
                <a:gd name="T10" fmla="*/ 170249858 w 45"/>
                <a:gd name="T11" fmla="*/ 0 h 27"/>
                <a:gd name="T12" fmla="*/ 170249858 w 45"/>
                <a:gd name="T13" fmla="*/ 0 h 27"/>
                <a:gd name="T14" fmla="*/ 170249858 w 45"/>
                <a:gd name="T15" fmla="*/ 0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5"/>
                <a:gd name="T25" fmla="*/ 0 h 27"/>
                <a:gd name="T26" fmla="*/ 45 w 45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5" h="27">
                  <a:moveTo>
                    <a:pt x="38" y="0"/>
                  </a:moveTo>
                  <a:lnTo>
                    <a:pt x="15" y="0"/>
                  </a:lnTo>
                  <a:lnTo>
                    <a:pt x="0" y="17"/>
                  </a:lnTo>
                  <a:lnTo>
                    <a:pt x="0" y="27"/>
                  </a:lnTo>
                  <a:lnTo>
                    <a:pt x="45" y="27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1" name="S_GEO"/>
            <p:cNvSpPr>
              <a:spLocks/>
            </p:cNvSpPr>
            <p:nvPr/>
          </p:nvSpPr>
          <p:spPr bwMode="auto">
            <a:xfrm>
              <a:off x="5813858" y="2838450"/>
              <a:ext cx="204370" cy="76200"/>
            </a:xfrm>
            <a:custGeom>
              <a:avLst/>
              <a:gdLst>
                <a:gd name="T0" fmla="*/ 135842499 w 94"/>
                <a:gd name="T1" fmla="*/ 165898281 h 35"/>
                <a:gd name="T2" fmla="*/ 135842499 w 94"/>
                <a:gd name="T3" fmla="*/ 71098940 h 35"/>
                <a:gd name="T4" fmla="*/ 0 w 94"/>
                <a:gd name="T5" fmla="*/ 0 h 35"/>
                <a:gd name="T6" fmla="*/ 199235541 w 94"/>
                <a:gd name="T7" fmla="*/ 0 h 35"/>
                <a:gd name="T8" fmla="*/ 267156774 w 94"/>
                <a:gd name="T9" fmla="*/ 37919298 h 35"/>
                <a:gd name="T10" fmla="*/ 357717066 w 94"/>
                <a:gd name="T11" fmla="*/ 37919298 h 35"/>
                <a:gd name="T12" fmla="*/ 425638299 w 94"/>
                <a:gd name="T13" fmla="*/ 137458243 h 35"/>
                <a:gd name="T14" fmla="*/ 389414635 w 94"/>
                <a:gd name="T15" fmla="*/ 137458243 h 35"/>
                <a:gd name="T16" fmla="*/ 425638299 w 94"/>
                <a:gd name="T17" fmla="*/ 165898281 h 35"/>
                <a:gd name="T18" fmla="*/ 135842499 w 94"/>
                <a:gd name="T19" fmla="*/ 165898281 h 35"/>
                <a:gd name="T20" fmla="*/ 135842499 w 94"/>
                <a:gd name="T21" fmla="*/ 165898281 h 35"/>
                <a:gd name="T22" fmla="*/ 135842499 w 94"/>
                <a:gd name="T23" fmla="*/ 165898281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4"/>
                <a:gd name="T37" fmla="*/ 0 h 35"/>
                <a:gd name="T38" fmla="*/ 94 w 94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4" h="35">
                  <a:moveTo>
                    <a:pt x="30" y="35"/>
                  </a:moveTo>
                  <a:lnTo>
                    <a:pt x="30" y="15"/>
                  </a:lnTo>
                  <a:lnTo>
                    <a:pt x="0" y="0"/>
                  </a:lnTo>
                  <a:lnTo>
                    <a:pt x="44" y="0"/>
                  </a:lnTo>
                  <a:lnTo>
                    <a:pt x="59" y="8"/>
                  </a:lnTo>
                  <a:lnTo>
                    <a:pt x="79" y="8"/>
                  </a:lnTo>
                  <a:lnTo>
                    <a:pt x="94" y="29"/>
                  </a:lnTo>
                  <a:lnTo>
                    <a:pt x="86" y="29"/>
                  </a:lnTo>
                  <a:lnTo>
                    <a:pt x="94" y="35"/>
                  </a:lnTo>
                  <a:lnTo>
                    <a:pt x="30" y="3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2" name="S_ARM"/>
            <p:cNvSpPr>
              <a:spLocks/>
            </p:cNvSpPr>
            <p:nvPr/>
          </p:nvSpPr>
          <p:spPr bwMode="auto">
            <a:xfrm>
              <a:off x="5937215" y="2924175"/>
              <a:ext cx="81014" cy="85725"/>
            </a:xfrm>
            <a:custGeom>
              <a:avLst/>
              <a:gdLst>
                <a:gd name="T0" fmla="*/ 148883080 w 39"/>
                <a:gd name="T1" fmla="*/ 170901760 h 43"/>
                <a:gd name="T2" fmla="*/ 148883080 w 39"/>
                <a:gd name="T3" fmla="*/ 147054270 h 43"/>
                <a:gd name="T4" fmla="*/ 118342492 w 39"/>
                <a:gd name="T5" fmla="*/ 111284997 h 43"/>
                <a:gd name="T6" fmla="*/ 118342492 w 39"/>
                <a:gd name="T7" fmla="*/ 51668249 h 43"/>
                <a:gd name="T8" fmla="*/ 72532633 w 39"/>
                <a:gd name="T9" fmla="*/ 0 h 43"/>
                <a:gd name="T10" fmla="*/ 0 w 39"/>
                <a:gd name="T11" fmla="*/ 0 h 43"/>
                <a:gd name="T12" fmla="*/ 19087123 w 39"/>
                <a:gd name="T13" fmla="*/ 111284997 h 43"/>
                <a:gd name="T14" fmla="*/ 72532633 w 39"/>
                <a:gd name="T15" fmla="*/ 111284997 h 43"/>
                <a:gd name="T16" fmla="*/ 118342492 w 39"/>
                <a:gd name="T17" fmla="*/ 147054270 h 43"/>
                <a:gd name="T18" fmla="*/ 118342492 w 39"/>
                <a:gd name="T19" fmla="*/ 170901760 h 43"/>
                <a:gd name="T20" fmla="*/ 148883080 w 39"/>
                <a:gd name="T21" fmla="*/ 170901760 h 43"/>
                <a:gd name="T22" fmla="*/ 148883080 w 39"/>
                <a:gd name="T23" fmla="*/ 17090176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43"/>
                <a:gd name="T38" fmla="*/ 39 w 39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43">
                  <a:moveTo>
                    <a:pt x="39" y="43"/>
                  </a:moveTo>
                  <a:lnTo>
                    <a:pt x="39" y="37"/>
                  </a:lnTo>
                  <a:lnTo>
                    <a:pt x="31" y="28"/>
                  </a:lnTo>
                  <a:lnTo>
                    <a:pt x="31" y="1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5" y="28"/>
                  </a:lnTo>
                  <a:lnTo>
                    <a:pt x="19" y="28"/>
                  </a:lnTo>
                  <a:lnTo>
                    <a:pt x="31" y="37"/>
                  </a:lnTo>
                  <a:lnTo>
                    <a:pt x="31" y="43"/>
                  </a:lnTo>
                  <a:lnTo>
                    <a:pt x="39" y="4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3" name="S_AZE"/>
            <p:cNvSpPr>
              <a:spLocks/>
            </p:cNvSpPr>
            <p:nvPr/>
          </p:nvSpPr>
          <p:spPr bwMode="auto">
            <a:xfrm>
              <a:off x="5965682" y="2905125"/>
              <a:ext cx="144123" cy="123825"/>
            </a:xfrm>
            <a:custGeom>
              <a:avLst/>
              <a:gdLst>
                <a:gd name="T0" fmla="*/ 94326480 w 69"/>
                <a:gd name="T1" fmla="*/ 224637446 h 59"/>
                <a:gd name="T2" fmla="*/ 188655030 w 69"/>
                <a:gd name="T3" fmla="*/ 193805029 h 59"/>
                <a:gd name="T4" fmla="*/ 210092483 w 69"/>
                <a:gd name="T5" fmla="*/ 193805029 h 59"/>
                <a:gd name="T6" fmla="*/ 188655030 w 69"/>
                <a:gd name="T7" fmla="*/ 224637446 h 59"/>
                <a:gd name="T8" fmla="*/ 235818254 w 69"/>
                <a:gd name="T9" fmla="*/ 259875094 h 59"/>
                <a:gd name="T10" fmla="*/ 210092483 w 69"/>
                <a:gd name="T11" fmla="*/ 224637446 h 59"/>
                <a:gd name="T12" fmla="*/ 235818254 w 69"/>
                <a:gd name="T13" fmla="*/ 224637446 h 59"/>
                <a:gd name="T14" fmla="*/ 235818254 w 69"/>
                <a:gd name="T15" fmla="*/ 162972612 h 59"/>
                <a:gd name="T16" fmla="*/ 295844428 w 69"/>
                <a:gd name="T17" fmla="*/ 96902515 h 59"/>
                <a:gd name="T18" fmla="*/ 235818254 w 69"/>
                <a:gd name="T19" fmla="*/ 66070081 h 59"/>
                <a:gd name="T20" fmla="*/ 210092483 w 69"/>
                <a:gd name="T21" fmla="*/ 0 h 59"/>
                <a:gd name="T22" fmla="*/ 188655030 w 69"/>
                <a:gd name="T23" fmla="*/ 39642895 h 59"/>
                <a:gd name="T24" fmla="*/ 115766003 w 69"/>
                <a:gd name="T25" fmla="*/ 39642895 h 59"/>
                <a:gd name="T26" fmla="*/ 94326480 w 69"/>
                <a:gd name="T27" fmla="*/ 0 h 59"/>
                <a:gd name="T28" fmla="*/ 60026125 w 69"/>
                <a:gd name="T29" fmla="*/ 0 h 59"/>
                <a:gd name="T30" fmla="*/ 94326480 w 69"/>
                <a:gd name="T31" fmla="*/ 39642895 h 59"/>
                <a:gd name="T32" fmla="*/ 0 w 69"/>
                <a:gd name="T33" fmla="*/ 39642895 h 59"/>
                <a:gd name="T34" fmla="*/ 60026125 w 69"/>
                <a:gd name="T35" fmla="*/ 96902515 h 59"/>
                <a:gd name="T36" fmla="*/ 60026125 w 69"/>
                <a:gd name="T37" fmla="*/ 162972612 h 59"/>
                <a:gd name="T38" fmla="*/ 94326480 w 69"/>
                <a:gd name="T39" fmla="*/ 193805029 h 59"/>
                <a:gd name="T40" fmla="*/ 94326480 w 69"/>
                <a:gd name="T41" fmla="*/ 224637446 h 59"/>
                <a:gd name="T42" fmla="*/ 94326480 w 69"/>
                <a:gd name="T43" fmla="*/ 224637446 h 59"/>
                <a:gd name="T44" fmla="*/ 94326480 w 69"/>
                <a:gd name="T45" fmla="*/ 224637446 h 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9"/>
                <a:gd name="T70" fmla="*/ 0 h 59"/>
                <a:gd name="T71" fmla="*/ 69 w 69"/>
                <a:gd name="T72" fmla="*/ 59 h 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9" h="59">
                  <a:moveTo>
                    <a:pt x="22" y="51"/>
                  </a:moveTo>
                  <a:lnTo>
                    <a:pt x="44" y="44"/>
                  </a:lnTo>
                  <a:lnTo>
                    <a:pt x="49" y="44"/>
                  </a:lnTo>
                  <a:lnTo>
                    <a:pt x="44" y="51"/>
                  </a:lnTo>
                  <a:lnTo>
                    <a:pt x="55" y="59"/>
                  </a:lnTo>
                  <a:lnTo>
                    <a:pt x="49" y="51"/>
                  </a:lnTo>
                  <a:lnTo>
                    <a:pt x="55" y="51"/>
                  </a:lnTo>
                  <a:lnTo>
                    <a:pt x="55" y="37"/>
                  </a:lnTo>
                  <a:lnTo>
                    <a:pt x="69" y="22"/>
                  </a:lnTo>
                  <a:lnTo>
                    <a:pt x="55" y="15"/>
                  </a:lnTo>
                  <a:lnTo>
                    <a:pt x="49" y="0"/>
                  </a:lnTo>
                  <a:lnTo>
                    <a:pt x="44" y="9"/>
                  </a:lnTo>
                  <a:lnTo>
                    <a:pt x="27" y="9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22" y="9"/>
                  </a:lnTo>
                  <a:lnTo>
                    <a:pt x="0" y="9"/>
                  </a:lnTo>
                  <a:lnTo>
                    <a:pt x="14" y="22"/>
                  </a:lnTo>
                  <a:lnTo>
                    <a:pt x="14" y="37"/>
                  </a:lnTo>
                  <a:lnTo>
                    <a:pt x="22" y="44"/>
                  </a:lnTo>
                  <a:lnTo>
                    <a:pt x="22" y="5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4" name="S_SYR"/>
            <p:cNvSpPr>
              <a:spLocks/>
            </p:cNvSpPr>
            <p:nvPr/>
          </p:nvSpPr>
          <p:spPr bwMode="auto">
            <a:xfrm>
              <a:off x="5709480" y="3076575"/>
              <a:ext cx="199268" cy="180975"/>
            </a:xfrm>
            <a:custGeom>
              <a:avLst/>
              <a:gdLst>
                <a:gd name="T0" fmla="*/ 0 w 97"/>
                <a:gd name="T1" fmla="*/ 414581637 h 79"/>
                <a:gd name="T2" fmla="*/ 25514529 w 97"/>
                <a:gd name="T3" fmla="*/ 372597744 h 79"/>
                <a:gd name="T4" fmla="*/ 55279073 w 97"/>
                <a:gd name="T5" fmla="*/ 267641376 h 79"/>
                <a:gd name="T6" fmla="*/ 25514529 w 97"/>
                <a:gd name="T7" fmla="*/ 220411501 h 79"/>
                <a:gd name="T8" fmla="*/ 25514529 w 97"/>
                <a:gd name="T9" fmla="*/ 78717258 h 79"/>
                <a:gd name="T10" fmla="*/ 55279073 w 97"/>
                <a:gd name="T11" fmla="*/ 78717258 h 79"/>
                <a:gd name="T12" fmla="*/ 55279073 w 97"/>
                <a:gd name="T13" fmla="*/ 41983911 h 79"/>
                <a:gd name="T14" fmla="*/ 182849664 w 97"/>
                <a:gd name="T15" fmla="*/ 0 h 79"/>
                <a:gd name="T16" fmla="*/ 212616262 w 97"/>
                <a:gd name="T17" fmla="*/ 41983911 h 79"/>
                <a:gd name="T18" fmla="*/ 289157828 w 97"/>
                <a:gd name="T19" fmla="*/ 0 h 79"/>
                <a:gd name="T20" fmla="*/ 412474232 w 97"/>
                <a:gd name="T21" fmla="*/ 0 h 79"/>
                <a:gd name="T22" fmla="*/ 352941037 w 97"/>
                <a:gd name="T23" fmla="*/ 41983911 h 79"/>
                <a:gd name="T24" fmla="*/ 289157828 w 97"/>
                <a:gd name="T25" fmla="*/ 220411501 h 79"/>
                <a:gd name="T26" fmla="*/ 212616262 w 97"/>
                <a:gd name="T27" fmla="*/ 335864414 h 79"/>
                <a:gd name="T28" fmla="*/ 182849664 w 97"/>
                <a:gd name="T29" fmla="*/ 335864414 h 79"/>
                <a:gd name="T30" fmla="*/ 55279073 w 97"/>
                <a:gd name="T31" fmla="*/ 414581637 h 79"/>
                <a:gd name="T32" fmla="*/ 0 w 97"/>
                <a:gd name="T33" fmla="*/ 414581637 h 79"/>
                <a:gd name="T34" fmla="*/ 0 w 97"/>
                <a:gd name="T35" fmla="*/ 414581637 h 79"/>
                <a:gd name="T36" fmla="*/ 0 w 97"/>
                <a:gd name="T37" fmla="*/ 414581637 h 7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7"/>
                <a:gd name="T58" fmla="*/ 0 h 79"/>
                <a:gd name="T59" fmla="*/ 97 w 97"/>
                <a:gd name="T60" fmla="*/ 79 h 7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7" h="79">
                  <a:moveTo>
                    <a:pt x="0" y="79"/>
                  </a:moveTo>
                  <a:lnTo>
                    <a:pt x="6" y="71"/>
                  </a:lnTo>
                  <a:lnTo>
                    <a:pt x="13" y="51"/>
                  </a:lnTo>
                  <a:lnTo>
                    <a:pt x="6" y="42"/>
                  </a:lnTo>
                  <a:lnTo>
                    <a:pt x="6" y="15"/>
                  </a:lnTo>
                  <a:lnTo>
                    <a:pt x="13" y="15"/>
                  </a:lnTo>
                  <a:lnTo>
                    <a:pt x="13" y="8"/>
                  </a:lnTo>
                  <a:lnTo>
                    <a:pt x="43" y="0"/>
                  </a:lnTo>
                  <a:lnTo>
                    <a:pt x="50" y="8"/>
                  </a:lnTo>
                  <a:lnTo>
                    <a:pt x="68" y="0"/>
                  </a:lnTo>
                  <a:lnTo>
                    <a:pt x="97" y="0"/>
                  </a:lnTo>
                  <a:lnTo>
                    <a:pt x="83" y="8"/>
                  </a:lnTo>
                  <a:lnTo>
                    <a:pt x="68" y="42"/>
                  </a:lnTo>
                  <a:lnTo>
                    <a:pt x="50" y="64"/>
                  </a:lnTo>
                  <a:lnTo>
                    <a:pt x="43" y="64"/>
                  </a:lnTo>
                  <a:lnTo>
                    <a:pt x="13" y="79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5" name="S_JOR"/>
            <p:cNvSpPr>
              <a:spLocks/>
            </p:cNvSpPr>
            <p:nvPr/>
          </p:nvSpPr>
          <p:spPr bwMode="auto">
            <a:xfrm>
              <a:off x="5671524" y="3228975"/>
              <a:ext cx="142334" cy="152400"/>
            </a:xfrm>
            <a:custGeom>
              <a:avLst/>
              <a:gdLst>
                <a:gd name="T0" fmla="*/ 309291896 w 66"/>
                <a:gd name="T1" fmla="*/ 75838595 h 70"/>
                <a:gd name="T2" fmla="*/ 309291896 w 66"/>
                <a:gd name="T3" fmla="*/ 0 h 70"/>
                <a:gd name="T4" fmla="*/ 276489042 w 66"/>
                <a:gd name="T5" fmla="*/ 0 h 70"/>
                <a:gd name="T6" fmla="*/ 135900073 w 66"/>
                <a:gd name="T7" fmla="*/ 75838595 h 70"/>
                <a:gd name="T8" fmla="*/ 74979067 w 66"/>
                <a:gd name="T9" fmla="*/ 75838595 h 70"/>
                <a:gd name="T10" fmla="*/ 74979067 w 66"/>
                <a:gd name="T11" fmla="*/ 222778291 h 70"/>
                <a:gd name="T12" fmla="*/ 0 w 66"/>
                <a:gd name="T13" fmla="*/ 331796563 h 70"/>
                <a:gd name="T14" fmla="*/ 103097287 w 66"/>
                <a:gd name="T15" fmla="*/ 331796563 h 70"/>
                <a:gd name="T16" fmla="*/ 135900073 w 66"/>
                <a:gd name="T17" fmla="*/ 284397938 h 70"/>
                <a:gd name="T18" fmla="*/ 173391789 w 66"/>
                <a:gd name="T19" fmla="*/ 284397938 h 70"/>
                <a:gd name="T20" fmla="*/ 206194575 w 66"/>
                <a:gd name="T21" fmla="*/ 222778291 h 70"/>
                <a:gd name="T22" fmla="*/ 173391789 w 66"/>
                <a:gd name="T23" fmla="*/ 180117195 h 70"/>
                <a:gd name="T24" fmla="*/ 309291896 w 66"/>
                <a:gd name="T25" fmla="*/ 75838595 h 70"/>
                <a:gd name="T26" fmla="*/ 309291896 w 66"/>
                <a:gd name="T27" fmla="*/ 75838595 h 70"/>
                <a:gd name="T28" fmla="*/ 309291896 w 66"/>
                <a:gd name="T29" fmla="*/ 75838595 h 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6"/>
                <a:gd name="T46" fmla="*/ 0 h 70"/>
                <a:gd name="T47" fmla="*/ 66 w 66"/>
                <a:gd name="T48" fmla="*/ 70 h 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6" h="70">
                  <a:moveTo>
                    <a:pt x="66" y="16"/>
                  </a:moveTo>
                  <a:lnTo>
                    <a:pt x="66" y="0"/>
                  </a:lnTo>
                  <a:lnTo>
                    <a:pt x="59" y="0"/>
                  </a:lnTo>
                  <a:lnTo>
                    <a:pt x="29" y="16"/>
                  </a:lnTo>
                  <a:lnTo>
                    <a:pt x="16" y="16"/>
                  </a:lnTo>
                  <a:lnTo>
                    <a:pt x="16" y="47"/>
                  </a:lnTo>
                  <a:lnTo>
                    <a:pt x="0" y="70"/>
                  </a:lnTo>
                  <a:lnTo>
                    <a:pt x="22" y="70"/>
                  </a:lnTo>
                  <a:lnTo>
                    <a:pt x="29" y="60"/>
                  </a:lnTo>
                  <a:lnTo>
                    <a:pt x="37" y="60"/>
                  </a:lnTo>
                  <a:lnTo>
                    <a:pt x="44" y="47"/>
                  </a:lnTo>
                  <a:lnTo>
                    <a:pt x="37" y="38"/>
                  </a:lnTo>
                  <a:lnTo>
                    <a:pt x="66" y="1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6" name="S_SAU"/>
            <p:cNvSpPr>
              <a:spLocks/>
            </p:cNvSpPr>
            <p:nvPr/>
          </p:nvSpPr>
          <p:spPr bwMode="auto">
            <a:xfrm>
              <a:off x="5671524" y="3267075"/>
              <a:ext cx="618571" cy="609600"/>
            </a:xfrm>
            <a:custGeom>
              <a:avLst/>
              <a:gdLst>
                <a:gd name="T0" fmla="*/ 1086494693 w 294"/>
                <a:gd name="T1" fmla="*/ 1026411775 h 296"/>
                <a:gd name="T2" fmla="*/ 1117537534 w 294"/>
                <a:gd name="T3" fmla="*/ 988239709 h 296"/>
                <a:gd name="T4" fmla="*/ 1188492599 w 294"/>
                <a:gd name="T5" fmla="*/ 967033464 h 296"/>
                <a:gd name="T6" fmla="*/ 1215102328 w 294"/>
                <a:gd name="T7" fmla="*/ 899170184 h 296"/>
                <a:gd name="T8" fmla="*/ 1272752529 w 294"/>
                <a:gd name="T9" fmla="*/ 839791873 h 296"/>
                <a:gd name="T10" fmla="*/ 1303795106 w 294"/>
                <a:gd name="T11" fmla="*/ 839791873 h 296"/>
                <a:gd name="T12" fmla="*/ 1303795106 w 294"/>
                <a:gd name="T13" fmla="*/ 712550282 h 296"/>
                <a:gd name="T14" fmla="*/ 1241709951 w 294"/>
                <a:gd name="T15" fmla="*/ 648929487 h 296"/>
                <a:gd name="T16" fmla="*/ 1188492599 w 294"/>
                <a:gd name="T17" fmla="*/ 648929487 h 296"/>
                <a:gd name="T18" fmla="*/ 1188492599 w 294"/>
                <a:gd name="T19" fmla="*/ 674378217 h 296"/>
                <a:gd name="T20" fmla="*/ 988932006 w 294"/>
                <a:gd name="T21" fmla="*/ 674378217 h 296"/>
                <a:gd name="T22" fmla="*/ 931281805 w 294"/>
                <a:gd name="T23" fmla="*/ 648929487 h 296"/>
                <a:gd name="T24" fmla="*/ 988932006 w 294"/>
                <a:gd name="T25" fmla="*/ 585308692 h 296"/>
                <a:gd name="T26" fmla="*/ 931281805 w 294"/>
                <a:gd name="T27" fmla="*/ 504724007 h 296"/>
                <a:gd name="T28" fmla="*/ 931281805 w 294"/>
                <a:gd name="T29" fmla="*/ 385965326 h 296"/>
                <a:gd name="T30" fmla="*/ 842589027 w 294"/>
                <a:gd name="T31" fmla="*/ 254483246 h 296"/>
                <a:gd name="T32" fmla="*/ 713983761 w 294"/>
                <a:gd name="T33" fmla="*/ 233274941 h 296"/>
                <a:gd name="T34" fmla="*/ 647463651 w 294"/>
                <a:gd name="T35" fmla="*/ 254483246 h 296"/>
                <a:gd name="T36" fmla="*/ 616421074 w 294"/>
                <a:gd name="T37" fmla="*/ 233274941 h 296"/>
                <a:gd name="T38" fmla="*/ 536595967 w 294"/>
                <a:gd name="T39" fmla="*/ 182379540 h 296"/>
                <a:gd name="T40" fmla="*/ 536595967 w 294"/>
                <a:gd name="T41" fmla="*/ 156930810 h 296"/>
                <a:gd name="T42" fmla="*/ 368078215 w 294"/>
                <a:gd name="T43" fmla="*/ 33931656 h 296"/>
                <a:gd name="T44" fmla="*/ 283820391 w 294"/>
                <a:gd name="T45" fmla="*/ 0 h 296"/>
                <a:gd name="T46" fmla="*/ 159647909 w 294"/>
                <a:gd name="T47" fmla="*/ 93309983 h 296"/>
                <a:gd name="T48" fmla="*/ 186255532 w 294"/>
                <a:gd name="T49" fmla="*/ 127241623 h 296"/>
                <a:gd name="T50" fmla="*/ 159647909 w 294"/>
                <a:gd name="T51" fmla="*/ 182379540 h 296"/>
                <a:gd name="T52" fmla="*/ 119735389 w 294"/>
                <a:gd name="T53" fmla="*/ 182379540 h 296"/>
                <a:gd name="T54" fmla="*/ 93127766 w 294"/>
                <a:gd name="T55" fmla="*/ 233274941 h 296"/>
                <a:gd name="T56" fmla="*/ 0 w 294"/>
                <a:gd name="T57" fmla="*/ 233274941 h 296"/>
                <a:gd name="T58" fmla="*/ 0 w 294"/>
                <a:gd name="T59" fmla="*/ 318102046 h 296"/>
                <a:gd name="T60" fmla="*/ 62085172 w 294"/>
                <a:gd name="T61" fmla="*/ 318102046 h 296"/>
                <a:gd name="T62" fmla="*/ 186255532 w 294"/>
                <a:gd name="T63" fmla="*/ 547136626 h 296"/>
                <a:gd name="T64" fmla="*/ 252775642 w 294"/>
                <a:gd name="T65" fmla="*/ 585308692 h 296"/>
                <a:gd name="T66" fmla="*/ 283820391 w 294"/>
                <a:gd name="T67" fmla="*/ 674378217 h 296"/>
                <a:gd name="T68" fmla="*/ 283820391 w 294"/>
                <a:gd name="T69" fmla="*/ 767688168 h 296"/>
                <a:gd name="T70" fmla="*/ 368078215 w 294"/>
                <a:gd name="T71" fmla="*/ 869481029 h 296"/>
                <a:gd name="T72" fmla="*/ 470075857 w 294"/>
                <a:gd name="T73" fmla="*/ 1060343415 h 296"/>
                <a:gd name="T74" fmla="*/ 501118435 w 294"/>
                <a:gd name="T75" fmla="*/ 1090032827 h 296"/>
                <a:gd name="T76" fmla="*/ 536595967 w 294"/>
                <a:gd name="T77" fmla="*/ 1060343415 h 296"/>
                <a:gd name="T78" fmla="*/ 647463651 w 294"/>
                <a:gd name="T79" fmla="*/ 1183342778 h 296"/>
                <a:gd name="T80" fmla="*/ 678506229 w 294"/>
                <a:gd name="T81" fmla="*/ 1255446484 h 296"/>
                <a:gd name="T82" fmla="*/ 931281805 w 294"/>
                <a:gd name="T83" fmla="*/ 1060343415 h 296"/>
                <a:gd name="T84" fmla="*/ 1086494693 w 294"/>
                <a:gd name="T85" fmla="*/ 1026411775 h 296"/>
                <a:gd name="T86" fmla="*/ 1086494693 w 294"/>
                <a:gd name="T87" fmla="*/ 1026411775 h 296"/>
                <a:gd name="T88" fmla="*/ 1086494693 w 294"/>
                <a:gd name="T89" fmla="*/ 1026411775 h 29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4"/>
                <a:gd name="T136" fmla="*/ 0 h 296"/>
                <a:gd name="T137" fmla="*/ 294 w 294"/>
                <a:gd name="T138" fmla="*/ 296 h 29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4" h="296">
                  <a:moveTo>
                    <a:pt x="245" y="242"/>
                  </a:moveTo>
                  <a:lnTo>
                    <a:pt x="252" y="233"/>
                  </a:lnTo>
                  <a:lnTo>
                    <a:pt x="268" y="228"/>
                  </a:lnTo>
                  <a:lnTo>
                    <a:pt x="274" y="212"/>
                  </a:lnTo>
                  <a:lnTo>
                    <a:pt x="287" y="198"/>
                  </a:lnTo>
                  <a:lnTo>
                    <a:pt x="294" y="198"/>
                  </a:lnTo>
                  <a:lnTo>
                    <a:pt x="294" y="168"/>
                  </a:lnTo>
                  <a:lnTo>
                    <a:pt x="280" y="153"/>
                  </a:lnTo>
                  <a:lnTo>
                    <a:pt x="268" y="153"/>
                  </a:lnTo>
                  <a:lnTo>
                    <a:pt x="268" y="159"/>
                  </a:lnTo>
                  <a:lnTo>
                    <a:pt x="223" y="159"/>
                  </a:lnTo>
                  <a:lnTo>
                    <a:pt x="210" y="153"/>
                  </a:lnTo>
                  <a:lnTo>
                    <a:pt x="223" y="138"/>
                  </a:lnTo>
                  <a:lnTo>
                    <a:pt x="210" y="119"/>
                  </a:lnTo>
                  <a:lnTo>
                    <a:pt x="210" y="91"/>
                  </a:lnTo>
                  <a:lnTo>
                    <a:pt x="190" y="60"/>
                  </a:lnTo>
                  <a:lnTo>
                    <a:pt x="161" y="55"/>
                  </a:lnTo>
                  <a:lnTo>
                    <a:pt x="146" y="60"/>
                  </a:lnTo>
                  <a:lnTo>
                    <a:pt x="139" y="55"/>
                  </a:lnTo>
                  <a:lnTo>
                    <a:pt x="121" y="43"/>
                  </a:lnTo>
                  <a:lnTo>
                    <a:pt x="121" y="37"/>
                  </a:lnTo>
                  <a:lnTo>
                    <a:pt x="83" y="8"/>
                  </a:lnTo>
                  <a:lnTo>
                    <a:pt x="64" y="0"/>
                  </a:lnTo>
                  <a:lnTo>
                    <a:pt x="36" y="22"/>
                  </a:lnTo>
                  <a:lnTo>
                    <a:pt x="42" y="30"/>
                  </a:lnTo>
                  <a:lnTo>
                    <a:pt x="36" y="43"/>
                  </a:lnTo>
                  <a:lnTo>
                    <a:pt x="27" y="43"/>
                  </a:lnTo>
                  <a:lnTo>
                    <a:pt x="21" y="55"/>
                  </a:lnTo>
                  <a:lnTo>
                    <a:pt x="0" y="55"/>
                  </a:lnTo>
                  <a:lnTo>
                    <a:pt x="0" y="75"/>
                  </a:lnTo>
                  <a:lnTo>
                    <a:pt x="14" y="75"/>
                  </a:lnTo>
                  <a:lnTo>
                    <a:pt x="42" y="129"/>
                  </a:lnTo>
                  <a:lnTo>
                    <a:pt x="57" y="138"/>
                  </a:lnTo>
                  <a:lnTo>
                    <a:pt x="64" y="159"/>
                  </a:lnTo>
                  <a:lnTo>
                    <a:pt x="64" y="181"/>
                  </a:lnTo>
                  <a:lnTo>
                    <a:pt x="83" y="205"/>
                  </a:lnTo>
                  <a:lnTo>
                    <a:pt x="106" y="250"/>
                  </a:lnTo>
                  <a:lnTo>
                    <a:pt x="113" y="257"/>
                  </a:lnTo>
                  <a:lnTo>
                    <a:pt x="121" y="250"/>
                  </a:lnTo>
                  <a:lnTo>
                    <a:pt x="146" y="279"/>
                  </a:lnTo>
                  <a:lnTo>
                    <a:pt x="153" y="296"/>
                  </a:lnTo>
                  <a:lnTo>
                    <a:pt x="210" y="250"/>
                  </a:lnTo>
                  <a:lnTo>
                    <a:pt x="245" y="24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7" name="S_QAT"/>
            <p:cNvSpPr>
              <a:spLocks/>
            </p:cNvSpPr>
            <p:nvPr/>
          </p:nvSpPr>
          <p:spPr bwMode="auto">
            <a:xfrm>
              <a:off x="6109805" y="3495675"/>
              <a:ext cx="56934" cy="47625"/>
            </a:xfrm>
            <a:custGeom>
              <a:avLst/>
              <a:gdLst>
                <a:gd name="T0" fmla="*/ 88838541 w 25"/>
                <a:gd name="T1" fmla="*/ 90725627 h 25"/>
                <a:gd name="T2" fmla="*/ 0 w 25"/>
                <a:gd name="T3" fmla="*/ 36290254 h 25"/>
                <a:gd name="T4" fmla="*/ 88838541 w 25"/>
                <a:gd name="T5" fmla="*/ 0 h 25"/>
                <a:gd name="T6" fmla="*/ 130644896 w 25"/>
                <a:gd name="T7" fmla="*/ 0 h 25"/>
                <a:gd name="T8" fmla="*/ 88838541 w 25"/>
                <a:gd name="T9" fmla="*/ 90725627 h 25"/>
                <a:gd name="T10" fmla="*/ 88838541 w 25"/>
                <a:gd name="T11" fmla="*/ 90725627 h 25"/>
                <a:gd name="T12" fmla="*/ 88838541 w 25"/>
                <a:gd name="T13" fmla="*/ 9072562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25"/>
                <a:gd name="T23" fmla="*/ 25 w 25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25">
                  <a:moveTo>
                    <a:pt x="17" y="25"/>
                  </a:moveTo>
                  <a:lnTo>
                    <a:pt x="0" y="1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8" name="S_ARE"/>
            <p:cNvSpPr>
              <a:spLocks/>
            </p:cNvSpPr>
            <p:nvPr/>
          </p:nvSpPr>
          <p:spPr bwMode="auto">
            <a:xfrm>
              <a:off x="6109805" y="3495675"/>
              <a:ext cx="180290" cy="95250"/>
            </a:xfrm>
            <a:custGeom>
              <a:avLst/>
              <a:gdLst>
                <a:gd name="T0" fmla="*/ 324921239 w 84"/>
                <a:gd name="T1" fmla="*/ 170249858 h 45"/>
                <a:gd name="T2" fmla="*/ 389904167 w 84"/>
                <a:gd name="T3" fmla="*/ 80645006 h 45"/>
                <a:gd name="T4" fmla="*/ 389904167 w 84"/>
                <a:gd name="T5" fmla="*/ 35841521 h 45"/>
                <a:gd name="T6" fmla="*/ 357412703 w 84"/>
                <a:gd name="T7" fmla="*/ 0 h 45"/>
                <a:gd name="T8" fmla="*/ 269219672 w 84"/>
                <a:gd name="T9" fmla="*/ 103045681 h 45"/>
                <a:gd name="T10" fmla="*/ 69625814 w 84"/>
                <a:gd name="T11" fmla="*/ 103045681 h 45"/>
                <a:gd name="T12" fmla="*/ 0 w 84"/>
                <a:gd name="T13" fmla="*/ 170249858 h 45"/>
                <a:gd name="T14" fmla="*/ 69625814 w 84"/>
                <a:gd name="T15" fmla="*/ 201612498 h 45"/>
                <a:gd name="T16" fmla="*/ 269219672 w 84"/>
                <a:gd name="T17" fmla="*/ 201612498 h 45"/>
                <a:gd name="T18" fmla="*/ 269219672 w 84"/>
                <a:gd name="T19" fmla="*/ 170249858 h 45"/>
                <a:gd name="T20" fmla="*/ 324921239 w 84"/>
                <a:gd name="T21" fmla="*/ 170249858 h 45"/>
                <a:gd name="T22" fmla="*/ 324921239 w 84"/>
                <a:gd name="T23" fmla="*/ 170249858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45"/>
                <a:gd name="T38" fmla="*/ 84 w 84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45">
                  <a:moveTo>
                    <a:pt x="70" y="38"/>
                  </a:moveTo>
                  <a:lnTo>
                    <a:pt x="84" y="18"/>
                  </a:lnTo>
                  <a:lnTo>
                    <a:pt x="84" y="8"/>
                  </a:lnTo>
                  <a:lnTo>
                    <a:pt x="77" y="0"/>
                  </a:lnTo>
                  <a:lnTo>
                    <a:pt x="58" y="23"/>
                  </a:lnTo>
                  <a:lnTo>
                    <a:pt x="15" y="23"/>
                  </a:lnTo>
                  <a:lnTo>
                    <a:pt x="0" y="38"/>
                  </a:lnTo>
                  <a:lnTo>
                    <a:pt x="15" y="45"/>
                  </a:lnTo>
                  <a:lnTo>
                    <a:pt x="58" y="45"/>
                  </a:lnTo>
                  <a:lnTo>
                    <a:pt x="58" y="38"/>
                  </a:lnTo>
                  <a:lnTo>
                    <a:pt x="70" y="3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9" name="S_OMN"/>
            <p:cNvSpPr>
              <a:spLocks/>
            </p:cNvSpPr>
            <p:nvPr/>
          </p:nvSpPr>
          <p:spPr bwMode="auto">
            <a:xfrm>
              <a:off x="6195205" y="3533775"/>
              <a:ext cx="189779" cy="247650"/>
            </a:xfrm>
            <a:custGeom>
              <a:avLst/>
              <a:gdLst>
                <a:gd name="T0" fmla="*/ 0 w 93"/>
                <a:gd name="T1" fmla="*/ 519750187 h 118"/>
                <a:gd name="T2" fmla="*/ 121680331 w 93"/>
                <a:gd name="T3" fmla="*/ 519750187 h 118"/>
                <a:gd name="T4" fmla="*/ 176226845 w 93"/>
                <a:gd name="T5" fmla="*/ 453680123 h 118"/>
                <a:gd name="T6" fmla="*/ 276929682 w 93"/>
                <a:gd name="T7" fmla="*/ 431656068 h 118"/>
                <a:gd name="T8" fmla="*/ 297907208 w 93"/>
                <a:gd name="T9" fmla="*/ 356777641 h 118"/>
                <a:gd name="T10" fmla="*/ 297907208 w 93"/>
                <a:gd name="T11" fmla="*/ 325945224 h 118"/>
                <a:gd name="T12" fmla="*/ 390217742 w 93"/>
                <a:gd name="T13" fmla="*/ 162972612 h 118"/>
                <a:gd name="T14" fmla="*/ 276929682 w 93"/>
                <a:gd name="T15" fmla="*/ 30832425 h 118"/>
                <a:gd name="T16" fmla="*/ 213990897 w 93"/>
                <a:gd name="T17" fmla="*/ 0 h 118"/>
                <a:gd name="T18" fmla="*/ 151052176 w 93"/>
                <a:gd name="T19" fmla="*/ 96902515 h 118"/>
                <a:gd name="T20" fmla="*/ 213990897 w 93"/>
                <a:gd name="T21" fmla="*/ 162972612 h 118"/>
                <a:gd name="T22" fmla="*/ 213990897 w 93"/>
                <a:gd name="T23" fmla="*/ 295112807 h 118"/>
                <a:gd name="T24" fmla="*/ 176226845 w 93"/>
                <a:gd name="T25" fmla="*/ 295112807 h 118"/>
                <a:gd name="T26" fmla="*/ 121680331 w 93"/>
                <a:gd name="T27" fmla="*/ 356777641 h 118"/>
                <a:gd name="T28" fmla="*/ 100700757 w 93"/>
                <a:gd name="T29" fmla="*/ 431656068 h 118"/>
                <a:gd name="T30" fmla="*/ 37762020 w 93"/>
                <a:gd name="T31" fmla="*/ 453680123 h 118"/>
                <a:gd name="T32" fmla="*/ 0 w 93"/>
                <a:gd name="T33" fmla="*/ 488917770 h 118"/>
                <a:gd name="T34" fmla="*/ 0 w 93"/>
                <a:gd name="T35" fmla="*/ 519750187 h 118"/>
                <a:gd name="T36" fmla="*/ 0 w 93"/>
                <a:gd name="T37" fmla="*/ 519750187 h 118"/>
                <a:gd name="T38" fmla="*/ 0 w 93"/>
                <a:gd name="T39" fmla="*/ 519750187 h 1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3"/>
                <a:gd name="T61" fmla="*/ 0 h 118"/>
                <a:gd name="T62" fmla="*/ 93 w 93"/>
                <a:gd name="T63" fmla="*/ 118 h 1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3" h="118">
                  <a:moveTo>
                    <a:pt x="0" y="118"/>
                  </a:moveTo>
                  <a:lnTo>
                    <a:pt x="29" y="118"/>
                  </a:lnTo>
                  <a:lnTo>
                    <a:pt x="42" y="103"/>
                  </a:lnTo>
                  <a:lnTo>
                    <a:pt x="66" y="98"/>
                  </a:lnTo>
                  <a:lnTo>
                    <a:pt x="71" y="81"/>
                  </a:lnTo>
                  <a:lnTo>
                    <a:pt x="71" y="74"/>
                  </a:lnTo>
                  <a:lnTo>
                    <a:pt x="93" y="37"/>
                  </a:lnTo>
                  <a:lnTo>
                    <a:pt x="66" y="7"/>
                  </a:lnTo>
                  <a:lnTo>
                    <a:pt x="51" y="0"/>
                  </a:lnTo>
                  <a:lnTo>
                    <a:pt x="36" y="22"/>
                  </a:lnTo>
                  <a:lnTo>
                    <a:pt x="51" y="37"/>
                  </a:lnTo>
                  <a:lnTo>
                    <a:pt x="51" y="67"/>
                  </a:lnTo>
                  <a:lnTo>
                    <a:pt x="42" y="67"/>
                  </a:lnTo>
                  <a:lnTo>
                    <a:pt x="29" y="81"/>
                  </a:lnTo>
                  <a:lnTo>
                    <a:pt x="24" y="98"/>
                  </a:lnTo>
                  <a:lnTo>
                    <a:pt x="9" y="103"/>
                  </a:lnTo>
                  <a:lnTo>
                    <a:pt x="0" y="111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0" name="S_YEM"/>
            <p:cNvSpPr>
              <a:spLocks/>
            </p:cNvSpPr>
            <p:nvPr/>
          </p:nvSpPr>
          <p:spPr bwMode="auto">
            <a:xfrm>
              <a:off x="5908748" y="3762375"/>
              <a:ext cx="286458" cy="161925"/>
            </a:xfrm>
            <a:custGeom>
              <a:avLst/>
              <a:gdLst>
                <a:gd name="T0" fmla="*/ 0 w 135"/>
                <a:gd name="T1" fmla="*/ 68091582 h 76"/>
                <a:gd name="T2" fmla="*/ 35841517 w 135"/>
                <a:gd name="T3" fmla="*/ 40854104 h 76"/>
                <a:gd name="T4" fmla="*/ 147849166 w 135"/>
                <a:gd name="T5" fmla="*/ 167958836 h 76"/>
                <a:gd name="T6" fmla="*/ 179211802 w 135"/>
                <a:gd name="T7" fmla="*/ 245128851 h 76"/>
                <a:gd name="T8" fmla="*/ 443547432 w 135"/>
                <a:gd name="T9" fmla="*/ 40854104 h 76"/>
                <a:gd name="T10" fmla="*/ 604837491 w 135"/>
                <a:gd name="T11" fmla="*/ 0 h 76"/>
                <a:gd name="T12" fmla="*/ 604837491 w 135"/>
                <a:gd name="T13" fmla="*/ 40854104 h 76"/>
                <a:gd name="T14" fmla="*/ 577955837 w 135"/>
                <a:gd name="T15" fmla="*/ 68091582 h 76"/>
                <a:gd name="T16" fmla="*/ 577955837 w 135"/>
                <a:gd name="T17" fmla="*/ 136183165 h 76"/>
                <a:gd name="T18" fmla="*/ 421146759 w 135"/>
                <a:gd name="T19" fmla="*/ 167958836 h 76"/>
                <a:gd name="T20" fmla="*/ 255375784 w 135"/>
                <a:gd name="T21" fmla="*/ 276904489 h 76"/>
                <a:gd name="T22" fmla="*/ 179211802 w 135"/>
                <a:gd name="T23" fmla="*/ 276904489 h 76"/>
                <a:gd name="T24" fmla="*/ 116486497 w 135"/>
                <a:gd name="T25" fmla="*/ 344996121 h 76"/>
                <a:gd name="T26" fmla="*/ 35841517 w 135"/>
                <a:gd name="T27" fmla="*/ 344996121 h 76"/>
                <a:gd name="T28" fmla="*/ 0 w 135"/>
                <a:gd name="T29" fmla="*/ 68091582 h 76"/>
                <a:gd name="T30" fmla="*/ 0 w 135"/>
                <a:gd name="T31" fmla="*/ 68091582 h 76"/>
                <a:gd name="T32" fmla="*/ 0 w 135"/>
                <a:gd name="T33" fmla="*/ 68091582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5"/>
                <a:gd name="T52" fmla="*/ 0 h 76"/>
                <a:gd name="T53" fmla="*/ 135 w 135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5" h="76">
                  <a:moveTo>
                    <a:pt x="0" y="15"/>
                  </a:moveTo>
                  <a:lnTo>
                    <a:pt x="8" y="9"/>
                  </a:lnTo>
                  <a:lnTo>
                    <a:pt x="33" y="37"/>
                  </a:lnTo>
                  <a:lnTo>
                    <a:pt x="40" y="54"/>
                  </a:lnTo>
                  <a:lnTo>
                    <a:pt x="99" y="9"/>
                  </a:lnTo>
                  <a:lnTo>
                    <a:pt x="135" y="0"/>
                  </a:lnTo>
                  <a:lnTo>
                    <a:pt x="135" y="9"/>
                  </a:lnTo>
                  <a:lnTo>
                    <a:pt x="129" y="15"/>
                  </a:lnTo>
                  <a:lnTo>
                    <a:pt x="129" y="30"/>
                  </a:lnTo>
                  <a:lnTo>
                    <a:pt x="94" y="37"/>
                  </a:lnTo>
                  <a:lnTo>
                    <a:pt x="57" y="61"/>
                  </a:lnTo>
                  <a:lnTo>
                    <a:pt x="40" y="61"/>
                  </a:lnTo>
                  <a:lnTo>
                    <a:pt x="26" y="76"/>
                  </a:lnTo>
                  <a:lnTo>
                    <a:pt x="8" y="7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1" name="S_NPL"/>
            <p:cNvSpPr>
              <a:spLocks/>
            </p:cNvSpPr>
            <p:nvPr/>
          </p:nvSpPr>
          <p:spPr bwMode="auto">
            <a:xfrm>
              <a:off x="6965602" y="3333750"/>
              <a:ext cx="208757" cy="142875"/>
            </a:xfrm>
            <a:custGeom>
              <a:avLst/>
              <a:gdLst>
                <a:gd name="T0" fmla="*/ 35128968 w 100"/>
                <a:gd name="T1" fmla="*/ 0 h 69"/>
                <a:gd name="T2" fmla="*/ 0 w 100"/>
                <a:gd name="T3" fmla="*/ 102903117 h 69"/>
                <a:gd name="T4" fmla="*/ 65865752 w 100"/>
                <a:gd name="T5" fmla="*/ 158640940 h 69"/>
                <a:gd name="T6" fmla="*/ 412765309 w 100"/>
                <a:gd name="T7" fmla="*/ 295844428 h 69"/>
                <a:gd name="T8" fmla="*/ 439112022 w 100"/>
                <a:gd name="T9" fmla="*/ 295844428 h 69"/>
                <a:gd name="T10" fmla="*/ 439112022 w 100"/>
                <a:gd name="T11" fmla="*/ 158640940 h 69"/>
                <a:gd name="T12" fmla="*/ 316160692 w 100"/>
                <a:gd name="T13" fmla="*/ 158640940 h 69"/>
                <a:gd name="T14" fmla="*/ 228338249 w 100"/>
                <a:gd name="T15" fmla="*/ 81463594 h 69"/>
                <a:gd name="T16" fmla="*/ 184427060 w 100"/>
                <a:gd name="T17" fmla="*/ 81463594 h 69"/>
                <a:gd name="T18" fmla="*/ 96604649 w 100"/>
                <a:gd name="T19" fmla="*/ 0 h 69"/>
                <a:gd name="T20" fmla="*/ 35128968 w 100"/>
                <a:gd name="T21" fmla="*/ 0 h 69"/>
                <a:gd name="T22" fmla="*/ 35128968 w 100"/>
                <a:gd name="T23" fmla="*/ 0 h 69"/>
                <a:gd name="T24" fmla="*/ 35128968 w 100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"/>
                <a:gd name="T40" fmla="*/ 0 h 69"/>
                <a:gd name="T41" fmla="*/ 100 w 100"/>
                <a:gd name="T42" fmla="*/ 69 h 6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" h="69">
                  <a:moveTo>
                    <a:pt x="8" y="0"/>
                  </a:moveTo>
                  <a:lnTo>
                    <a:pt x="0" y="24"/>
                  </a:lnTo>
                  <a:lnTo>
                    <a:pt x="15" y="37"/>
                  </a:lnTo>
                  <a:lnTo>
                    <a:pt x="94" y="69"/>
                  </a:lnTo>
                  <a:lnTo>
                    <a:pt x="100" y="69"/>
                  </a:lnTo>
                  <a:lnTo>
                    <a:pt x="100" y="37"/>
                  </a:lnTo>
                  <a:lnTo>
                    <a:pt x="72" y="37"/>
                  </a:lnTo>
                  <a:lnTo>
                    <a:pt x="52" y="19"/>
                  </a:lnTo>
                  <a:lnTo>
                    <a:pt x="42" y="19"/>
                  </a:lnTo>
                  <a:lnTo>
                    <a:pt x="22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2" name="S_LKA"/>
            <p:cNvSpPr>
              <a:spLocks/>
            </p:cNvSpPr>
            <p:nvPr/>
          </p:nvSpPr>
          <p:spPr bwMode="auto">
            <a:xfrm>
              <a:off x="6937135" y="3990975"/>
              <a:ext cx="75912" cy="123825"/>
            </a:xfrm>
            <a:custGeom>
              <a:avLst/>
              <a:gdLst>
                <a:gd name="T0" fmla="*/ 0 w 36"/>
                <a:gd name="T1" fmla="*/ 117979159 h 57"/>
                <a:gd name="T2" fmla="*/ 67204155 w 36"/>
                <a:gd name="T3" fmla="*/ 268993516 h 57"/>
                <a:gd name="T4" fmla="*/ 134408309 w 36"/>
                <a:gd name="T5" fmla="*/ 268993516 h 57"/>
                <a:gd name="T6" fmla="*/ 161289998 w 36"/>
                <a:gd name="T7" fmla="*/ 188767971 h 57"/>
                <a:gd name="T8" fmla="*/ 103045673 w 36"/>
                <a:gd name="T9" fmla="*/ 47192536 h 57"/>
                <a:gd name="T10" fmla="*/ 67204155 w 36"/>
                <a:gd name="T11" fmla="*/ 0 h 57"/>
                <a:gd name="T12" fmla="*/ 0 w 36"/>
                <a:gd name="T13" fmla="*/ 117979159 h 57"/>
                <a:gd name="T14" fmla="*/ 0 w 36"/>
                <a:gd name="T15" fmla="*/ 117979159 h 57"/>
                <a:gd name="T16" fmla="*/ 0 w 36"/>
                <a:gd name="T17" fmla="*/ 117979159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57"/>
                <a:gd name="T29" fmla="*/ 36 w 36"/>
                <a:gd name="T30" fmla="*/ 57 h 5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57">
                  <a:moveTo>
                    <a:pt x="0" y="25"/>
                  </a:moveTo>
                  <a:lnTo>
                    <a:pt x="15" y="57"/>
                  </a:lnTo>
                  <a:lnTo>
                    <a:pt x="30" y="57"/>
                  </a:lnTo>
                  <a:lnTo>
                    <a:pt x="36" y="40"/>
                  </a:lnTo>
                  <a:lnTo>
                    <a:pt x="23" y="10"/>
                  </a:lnTo>
                  <a:lnTo>
                    <a:pt x="15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3" name="S_PAK"/>
            <p:cNvSpPr>
              <a:spLocks/>
            </p:cNvSpPr>
            <p:nvPr/>
          </p:nvSpPr>
          <p:spPr bwMode="auto">
            <a:xfrm>
              <a:off x="6432429" y="3095625"/>
              <a:ext cx="447772" cy="476250"/>
            </a:xfrm>
            <a:custGeom>
              <a:avLst/>
              <a:gdLst>
                <a:gd name="T0" fmla="*/ 927837523 w 216"/>
                <a:gd name="T1" fmla="*/ 85751928 h 230"/>
                <a:gd name="T2" fmla="*/ 906359492 w 216"/>
                <a:gd name="T3" fmla="*/ 64314456 h 230"/>
                <a:gd name="T4" fmla="*/ 906359492 w 216"/>
                <a:gd name="T5" fmla="*/ 85751928 h 230"/>
                <a:gd name="T6" fmla="*/ 927837523 w 216"/>
                <a:gd name="T7" fmla="*/ 85751928 h 230"/>
                <a:gd name="T8" fmla="*/ 777493378 w 216"/>
                <a:gd name="T9" fmla="*/ 0 h 230"/>
                <a:gd name="T10" fmla="*/ 743130186 w 216"/>
                <a:gd name="T11" fmla="*/ 0 h 230"/>
                <a:gd name="T12" fmla="*/ 777493378 w 216"/>
                <a:gd name="T13" fmla="*/ 0 h 230"/>
                <a:gd name="T14" fmla="*/ 743130186 w 216"/>
                <a:gd name="T15" fmla="*/ 0 h 230"/>
                <a:gd name="T16" fmla="*/ 584193171 w 216"/>
                <a:gd name="T17" fmla="*/ 64314456 h 230"/>
                <a:gd name="T18" fmla="*/ 584193171 w 216"/>
                <a:gd name="T19" fmla="*/ 150066400 h 230"/>
                <a:gd name="T20" fmla="*/ 554126414 w 216"/>
                <a:gd name="T21" fmla="*/ 218667088 h 230"/>
                <a:gd name="T22" fmla="*/ 528351818 w 216"/>
                <a:gd name="T23" fmla="*/ 218667088 h 230"/>
                <a:gd name="T24" fmla="*/ 528351818 w 216"/>
                <a:gd name="T25" fmla="*/ 282981592 h 230"/>
                <a:gd name="T26" fmla="*/ 463919798 w 216"/>
                <a:gd name="T27" fmla="*/ 308707368 h 230"/>
                <a:gd name="T28" fmla="*/ 463919798 w 216"/>
                <a:gd name="T29" fmla="*/ 390170944 h 230"/>
                <a:gd name="T30" fmla="*/ 339348046 w 216"/>
                <a:gd name="T31" fmla="*/ 441622496 h 230"/>
                <a:gd name="T32" fmla="*/ 309279217 w 216"/>
                <a:gd name="T33" fmla="*/ 475922840 h 230"/>
                <a:gd name="T34" fmla="*/ 309279217 w 216"/>
                <a:gd name="T35" fmla="*/ 540237280 h 230"/>
                <a:gd name="T36" fmla="*/ 60137674 w 216"/>
                <a:gd name="T37" fmla="*/ 578826073 h 230"/>
                <a:gd name="T38" fmla="*/ 0 w 216"/>
                <a:gd name="T39" fmla="*/ 540237280 h 230"/>
                <a:gd name="T40" fmla="*/ 94502955 w 216"/>
                <a:gd name="T41" fmla="*/ 737466976 h 230"/>
                <a:gd name="T42" fmla="*/ 38659643 w 216"/>
                <a:gd name="T43" fmla="*/ 801781416 h 230"/>
                <a:gd name="T44" fmla="*/ 38659643 w 216"/>
                <a:gd name="T45" fmla="*/ 857519216 h 230"/>
                <a:gd name="T46" fmla="*/ 339348046 w 216"/>
                <a:gd name="T47" fmla="*/ 857519216 h 230"/>
                <a:gd name="T48" fmla="*/ 369416875 w 216"/>
                <a:gd name="T49" fmla="*/ 930410295 h 230"/>
                <a:gd name="T50" fmla="*/ 403782140 w 216"/>
                <a:gd name="T51" fmla="*/ 986148095 h 230"/>
                <a:gd name="T52" fmla="*/ 433850969 w 216"/>
                <a:gd name="T53" fmla="*/ 930410295 h 230"/>
                <a:gd name="T54" fmla="*/ 554126414 w 216"/>
                <a:gd name="T55" fmla="*/ 930410295 h 230"/>
                <a:gd name="T56" fmla="*/ 554126414 w 216"/>
                <a:gd name="T57" fmla="*/ 823218872 h 230"/>
                <a:gd name="T58" fmla="*/ 528351818 w 216"/>
                <a:gd name="T59" fmla="*/ 823218872 h 230"/>
                <a:gd name="T60" fmla="*/ 528351818 w 216"/>
                <a:gd name="T61" fmla="*/ 801781416 h 230"/>
                <a:gd name="T62" fmla="*/ 463919798 w 216"/>
                <a:gd name="T63" fmla="*/ 801781416 h 230"/>
                <a:gd name="T64" fmla="*/ 463919798 w 216"/>
                <a:gd name="T65" fmla="*/ 707454952 h 230"/>
                <a:gd name="T66" fmla="*/ 528351818 w 216"/>
                <a:gd name="T67" fmla="*/ 664577968 h 230"/>
                <a:gd name="T68" fmla="*/ 554126414 w 216"/>
                <a:gd name="T69" fmla="*/ 707454952 h 230"/>
                <a:gd name="T70" fmla="*/ 807562207 w 216"/>
                <a:gd name="T71" fmla="*/ 441622496 h 230"/>
                <a:gd name="T72" fmla="*/ 777493378 w 216"/>
                <a:gd name="T73" fmla="*/ 390170944 h 230"/>
                <a:gd name="T74" fmla="*/ 807562207 w 216"/>
                <a:gd name="T75" fmla="*/ 390170944 h 230"/>
                <a:gd name="T76" fmla="*/ 807562207 w 216"/>
                <a:gd name="T77" fmla="*/ 347296032 h 230"/>
                <a:gd name="T78" fmla="*/ 743130186 w 216"/>
                <a:gd name="T79" fmla="*/ 308707368 h 230"/>
                <a:gd name="T80" fmla="*/ 777493378 w 216"/>
                <a:gd name="T81" fmla="*/ 218667088 h 230"/>
                <a:gd name="T82" fmla="*/ 743130186 w 216"/>
                <a:gd name="T83" fmla="*/ 188655064 h 230"/>
                <a:gd name="T84" fmla="*/ 777493378 w 216"/>
                <a:gd name="T85" fmla="*/ 150066400 h 230"/>
                <a:gd name="T86" fmla="*/ 777493378 w 216"/>
                <a:gd name="T87" fmla="*/ 124340592 h 230"/>
                <a:gd name="T88" fmla="*/ 743130186 w 216"/>
                <a:gd name="T89" fmla="*/ 85751928 h 230"/>
                <a:gd name="T90" fmla="*/ 708764922 w 216"/>
                <a:gd name="T91" fmla="*/ 85751928 h 230"/>
                <a:gd name="T92" fmla="*/ 708764922 w 216"/>
                <a:gd name="T93" fmla="*/ 0 h 230"/>
                <a:gd name="T94" fmla="*/ 743130186 w 216"/>
                <a:gd name="T95" fmla="*/ 0 h 230"/>
                <a:gd name="T96" fmla="*/ 927837523 w 216"/>
                <a:gd name="T97" fmla="*/ 85751928 h 230"/>
                <a:gd name="T98" fmla="*/ 927837523 w 216"/>
                <a:gd name="T99" fmla="*/ 85751928 h 230"/>
                <a:gd name="T100" fmla="*/ 927837523 w 216"/>
                <a:gd name="T101" fmla="*/ 85751928 h 2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"/>
                <a:gd name="T154" fmla="*/ 0 h 230"/>
                <a:gd name="T155" fmla="*/ 216 w 216"/>
                <a:gd name="T156" fmla="*/ 230 h 2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" h="230">
                  <a:moveTo>
                    <a:pt x="216" y="20"/>
                  </a:moveTo>
                  <a:lnTo>
                    <a:pt x="211" y="15"/>
                  </a:lnTo>
                  <a:lnTo>
                    <a:pt x="211" y="20"/>
                  </a:lnTo>
                  <a:lnTo>
                    <a:pt x="216" y="20"/>
                  </a:lnTo>
                  <a:lnTo>
                    <a:pt x="181" y="0"/>
                  </a:lnTo>
                  <a:lnTo>
                    <a:pt x="173" y="0"/>
                  </a:lnTo>
                  <a:lnTo>
                    <a:pt x="181" y="0"/>
                  </a:lnTo>
                  <a:lnTo>
                    <a:pt x="173" y="0"/>
                  </a:lnTo>
                  <a:lnTo>
                    <a:pt x="136" y="15"/>
                  </a:lnTo>
                  <a:lnTo>
                    <a:pt x="136" y="35"/>
                  </a:lnTo>
                  <a:lnTo>
                    <a:pt x="129" y="51"/>
                  </a:lnTo>
                  <a:lnTo>
                    <a:pt x="123" y="51"/>
                  </a:lnTo>
                  <a:lnTo>
                    <a:pt x="123" y="66"/>
                  </a:lnTo>
                  <a:lnTo>
                    <a:pt x="108" y="72"/>
                  </a:lnTo>
                  <a:lnTo>
                    <a:pt x="108" y="91"/>
                  </a:lnTo>
                  <a:lnTo>
                    <a:pt x="79" y="103"/>
                  </a:lnTo>
                  <a:lnTo>
                    <a:pt x="72" y="111"/>
                  </a:lnTo>
                  <a:lnTo>
                    <a:pt x="72" y="126"/>
                  </a:lnTo>
                  <a:lnTo>
                    <a:pt x="14" y="135"/>
                  </a:lnTo>
                  <a:lnTo>
                    <a:pt x="0" y="126"/>
                  </a:lnTo>
                  <a:lnTo>
                    <a:pt x="22" y="172"/>
                  </a:lnTo>
                  <a:lnTo>
                    <a:pt x="9" y="187"/>
                  </a:lnTo>
                  <a:lnTo>
                    <a:pt x="9" y="200"/>
                  </a:lnTo>
                  <a:lnTo>
                    <a:pt x="79" y="200"/>
                  </a:lnTo>
                  <a:lnTo>
                    <a:pt x="86" y="217"/>
                  </a:lnTo>
                  <a:lnTo>
                    <a:pt x="94" y="230"/>
                  </a:lnTo>
                  <a:lnTo>
                    <a:pt x="101" y="217"/>
                  </a:lnTo>
                  <a:lnTo>
                    <a:pt x="129" y="217"/>
                  </a:lnTo>
                  <a:lnTo>
                    <a:pt x="129" y="192"/>
                  </a:lnTo>
                  <a:lnTo>
                    <a:pt x="123" y="192"/>
                  </a:lnTo>
                  <a:lnTo>
                    <a:pt x="123" y="187"/>
                  </a:lnTo>
                  <a:lnTo>
                    <a:pt x="108" y="187"/>
                  </a:lnTo>
                  <a:lnTo>
                    <a:pt x="108" y="165"/>
                  </a:lnTo>
                  <a:lnTo>
                    <a:pt x="123" y="155"/>
                  </a:lnTo>
                  <a:lnTo>
                    <a:pt x="129" y="165"/>
                  </a:lnTo>
                  <a:lnTo>
                    <a:pt x="188" y="103"/>
                  </a:lnTo>
                  <a:lnTo>
                    <a:pt x="181" y="91"/>
                  </a:lnTo>
                  <a:lnTo>
                    <a:pt x="188" y="91"/>
                  </a:lnTo>
                  <a:lnTo>
                    <a:pt x="188" y="81"/>
                  </a:lnTo>
                  <a:lnTo>
                    <a:pt x="173" y="72"/>
                  </a:lnTo>
                  <a:lnTo>
                    <a:pt x="181" y="51"/>
                  </a:lnTo>
                  <a:lnTo>
                    <a:pt x="173" y="44"/>
                  </a:lnTo>
                  <a:lnTo>
                    <a:pt x="181" y="35"/>
                  </a:lnTo>
                  <a:lnTo>
                    <a:pt x="181" y="29"/>
                  </a:lnTo>
                  <a:lnTo>
                    <a:pt x="173" y="20"/>
                  </a:lnTo>
                  <a:lnTo>
                    <a:pt x="165" y="20"/>
                  </a:lnTo>
                  <a:lnTo>
                    <a:pt x="165" y="0"/>
                  </a:lnTo>
                  <a:lnTo>
                    <a:pt x="173" y="0"/>
                  </a:lnTo>
                  <a:lnTo>
                    <a:pt x="216" y="2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4" name="S_KGZ"/>
            <p:cNvSpPr>
              <a:spLocks/>
            </p:cNvSpPr>
            <p:nvPr/>
          </p:nvSpPr>
          <p:spPr bwMode="auto">
            <a:xfrm>
              <a:off x="6655779" y="2838450"/>
              <a:ext cx="309823" cy="152400"/>
            </a:xfrm>
            <a:custGeom>
              <a:avLst/>
              <a:gdLst>
                <a:gd name="T0" fmla="*/ 663088620 w 149"/>
                <a:gd name="T1" fmla="*/ 67204155 h 72"/>
                <a:gd name="T2" fmla="*/ 663088620 w 149"/>
                <a:gd name="T3" fmla="*/ 134408309 h 72"/>
                <a:gd name="T4" fmla="*/ 534031759 w 149"/>
                <a:gd name="T5" fmla="*/ 201612481 h 72"/>
                <a:gd name="T6" fmla="*/ 467276751 w 149"/>
                <a:gd name="T7" fmla="*/ 201612481 h 72"/>
                <a:gd name="T8" fmla="*/ 440576014 w 149"/>
                <a:gd name="T9" fmla="*/ 232975117 h 72"/>
                <a:gd name="T10" fmla="*/ 351571446 w 149"/>
                <a:gd name="T11" fmla="*/ 232975117 h 72"/>
                <a:gd name="T12" fmla="*/ 284816437 w 149"/>
                <a:gd name="T13" fmla="*/ 295698340 h 72"/>
                <a:gd name="T14" fmla="*/ 284816437 w 149"/>
                <a:gd name="T15" fmla="*/ 322579996 h 72"/>
                <a:gd name="T16" fmla="*/ 0 w 149"/>
                <a:gd name="T17" fmla="*/ 322579996 h 72"/>
                <a:gd name="T18" fmla="*/ 0 w 149"/>
                <a:gd name="T19" fmla="*/ 295698340 h 72"/>
                <a:gd name="T20" fmla="*/ 97904847 w 149"/>
                <a:gd name="T21" fmla="*/ 295698340 h 72"/>
                <a:gd name="T22" fmla="*/ 97904847 w 149"/>
                <a:gd name="T23" fmla="*/ 232975117 h 72"/>
                <a:gd name="T24" fmla="*/ 146859396 w 149"/>
                <a:gd name="T25" fmla="*/ 232975117 h 72"/>
                <a:gd name="T26" fmla="*/ 253664456 w 149"/>
                <a:gd name="T27" fmla="*/ 201612481 h 72"/>
                <a:gd name="T28" fmla="*/ 146859396 w 149"/>
                <a:gd name="T29" fmla="*/ 165770979 h 72"/>
                <a:gd name="T30" fmla="*/ 66752915 w 149"/>
                <a:gd name="T31" fmla="*/ 165770979 h 72"/>
                <a:gd name="T32" fmla="*/ 133507940 w 149"/>
                <a:gd name="T33" fmla="*/ 67204155 h 72"/>
                <a:gd name="T34" fmla="*/ 97904847 w 149"/>
                <a:gd name="T35" fmla="*/ 67204155 h 72"/>
                <a:gd name="T36" fmla="*/ 133507940 w 149"/>
                <a:gd name="T37" fmla="*/ 35841518 h 72"/>
                <a:gd name="T38" fmla="*/ 253664456 w 149"/>
                <a:gd name="T39" fmla="*/ 67204155 h 72"/>
                <a:gd name="T40" fmla="*/ 253664456 w 149"/>
                <a:gd name="T41" fmla="*/ 35841518 h 72"/>
                <a:gd name="T42" fmla="*/ 284816437 w 149"/>
                <a:gd name="T43" fmla="*/ 0 h 72"/>
                <a:gd name="T44" fmla="*/ 351571446 w 149"/>
                <a:gd name="T45" fmla="*/ 35841518 h 72"/>
                <a:gd name="T46" fmla="*/ 560732629 w 149"/>
                <a:gd name="T47" fmla="*/ 35841518 h 72"/>
                <a:gd name="T48" fmla="*/ 663088620 w 149"/>
                <a:gd name="T49" fmla="*/ 67204155 h 72"/>
                <a:gd name="T50" fmla="*/ 663088620 w 149"/>
                <a:gd name="T51" fmla="*/ 67204155 h 72"/>
                <a:gd name="T52" fmla="*/ 663088620 w 149"/>
                <a:gd name="T53" fmla="*/ 67204155 h 7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9"/>
                <a:gd name="T82" fmla="*/ 0 h 72"/>
                <a:gd name="T83" fmla="*/ 149 w 149"/>
                <a:gd name="T84" fmla="*/ 72 h 7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9" h="72">
                  <a:moveTo>
                    <a:pt x="149" y="15"/>
                  </a:moveTo>
                  <a:lnTo>
                    <a:pt x="149" y="30"/>
                  </a:lnTo>
                  <a:lnTo>
                    <a:pt x="120" y="45"/>
                  </a:lnTo>
                  <a:lnTo>
                    <a:pt x="105" y="45"/>
                  </a:lnTo>
                  <a:lnTo>
                    <a:pt x="99" y="52"/>
                  </a:lnTo>
                  <a:lnTo>
                    <a:pt x="79" y="52"/>
                  </a:lnTo>
                  <a:lnTo>
                    <a:pt x="64" y="66"/>
                  </a:lnTo>
                  <a:lnTo>
                    <a:pt x="64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22" y="66"/>
                  </a:lnTo>
                  <a:lnTo>
                    <a:pt x="22" y="52"/>
                  </a:lnTo>
                  <a:lnTo>
                    <a:pt x="33" y="52"/>
                  </a:lnTo>
                  <a:lnTo>
                    <a:pt x="57" y="45"/>
                  </a:lnTo>
                  <a:lnTo>
                    <a:pt x="33" y="37"/>
                  </a:lnTo>
                  <a:lnTo>
                    <a:pt x="15" y="37"/>
                  </a:lnTo>
                  <a:lnTo>
                    <a:pt x="30" y="15"/>
                  </a:lnTo>
                  <a:lnTo>
                    <a:pt x="22" y="15"/>
                  </a:lnTo>
                  <a:lnTo>
                    <a:pt x="30" y="8"/>
                  </a:lnTo>
                  <a:lnTo>
                    <a:pt x="57" y="15"/>
                  </a:lnTo>
                  <a:lnTo>
                    <a:pt x="57" y="8"/>
                  </a:lnTo>
                  <a:lnTo>
                    <a:pt x="64" y="0"/>
                  </a:lnTo>
                  <a:lnTo>
                    <a:pt x="79" y="8"/>
                  </a:lnTo>
                  <a:lnTo>
                    <a:pt x="126" y="8"/>
                  </a:lnTo>
                  <a:lnTo>
                    <a:pt x="149" y="1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45" name="S_NOR"/>
            <p:cNvGrpSpPr>
              <a:grpSpLocks/>
            </p:cNvGrpSpPr>
            <p:nvPr/>
          </p:nvGrpSpPr>
          <p:grpSpPr bwMode="auto">
            <a:xfrm>
              <a:off x="4760752" y="438150"/>
              <a:ext cx="876564" cy="1695450"/>
              <a:chOff x="4709561" y="438150"/>
              <a:chExt cx="92" cy="178"/>
            </a:xfrm>
            <a:solidFill>
              <a:schemeClr val="accent2"/>
            </a:solidFill>
          </p:grpSpPr>
          <p:sp>
            <p:nvSpPr>
              <p:cNvPr id="311" name="Freeform 310"/>
              <p:cNvSpPr>
                <a:spLocks/>
              </p:cNvSpPr>
              <p:nvPr/>
            </p:nvSpPr>
            <p:spPr bwMode="auto">
              <a:xfrm>
                <a:off x="4709561" y="438157"/>
                <a:ext cx="22" cy="45"/>
              </a:xfrm>
              <a:custGeom>
                <a:avLst/>
                <a:gdLst>
                  <a:gd name="T0" fmla="*/ 1 w 96"/>
                  <a:gd name="T1" fmla="*/ 0 h 206"/>
                  <a:gd name="T2" fmla="*/ 1 w 96"/>
                  <a:gd name="T3" fmla="*/ 1 h 206"/>
                  <a:gd name="T4" fmla="*/ 1 w 96"/>
                  <a:gd name="T5" fmla="*/ 1 h 206"/>
                  <a:gd name="T6" fmla="*/ 1 w 96"/>
                  <a:gd name="T7" fmla="*/ 1 h 206"/>
                  <a:gd name="T8" fmla="*/ 1 w 96"/>
                  <a:gd name="T9" fmla="*/ 0 h 206"/>
                  <a:gd name="T10" fmla="*/ 1 w 96"/>
                  <a:gd name="T11" fmla="*/ 0 h 206"/>
                  <a:gd name="T12" fmla="*/ 1 w 96"/>
                  <a:gd name="T13" fmla="*/ 0 h 206"/>
                  <a:gd name="T14" fmla="*/ 1 w 96"/>
                  <a:gd name="T15" fmla="*/ 2 h 206"/>
                  <a:gd name="T16" fmla="*/ 1 w 96"/>
                  <a:gd name="T17" fmla="*/ 2 h 206"/>
                  <a:gd name="T18" fmla="*/ 1 w 96"/>
                  <a:gd name="T19" fmla="*/ 2 h 206"/>
                  <a:gd name="T20" fmla="*/ 0 w 96"/>
                  <a:gd name="T21" fmla="*/ 2 h 206"/>
                  <a:gd name="T22" fmla="*/ 1 w 96"/>
                  <a:gd name="T23" fmla="*/ 1 h 206"/>
                  <a:gd name="T24" fmla="*/ 0 w 96"/>
                  <a:gd name="T25" fmla="*/ 2 h 206"/>
                  <a:gd name="T26" fmla="*/ 0 w 96"/>
                  <a:gd name="T27" fmla="*/ 1 h 206"/>
                  <a:gd name="T28" fmla="*/ 0 w 96"/>
                  <a:gd name="T29" fmla="*/ 1 h 206"/>
                  <a:gd name="T30" fmla="*/ 1 w 96"/>
                  <a:gd name="T31" fmla="*/ 1 h 206"/>
                  <a:gd name="T32" fmla="*/ 1 w 96"/>
                  <a:gd name="T33" fmla="*/ 1 h 206"/>
                  <a:gd name="T34" fmla="*/ 1 w 96"/>
                  <a:gd name="T35" fmla="*/ 1 h 206"/>
                  <a:gd name="T36" fmla="*/ 1 w 96"/>
                  <a:gd name="T37" fmla="*/ 1 h 206"/>
                  <a:gd name="T38" fmla="*/ 1 w 96"/>
                  <a:gd name="T39" fmla="*/ 1 h 206"/>
                  <a:gd name="T40" fmla="*/ 0 w 96"/>
                  <a:gd name="T41" fmla="*/ 1 h 206"/>
                  <a:gd name="T42" fmla="*/ 0 w 96"/>
                  <a:gd name="T43" fmla="*/ 1 h 206"/>
                  <a:gd name="T44" fmla="*/ 0 w 96"/>
                  <a:gd name="T45" fmla="*/ 1 h 206"/>
                  <a:gd name="T46" fmla="*/ 0 w 96"/>
                  <a:gd name="T47" fmla="*/ 1 h 206"/>
                  <a:gd name="T48" fmla="*/ 0 w 96"/>
                  <a:gd name="T49" fmla="*/ 1 h 206"/>
                  <a:gd name="T50" fmla="*/ 0 w 96"/>
                  <a:gd name="T51" fmla="*/ 0 h 206"/>
                  <a:gd name="T52" fmla="*/ 0 w 96"/>
                  <a:gd name="T53" fmla="*/ 0 h 206"/>
                  <a:gd name="T54" fmla="*/ 0 w 96"/>
                  <a:gd name="T55" fmla="*/ 1 h 206"/>
                  <a:gd name="T56" fmla="*/ 0 w 96"/>
                  <a:gd name="T57" fmla="*/ 0 h 206"/>
                  <a:gd name="T58" fmla="*/ 0 w 96"/>
                  <a:gd name="T59" fmla="*/ 0 h 206"/>
                  <a:gd name="T60" fmla="*/ 0 w 96"/>
                  <a:gd name="T61" fmla="*/ 0 h 206"/>
                  <a:gd name="T62" fmla="*/ 0 w 96"/>
                  <a:gd name="T63" fmla="*/ 0 h 206"/>
                  <a:gd name="T64" fmla="*/ 0 w 96"/>
                  <a:gd name="T65" fmla="*/ 0 h 206"/>
                  <a:gd name="T66" fmla="*/ 0 w 96"/>
                  <a:gd name="T67" fmla="*/ 0 h 206"/>
                  <a:gd name="T68" fmla="*/ 0 w 96"/>
                  <a:gd name="T69" fmla="*/ 0 h 206"/>
                  <a:gd name="T70" fmla="*/ 0 w 96"/>
                  <a:gd name="T71" fmla="*/ 0 h 206"/>
                  <a:gd name="T72" fmla="*/ 0 w 96"/>
                  <a:gd name="T73" fmla="*/ 1 h 206"/>
                  <a:gd name="T74" fmla="*/ 1 w 96"/>
                  <a:gd name="T75" fmla="*/ 0 h 206"/>
                  <a:gd name="T76" fmla="*/ 1 w 96"/>
                  <a:gd name="T77" fmla="*/ 0 h 206"/>
                  <a:gd name="T78" fmla="*/ 1 w 96"/>
                  <a:gd name="T79" fmla="*/ 0 h 20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6"/>
                  <a:gd name="T121" fmla="*/ 0 h 206"/>
                  <a:gd name="T122" fmla="*/ 96 w 96"/>
                  <a:gd name="T123" fmla="*/ 206 h 20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6" h="206">
                    <a:moveTo>
                      <a:pt x="49" y="21"/>
                    </a:moveTo>
                    <a:lnTo>
                      <a:pt x="57" y="60"/>
                    </a:lnTo>
                    <a:lnTo>
                      <a:pt x="61" y="58"/>
                    </a:lnTo>
                    <a:lnTo>
                      <a:pt x="71" y="74"/>
                    </a:lnTo>
                    <a:lnTo>
                      <a:pt x="69" y="0"/>
                    </a:lnTo>
                    <a:lnTo>
                      <a:pt x="86" y="47"/>
                    </a:lnTo>
                    <a:lnTo>
                      <a:pt x="96" y="31"/>
                    </a:lnTo>
                    <a:lnTo>
                      <a:pt x="69" y="206"/>
                    </a:lnTo>
                    <a:lnTo>
                      <a:pt x="61" y="190"/>
                    </a:lnTo>
                    <a:lnTo>
                      <a:pt x="71" y="184"/>
                    </a:lnTo>
                    <a:lnTo>
                      <a:pt x="41" y="159"/>
                    </a:lnTo>
                    <a:lnTo>
                      <a:pt x="76" y="134"/>
                    </a:lnTo>
                    <a:lnTo>
                      <a:pt x="37" y="144"/>
                    </a:lnTo>
                    <a:lnTo>
                      <a:pt x="36" y="127"/>
                    </a:lnTo>
                    <a:lnTo>
                      <a:pt x="44" y="131"/>
                    </a:lnTo>
                    <a:lnTo>
                      <a:pt x="72" y="85"/>
                    </a:lnTo>
                    <a:lnTo>
                      <a:pt x="61" y="104"/>
                    </a:lnTo>
                    <a:lnTo>
                      <a:pt x="59" y="80"/>
                    </a:lnTo>
                    <a:lnTo>
                      <a:pt x="54" y="94"/>
                    </a:lnTo>
                    <a:lnTo>
                      <a:pt x="51" y="87"/>
                    </a:lnTo>
                    <a:lnTo>
                      <a:pt x="36" y="117"/>
                    </a:lnTo>
                    <a:lnTo>
                      <a:pt x="20" y="102"/>
                    </a:lnTo>
                    <a:lnTo>
                      <a:pt x="31" y="95"/>
                    </a:lnTo>
                    <a:lnTo>
                      <a:pt x="7" y="72"/>
                    </a:lnTo>
                    <a:lnTo>
                      <a:pt x="20" y="77"/>
                    </a:lnTo>
                    <a:lnTo>
                      <a:pt x="15" y="52"/>
                    </a:lnTo>
                    <a:lnTo>
                      <a:pt x="7" y="52"/>
                    </a:lnTo>
                    <a:lnTo>
                      <a:pt x="7" y="63"/>
                    </a:lnTo>
                    <a:lnTo>
                      <a:pt x="0" y="25"/>
                    </a:lnTo>
                    <a:lnTo>
                      <a:pt x="7" y="30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7" y="15"/>
                    </a:lnTo>
                    <a:lnTo>
                      <a:pt x="37" y="15"/>
                    </a:lnTo>
                    <a:lnTo>
                      <a:pt x="31" y="43"/>
                    </a:lnTo>
                    <a:lnTo>
                      <a:pt x="34" y="40"/>
                    </a:lnTo>
                    <a:lnTo>
                      <a:pt x="44" y="55"/>
                    </a:lnTo>
                    <a:lnTo>
                      <a:pt x="46" y="18"/>
                    </a:lnTo>
                    <a:lnTo>
                      <a:pt x="49" y="21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2" name="Freeform 311"/>
              <p:cNvSpPr>
                <a:spLocks/>
              </p:cNvSpPr>
              <p:nvPr/>
            </p:nvSpPr>
            <p:spPr bwMode="auto">
              <a:xfrm>
                <a:off x="4709589" y="438182"/>
                <a:ext cx="11" cy="12"/>
              </a:xfrm>
              <a:custGeom>
                <a:avLst/>
                <a:gdLst>
                  <a:gd name="T0" fmla="*/ 0 w 50"/>
                  <a:gd name="T1" fmla="*/ 0 h 56"/>
                  <a:gd name="T2" fmla="*/ 0 w 50"/>
                  <a:gd name="T3" fmla="*/ 0 h 56"/>
                  <a:gd name="T4" fmla="*/ 0 w 50"/>
                  <a:gd name="T5" fmla="*/ 1 h 56"/>
                  <a:gd name="T6" fmla="*/ 0 w 50"/>
                  <a:gd name="T7" fmla="*/ 0 h 56"/>
                  <a:gd name="T8" fmla="*/ 0 w 50"/>
                  <a:gd name="T9" fmla="*/ 0 h 56"/>
                  <a:gd name="T10" fmla="*/ 0 w 50"/>
                  <a:gd name="T11" fmla="*/ 0 h 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"/>
                  <a:gd name="T19" fmla="*/ 0 h 56"/>
                  <a:gd name="T20" fmla="*/ 50 w 50"/>
                  <a:gd name="T21" fmla="*/ 56 h 5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" h="56">
                    <a:moveTo>
                      <a:pt x="25" y="0"/>
                    </a:moveTo>
                    <a:lnTo>
                      <a:pt x="50" y="27"/>
                    </a:lnTo>
                    <a:lnTo>
                      <a:pt x="20" y="56"/>
                    </a:lnTo>
                    <a:lnTo>
                      <a:pt x="25" y="35"/>
                    </a:lnTo>
                    <a:lnTo>
                      <a:pt x="0" y="47"/>
                    </a:lnTo>
                    <a:lnTo>
                      <a:pt x="25" y="0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3" name="Freeform 312"/>
              <p:cNvSpPr>
                <a:spLocks/>
              </p:cNvSpPr>
              <p:nvPr/>
            </p:nvSpPr>
            <p:spPr bwMode="auto">
              <a:xfrm>
                <a:off x="4709580" y="438150"/>
                <a:ext cx="26" cy="15"/>
              </a:xfrm>
              <a:custGeom>
                <a:avLst/>
                <a:gdLst>
                  <a:gd name="T0" fmla="*/ 1 w 119"/>
                  <a:gd name="T1" fmla="*/ 0 h 67"/>
                  <a:gd name="T2" fmla="*/ 1 w 119"/>
                  <a:gd name="T3" fmla="*/ 0 h 67"/>
                  <a:gd name="T4" fmla="*/ 0 w 119"/>
                  <a:gd name="T5" fmla="*/ 1 h 67"/>
                  <a:gd name="T6" fmla="*/ 0 w 119"/>
                  <a:gd name="T7" fmla="*/ 1 h 67"/>
                  <a:gd name="T8" fmla="*/ 0 w 119"/>
                  <a:gd name="T9" fmla="*/ 1 h 67"/>
                  <a:gd name="T10" fmla="*/ 1 w 119"/>
                  <a:gd name="T11" fmla="*/ 0 h 67"/>
                  <a:gd name="T12" fmla="*/ 0 w 119"/>
                  <a:gd name="T13" fmla="*/ 0 h 67"/>
                  <a:gd name="T14" fmla="*/ 0 w 119"/>
                  <a:gd name="T15" fmla="*/ 0 h 67"/>
                  <a:gd name="T16" fmla="*/ 0 w 119"/>
                  <a:gd name="T17" fmla="*/ 0 h 67"/>
                  <a:gd name="T18" fmla="*/ 0 w 119"/>
                  <a:gd name="T19" fmla="*/ 0 h 67"/>
                  <a:gd name="T20" fmla="*/ 0 w 119"/>
                  <a:gd name="T21" fmla="*/ 0 h 67"/>
                  <a:gd name="T22" fmla="*/ 0 w 119"/>
                  <a:gd name="T23" fmla="*/ 0 h 67"/>
                  <a:gd name="T24" fmla="*/ 0 w 119"/>
                  <a:gd name="T25" fmla="*/ 0 h 67"/>
                  <a:gd name="T26" fmla="*/ 1 w 119"/>
                  <a:gd name="T27" fmla="*/ 0 h 67"/>
                  <a:gd name="T28" fmla="*/ 1 w 119"/>
                  <a:gd name="T29" fmla="*/ 0 h 67"/>
                  <a:gd name="T30" fmla="*/ 1 w 119"/>
                  <a:gd name="T31" fmla="*/ 0 h 67"/>
                  <a:gd name="T32" fmla="*/ 1 w 119"/>
                  <a:gd name="T33" fmla="*/ 0 h 6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19"/>
                  <a:gd name="T52" fmla="*/ 0 h 67"/>
                  <a:gd name="T53" fmla="*/ 119 w 119"/>
                  <a:gd name="T54" fmla="*/ 67 h 6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19" h="67">
                    <a:moveTo>
                      <a:pt x="67" y="2"/>
                    </a:moveTo>
                    <a:lnTo>
                      <a:pt x="119" y="40"/>
                    </a:lnTo>
                    <a:lnTo>
                      <a:pt x="29" y="67"/>
                    </a:lnTo>
                    <a:lnTo>
                      <a:pt x="45" y="67"/>
                    </a:lnTo>
                    <a:lnTo>
                      <a:pt x="39" y="60"/>
                    </a:lnTo>
                    <a:lnTo>
                      <a:pt x="55" y="50"/>
                    </a:lnTo>
                    <a:lnTo>
                      <a:pt x="10" y="44"/>
                    </a:lnTo>
                    <a:lnTo>
                      <a:pt x="17" y="35"/>
                    </a:lnTo>
                    <a:lnTo>
                      <a:pt x="0" y="29"/>
                    </a:lnTo>
                    <a:lnTo>
                      <a:pt x="24" y="37"/>
                    </a:lnTo>
                    <a:lnTo>
                      <a:pt x="20" y="12"/>
                    </a:lnTo>
                    <a:lnTo>
                      <a:pt x="29" y="25"/>
                    </a:lnTo>
                    <a:lnTo>
                      <a:pt x="29" y="0"/>
                    </a:lnTo>
                    <a:lnTo>
                      <a:pt x="60" y="39"/>
                    </a:lnTo>
                    <a:lnTo>
                      <a:pt x="62" y="8"/>
                    </a:lnTo>
                    <a:lnTo>
                      <a:pt x="67" y="13"/>
                    </a:lnTo>
                    <a:lnTo>
                      <a:pt x="67" y="2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4" name="Freeform 313"/>
              <p:cNvSpPr>
                <a:spLocks/>
              </p:cNvSpPr>
              <p:nvPr/>
            </p:nvSpPr>
            <p:spPr bwMode="auto">
              <a:xfrm>
                <a:off x="4709575" y="438227"/>
                <a:ext cx="78" cy="101"/>
              </a:xfrm>
              <a:custGeom>
                <a:avLst/>
                <a:gdLst>
                  <a:gd name="T0" fmla="*/ 1 w 356"/>
                  <a:gd name="T1" fmla="*/ 5 h 459"/>
                  <a:gd name="T2" fmla="*/ 1 w 356"/>
                  <a:gd name="T3" fmla="*/ 5 h 459"/>
                  <a:gd name="T4" fmla="*/ 0 w 356"/>
                  <a:gd name="T5" fmla="*/ 5 h 459"/>
                  <a:gd name="T6" fmla="*/ 0 w 356"/>
                  <a:gd name="T7" fmla="*/ 5 h 459"/>
                  <a:gd name="T8" fmla="*/ 0 w 356"/>
                  <a:gd name="T9" fmla="*/ 4 h 459"/>
                  <a:gd name="T10" fmla="*/ 0 w 356"/>
                  <a:gd name="T11" fmla="*/ 4 h 459"/>
                  <a:gd name="T12" fmla="*/ 1 w 356"/>
                  <a:gd name="T13" fmla="*/ 3 h 459"/>
                  <a:gd name="T14" fmla="*/ 1 w 356"/>
                  <a:gd name="T15" fmla="*/ 2 h 459"/>
                  <a:gd name="T16" fmla="*/ 2 w 356"/>
                  <a:gd name="T17" fmla="*/ 1 h 459"/>
                  <a:gd name="T18" fmla="*/ 1 w 356"/>
                  <a:gd name="T19" fmla="*/ 2 h 459"/>
                  <a:gd name="T20" fmla="*/ 2 w 356"/>
                  <a:gd name="T21" fmla="*/ 1 h 459"/>
                  <a:gd name="T22" fmla="*/ 2 w 356"/>
                  <a:gd name="T23" fmla="*/ 1 h 459"/>
                  <a:gd name="T24" fmla="*/ 2 w 356"/>
                  <a:gd name="T25" fmla="*/ 1 h 459"/>
                  <a:gd name="T26" fmla="*/ 2 w 356"/>
                  <a:gd name="T27" fmla="*/ 0 h 459"/>
                  <a:gd name="T28" fmla="*/ 3 w 356"/>
                  <a:gd name="T29" fmla="*/ 0 h 459"/>
                  <a:gd name="T30" fmla="*/ 3 w 356"/>
                  <a:gd name="T31" fmla="*/ 0 h 459"/>
                  <a:gd name="T32" fmla="*/ 4 w 356"/>
                  <a:gd name="T33" fmla="*/ 0 h 459"/>
                  <a:gd name="T34" fmla="*/ 3 w 356"/>
                  <a:gd name="T35" fmla="*/ 0 h 459"/>
                  <a:gd name="T36" fmla="*/ 4 w 356"/>
                  <a:gd name="T37" fmla="*/ 1 h 459"/>
                  <a:gd name="T38" fmla="*/ 4 w 356"/>
                  <a:gd name="T39" fmla="*/ 1 h 459"/>
                  <a:gd name="T40" fmla="*/ 3 w 356"/>
                  <a:gd name="T41" fmla="*/ 1 h 459"/>
                  <a:gd name="T42" fmla="*/ 3 w 356"/>
                  <a:gd name="T43" fmla="*/ 1 h 459"/>
                  <a:gd name="T44" fmla="*/ 2 w 356"/>
                  <a:gd name="T45" fmla="*/ 1 h 459"/>
                  <a:gd name="T46" fmla="*/ 2 w 356"/>
                  <a:gd name="T47" fmla="*/ 1 h 459"/>
                  <a:gd name="T48" fmla="*/ 2 w 356"/>
                  <a:gd name="T49" fmla="*/ 1 h 459"/>
                  <a:gd name="T50" fmla="*/ 2 w 356"/>
                  <a:gd name="T51" fmla="*/ 1 h 459"/>
                  <a:gd name="T52" fmla="*/ 2 w 356"/>
                  <a:gd name="T53" fmla="*/ 2 h 459"/>
                  <a:gd name="T54" fmla="*/ 1 w 356"/>
                  <a:gd name="T55" fmla="*/ 3 h 459"/>
                  <a:gd name="T56" fmla="*/ 1 w 356"/>
                  <a:gd name="T57" fmla="*/ 3 h 459"/>
                  <a:gd name="T58" fmla="*/ 1 w 356"/>
                  <a:gd name="T59" fmla="*/ 4 h 459"/>
                  <a:gd name="T60" fmla="*/ 1 w 356"/>
                  <a:gd name="T61" fmla="*/ 4 h 459"/>
                  <a:gd name="T62" fmla="*/ 1 w 356"/>
                  <a:gd name="T63" fmla="*/ 5 h 459"/>
                  <a:gd name="T64" fmla="*/ 1 w 356"/>
                  <a:gd name="T65" fmla="*/ 5 h 45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56"/>
                  <a:gd name="T100" fmla="*/ 0 h 459"/>
                  <a:gd name="T101" fmla="*/ 356 w 356"/>
                  <a:gd name="T102" fmla="*/ 459 h 45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56" h="459">
                    <a:moveTo>
                      <a:pt x="84" y="437"/>
                    </a:moveTo>
                    <a:lnTo>
                      <a:pt x="84" y="432"/>
                    </a:lnTo>
                    <a:lnTo>
                      <a:pt x="79" y="424"/>
                    </a:lnTo>
                    <a:lnTo>
                      <a:pt x="79" y="432"/>
                    </a:lnTo>
                    <a:lnTo>
                      <a:pt x="72" y="432"/>
                    </a:lnTo>
                    <a:lnTo>
                      <a:pt x="42" y="459"/>
                    </a:lnTo>
                    <a:lnTo>
                      <a:pt x="29" y="459"/>
                    </a:lnTo>
                    <a:lnTo>
                      <a:pt x="7" y="445"/>
                    </a:lnTo>
                    <a:lnTo>
                      <a:pt x="7" y="392"/>
                    </a:lnTo>
                    <a:lnTo>
                      <a:pt x="0" y="370"/>
                    </a:lnTo>
                    <a:lnTo>
                      <a:pt x="7" y="356"/>
                    </a:lnTo>
                    <a:lnTo>
                      <a:pt x="0" y="346"/>
                    </a:lnTo>
                    <a:lnTo>
                      <a:pt x="42" y="309"/>
                    </a:lnTo>
                    <a:lnTo>
                      <a:pt x="64" y="301"/>
                    </a:lnTo>
                    <a:lnTo>
                      <a:pt x="84" y="249"/>
                    </a:lnTo>
                    <a:lnTo>
                      <a:pt x="106" y="235"/>
                    </a:lnTo>
                    <a:lnTo>
                      <a:pt x="136" y="143"/>
                    </a:lnTo>
                    <a:lnTo>
                      <a:pt x="158" y="123"/>
                    </a:lnTo>
                    <a:lnTo>
                      <a:pt x="128" y="129"/>
                    </a:lnTo>
                    <a:lnTo>
                      <a:pt x="114" y="143"/>
                    </a:lnTo>
                    <a:lnTo>
                      <a:pt x="128" y="106"/>
                    </a:lnTo>
                    <a:lnTo>
                      <a:pt x="158" y="82"/>
                    </a:lnTo>
                    <a:lnTo>
                      <a:pt x="158" y="106"/>
                    </a:lnTo>
                    <a:lnTo>
                      <a:pt x="165" y="97"/>
                    </a:lnTo>
                    <a:lnTo>
                      <a:pt x="165" y="76"/>
                    </a:lnTo>
                    <a:lnTo>
                      <a:pt x="178" y="69"/>
                    </a:lnTo>
                    <a:lnTo>
                      <a:pt x="186" y="47"/>
                    </a:lnTo>
                    <a:lnTo>
                      <a:pt x="205" y="47"/>
                    </a:lnTo>
                    <a:lnTo>
                      <a:pt x="250" y="15"/>
                    </a:lnTo>
                    <a:lnTo>
                      <a:pt x="263" y="22"/>
                    </a:lnTo>
                    <a:lnTo>
                      <a:pt x="287" y="0"/>
                    </a:lnTo>
                    <a:lnTo>
                      <a:pt x="309" y="0"/>
                    </a:lnTo>
                    <a:lnTo>
                      <a:pt x="320" y="15"/>
                    </a:lnTo>
                    <a:lnTo>
                      <a:pt x="356" y="39"/>
                    </a:lnTo>
                    <a:lnTo>
                      <a:pt x="342" y="47"/>
                    </a:lnTo>
                    <a:lnTo>
                      <a:pt x="320" y="47"/>
                    </a:lnTo>
                    <a:lnTo>
                      <a:pt x="342" y="60"/>
                    </a:lnTo>
                    <a:lnTo>
                      <a:pt x="349" y="69"/>
                    </a:lnTo>
                    <a:lnTo>
                      <a:pt x="320" y="97"/>
                    </a:lnTo>
                    <a:lnTo>
                      <a:pt x="335" y="69"/>
                    </a:lnTo>
                    <a:lnTo>
                      <a:pt x="309" y="47"/>
                    </a:lnTo>
                    <a:lnTo>
                      <a:pt x="292" y="60"/>
                    </a:lnTo>
                    <a:lnTo>
                      <a:pt x="287" y="97"/>
                    </a:lnTo>
                    <a:lnTo>
                      <a:pt x="272" y="106"/>
                    </a:lnTo>
                    <a:lnTo>
                      <a:pt x="243" y="106"/>
                    </a:lnTo>
                    <a:lnTo>
                      <a:pt x="222" y="82"/>
                    </a:lnTo>
                    <a:lnTo>
                      <a:pt x="213" y="97"/>
                    </a:lnTo>
                    <a:lnTo>
                      <a:pt x="205" y="97"/>
                    </a:lnTo>
                    <a:lnTo>
                      <a:pt x="205" y="113"/>
                    </a:lnTo>
                    <a:lnTo>
                      <a:pt x="178" y="113"/>
                    </a:lnTo>
                    <a:lnTo>
                      <a:pt x="178" y="129"/>
                    </a:lnTo>
                    <a:lnTo>
                      <a:pt x="171" y="129"/>
                    </a:lnTo>
                    <a:lnTo>
                      <a:pt x="158" y="158"/>
                    </a:lnTo>
                    <a:lnTo>
                      <a:pt x="158" y="181"/>
                    </a:lnTo>
                    <a:lnTo>
                      <a:pt x="136" y="205"/>
                    </a:lnTo>
                    <a:lnTo>
                      <a:pt x="121" y="249"/>
                    </a:lnTo>
                    <a:lnTo>
                      <a:pt x="128" y="272"/>
                    </a:lnTo>
                    <a:lnTo>
                      <a:pt x="106" y="287"/>
                    </a:lnTo>
                    <a:lnTo>
                      <a:pt x="94" y="323"/>
                    </a:lnTo>
                    <a:lnTo>
                      <a:pt x="106" y="363"/>
                    </a:lnTo>
                    <a:lnTo>
                      <a:pt x="106" y="402"/>
                    </a:lnTo>
                    <a:lnTo>
                      <a:pt x="94" y="407"/>
                    </a:lnTo>
                    <a:lnTo>
                      <a:pt x="94" y="437"/>
                    </a:lnTo>
                    <a:lnTo>
                      <a:pt x="84" y="43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46" name="S_FIN"/>
            <p:cNvSpPr>
              <a:spLocks/>
            </p:cNvSpPr>
            <p:nvPr/>
          </p:nvSpPr>
          <p:spPr bwMode="auto">
            <a:xfrm>
              <a:off x="5290176" y="1266825"/>
              <a:ext cx="295948" cy="742950"/>
            </a:xfrm>
            <a:custGeom>
              <a:avLst/>
              <a:gdLst>
                <a:gd name="T0" fmla="*/ 2147483647 w 143"/>
                <a:gd name="T1" fmla="*/ 2147483647 h 355"/>
                <a:gd name="T2" fmla="*/ 2147483647 w 143"/>
                <a:gd name="T3" fmla="*/ 2147483647 h 355"/>
                <a:gd name="T4" fmla="*/ 2147483647 w 143"/>
                <a:gd name="T5" fmla="*/ 2147483647 h 355"/>
                <a:gd name="T6" fmla="*/ 2147483647 w 143"/>
                <a:gd name="T7" fmla="*/ 2147483647 h 355"/>
                <a:gd name="T8" fmla="*/ 2147483647 w 143"/>
                <a:gd name="T9" fmla="*/ 2147483647 h 355"/>
                <a:gd name="T10" fmla="*/ 2147483647 w 143"/>
                <a:gd name="T11" fmla="*/ 2147483647 h 355"/>
                <a:gd name="T12" fmla="*/ 2147483647 w 143"/>
                <a:gd name="T13" fmla="*/ 2147483647 h 355"/>
                <a:gd name="T14" fmla="*/ 2147483647 w 143"/>
                <a:gd name="T15" fmla="*/ 2147483647 h 355"/>
                <a:gd name="T16" fmla="*/ 2147483647 w 143"/>
                <a:gd name="T17" fmla="*/ 2147483647 h 355"/>
                <a:gd name="T18" fmla="*/ 2147483647 w 143"/>
                <a:gd name="T19" fmla="*/ 2147483647 h 355"/>
                <a:gd name="T20" fmla="*/ 2147483647 w 143"/>
                <a:gd name="T21" fmla="*/ 2147483647 h 355"/>
                <a:gd name="T22" fmla="*/ 2147483647 w 143"/>
                <a:gd name="T23" fmla="*/ 2147483647 h 355"/>
                <a:gd name="T24" fmla="*/ 2147483647 w 143"/>
                <a:gd name="T25" fmla="*/ 2147483647 h 355"/>
                <a:gd name="T26" fmla="*/ 2147483647 w 143"/>
                <a:gd name="T27" fmla="*/ 2147483647 h 355"/>
                <a:gd name="T28" fmla="*/ 2147483647 w 143"/>
                <a:gd name="T29" fmla="*/ 2147483647 h 355"/>
                <a:gd name="T30" fmla="*/ 2147483647 w 143"/>
                <a:gd name="T31" fmla="*/ 2147483647 h 355"/>
                <a:gd name="T32" fmla="*/ 2147483647 w 143"/>
                <a:gd name="T33" fmla="*/ 2147483647 h 355"/>
                <a:gd name="T34" fmla="*/ 2147483647 w 143"/>
                <a:gd name="T35" fmla="*/ 2147483647 h 355"/>
                <a:gd name="T36" fmla="*/ 2147483647 w 143"/>
                <a:gd name="T37" fmla="*/ 2147483647 h 355"/>
                <a:gd name="T38" fmla="*/ 2147483647 w 143"/>
                <a:gd name="T39" fmla="*/ 2147483647 h 355"/>
                <a:gd name="T40" fmla="*/ 2147483647 w 143"/>
                <a:gd name="T41" fmla="*/ 2147483647 h 355"/>
                <a:gd name="T42" fmla="*/ 2147483647 w 143"/>
                <a:gd name="T43" fmla="*/ 2147483647 h 355"/>
                <a:gd name="T44" fmla="*/ 2147483647 w 143"/>
                <a:gd name="T45" fmla="*/ 2147483647 h 355"/>
                <a:gd name="T46" fmla="*/ 0 w 143"/>
                <a:gd name="T47" fmla="*/ 2147483647 h 355"/>
                <a:gd name="T48" fmla="*/ 2147483647 w 143"/>
                <a:gd name="T49" fmla="*/ 2147483647 h 355"/>
                <a:gd name="T50" fmla="*/ 2147483647 w 143"/>
                <a:gd name="T51" fmla="*/ 2147483647 h 355"/>
                <a:gd name="T52" fmla="*/ 2147483647 w 143"/>
                <a:gd name="T53" fmla="*/ 2147483647 h 355"/>
                <a:gd name="T54" fmla="*/ 2147483647 w 143"/>
                <a:gd name="T55" fmla="*/ 2147483647 h 355"/>
                <a:gd name="T56" fmla="*/ 2147483647 w 143"/>
                <a:gd name="T57" fmla="*/ 2147483647 h 355"/>
                <a:gd name="T58" fmla="*/ 2147483647 w 143"/>
                <a:gd name="T59" fmla="*/ 0 h 355"/>
                <a:gd name="T60" fmla="*/ 2147483647 w 143"/>
                <a:gd name="T61" fmla="*/ 2147483647 h 355"/>
                <a:gd name="T62" fmla="*/ 2147483647 w 143"/>
                <a:gd name="T63" fmla="*/ 2147483647 h 355"/>
                <a:gd name="T64" fmla="*/ 2147483647 w 143"/>
                <a:gd name="T65" fmla="*/ 2147483647 h 355"/>
                <a:gd name="T66" fmla="*/ 2147483647 w 143"/>
                <a:gd name="T67" fmla="*/ 2147483647 h 35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3"/>
                <a:gd name="T103" fmla="*/ 0 h 355"/>
                <a:gd name="T104" fmla="*/ 143 w 143"/>
                <a:gd name="T105" fmla="*/ 355 h 35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3" h="355">
                  <a:moveTo>
                    <a:pt x="106" y="52"/>
                  </a:moveTo>
                  <a:lnTo>
                    <a:pt x="106" y="76"/>
                  </a:lnTo>
                  <a:lnTo>
                    <a:pt x="127" y="98"/>
                  </a:lnTo>
                  <a:lnTo>
                    <a:pt x="121" y="123"/>
                  </a:lnTo>
                  <a:lnTo>
                    <a:pt x="127" y="173"/>
                  </a:lnTo>
                  <a:lnTo>
                    <a:pt x="121" y="197"/>
                  </a:lnTo>
                  <a:lnTo>
                    <a:pt x="136" y="227"/>
                  </a:lnTo>
                  <a:lnTo>
                    <a:pt x="127" y="244"/>
                  </a:lnTo>
                  <a:lnTo>
                    <a:pt x="143" y="263"/>
                  </a:lnTo>
                  <a:lnTo>
                    <a:pt x="143" y="273"/>
                  </a:lnTo>
                  <a:lnTo>
                    <a:pt x="121" y="318"/>
                  </a:lnTo>
                  <a:lnTo>
                    <a:pt x="94" y="338"/>
                  </a:lnTo>
                  <a:lnTo>
                    <a:pt x="84" y="338"/>
                  </a:lnTo>
                  <a:lnTo>
                    <a:pt x="42" y="355"/>
                  </a:lnTo>
                  <a:lnTo>
                    <a:pt x="9" y="338"/>
                  </a:lnTo>
                  <a:lnTo>
                    <a:pt x="15" y="311"/>
                  </a:lnTo>
                  <a:lnTo>
                    <a:pt x="9" y="279"/>
                  </a:lnTo>
                  <a:lnTo>
                    <a:pt x="50" y="205"/>
                  </a:lnTo>
                  <a:lnTo>
                    <a:pt x="57" y="197"/>
                  </a:lnTo>
                  <a:lnTo>
                    <a:pt x="57" y="180"/>
                  </a:lnTo>
                  <a:lnTo>
                    <a:pt x="50" y="173"/>
                  </a:lnTo>
                  <a:lnTo>
                    <a:pt x="42" y="173"/>
                  </a:lnTo>
                  <a:lnTo>
                    <a:pt x="35" y="84"/>
                  </a:lnTo>
                  <a:lnTo>
                    <a:pt x="0" y="52"/>
                  </a:lnTo>
                  <a:lnTo>
                    <a:pt x="9" y="39"/>
                  </a:lnTo>
                  <a:lnTo>
                    <a:pt x="30" y="61"/>
                  </a:lnTo>
                  <a:lnTo>
                    <a:pt x="57" y="61"/>
                  </a:lnTo>
                  <a:lnTo>
                    <a:pt x="72" y="52"/>
                  </a:lnTo>
                  <a:lnTo>
                    <a:pt x="79" y="14"/>
                  </a:lnTo>
                  <a:lnTo>
                    <a:pt x="94" y="0"/>
                  </a:lnTo>
                  <a:lnTo>
                    <a:pt x="121" y="22"/>
                  </a:lnTo>
                  <a:lnTo>
                    <a:pt x="106" y="52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7" name="S_BLR"/>
            <p:cNvSpPr>
              <a:spLocks/>
            </p:cNvSpPr>
            <p:nvPr/>
          </p:nvSpPr>
          <p:spPr bwMode="auto">
            <a:xfrm>
              <a:off x="5366087" y="2228850"/>
              <a:ext cx="267481" cy="247650"/>
            </a:xfrm>
            <a:custGeom>
              <a:avLst/>
              <a:gdLst>
                <a:gd name="T0" fmla="*/ 2147483647 w 128"/>
                <a:gd name="T1" fmla="*/ 2147483647 h 119"/>
                <a:gd name="T2" fmla="*/ 2147483647 w 128"/>
                <a:gd name="T3" fmla="*/ 2147483647 h 119"/>
                <a:gd name="T4" fmla="*/ 2147483647 w 128"/>
                <a:gd name="T5" fmla="*/ 2147483647 h 119"/>
                <a:gd name="T6" fmla="*/ 2147483647 w 128"/>
                <a:gd name="T7" fmla="*/ 2147483647 h 119"/>
                <a:gd name="T8" fmla="*/ 2147483647 w 128"/>
                <a:gd name="T9" fmla="*/ 2147483647 h 119"/>
                <a:gd name="T10" fmla="*/ 2147483647 w 128"/>
                <a:gd name="T11" fmla="*/ 2147483647 h 119"/>
                <a:gd name="T12" fmla="*/ 2147483647 w 128"/>
                <a:gd name="T13" fmla="*/ 2147483647 h 119"/>
                <a:gd name="T14" fmla="*/ 2147483647 w 128"/>
                <a:gd name="T15" fmla="*/ 2147483647 h 119"/>
                <a:gd name="T16" fmla="*/ 2147483647 w 128"/>
                <a:gd name="T17" fmla="*/ 2147483647 h 119"/>
                <a:gd name="T18" fmla="*/ 2147483647 w 128"/>
                <a:gd name="T19" fmla="*/ 0 h 119"/>
                <a:gd name="T20" fmla="*/ 2147483647 w 128"/>
                <a:gd name="T21" fmla="*/ 2147483647 h 119"/>
                <a:gd name="T22" fmla="*/ 2147483647 w 128"/>
                <a:gd name="T23" fmla="*/ 2147483647 h 119"/>
                <a:gd name="T24" fmla="*/ 2147483647 w 128"/>
                <a:gd name="T25" fmla="*/ 2147483647 h 119"/>
                <a:gd name="T26" fmla="*/ 2147483647 w 128"/>
                <a:gd name="T27" fmla="*/ 2147483647 h 119"/>
                <a:gd name="T28" fmla="*/ 2147483647 w 128"/>
                <a:gd name="T29" fmla="*/ 2147483647 h 119"/>
                <a:gd name="T30" fmla="*/ 2147483647 w 128"/>
                <a:gd name="T31" fmla="*/ 2147483647 h 119"/>
                <a:gd name="T32" fmla="*/ 0 w 128"/>
                <a:gd name="T33" fmla="*/ 2147483647 h 119"/>
                <a:gd name="T34" fmla="*/ 2147483647 w 128"/>
                <a:gd name="T35" fmla="*/ 2147483647 h 119"/>
                <a:gd name="T36" fmla="*/ 0 w 128"/>
                <a:gd name="T37" fmla="*/ 2147483647 h 119"/>
                <a:gd name="T38" fmla="*/ 0 w 128"/>
                <a:gd name="T39" fmla="*/ 2147483647 h 119"/>
                <a:gd name="T40" fmla="*/ 2147483647 w 128"/>
                <a:gd name="T41" fmla="*/ 2147483647 h 119"/>
                <a:gd name="T42" fmla="*/ 2147483647 w 128"/>
                <a:gd name="T43" fmla="*/ 2147483647 h 119"/>
                <a:gd name="T44" fmla="*/ 2147483647 w 128"/>
                <a:gd name="T45" fmla="*/ 2147483647 h 119"/>
                <a:gd name="T46" fmla="*/ 2147483647 w 128"/>
                <a:gd name="T47" fmla="*/ 2147483647 h 119"/>
                <a:gd name="T48" fmla="*/ 2147483647 w 128"/>
                <a:gd name="T49" fmla="*/ 2147483647 h 119"/>
                <a:gd name="T50" fmla="*/ 2147483647 w 128"/>
                <a:gd name="T51" fmla="*/ 2147483647 h 119"/>
                <a:gd name="T52" fmla="*/ 2147483647 w 128"/>
                <a:gd name="T53" fmla="*/ 2147483647 h 11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8"/>
                <a:gd name="T82" fmla="*/ 0 h 119"/>
                <a:gd name="T83" fmla="*/ 128 w 128"/>
                <a:gd name="T84" fmla="*/ 119 h 11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8" h="119">
                  <a:moveTo>
                    <a:pt x="113" y="99"/>
                  </a:moveTo>
                  <a:lnTo>
                    <a:pt x="106" y="84"/>
                  </a:lnTo>
                  <a:lnTo>
                    <a:pt x="106" y="76"/>
                  </a:lnTo>
                  <a:lnTo>
                    <a:pt x="113" y="84"/>
                  </a:lnTo>
                  <a:lnTo>
                    <a:pt x="128" y="62"/>
                  </a:lnTo>
                  <a:lnTo>
                    <a:pt x="113" y="62"/>
                  </a:lnTo>
                  <a:lnTo>
                    <a:pt x="99" y="37"/>
                  </a:lnTo>
                  <a:lnTo>
                    <a:pt x="99" y="15"/>
                  </a:lnTo>
                  <a:lnTo>
                    <a:pt x="91" y="5"/>
                  </a:lnTo>
                  <a:lnTo>
                    <a:pt x="64" y="0"/>
                  </a:lnTo>
                  <a:lnTo>
                    <a:pt x="47" y="15"/>
                  </a:lnTo>
                  <a:lnTo>
                    <a:pt x="47" y="22"/>
                  </a:lnTo>
                  <a:lnTo>
                    <a:pt x="37" y="37"/>
                  </a:lnTo>
                  <a:lnTo>
                    <a:pt x="37" y="52"/>
                  </a:lnTo>
                  <a:lnTo>
                    <a:pt x="20" y="52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7" y="84"/>
                  </a:lnTo>
                  <a:lnTo>
                    <a:pt x="0" y="99"/>
                  </a:lnTo>
                  <a:lnTo>
                    <a:pt x="0" y="119"/>
                  </a:lnTo>
                  <a:lnTo>
                    <a:pt x="14" y="104"/>
                  </a:lnTo>
                  <a:lnTo>
                    <a:pt x="37" y="104"/>
                  </a:lnTo>
                  <a:lnTo>
                    <a:pt x="59" y="119"/>
                  </a:lnTo>
                  <a:lnTo>
                    <a:pt x="99" y="119"/>
                  </a:lnTo>
                  <a:lnTo>
                    <a:pt x="106" y="99"/>
                  </a:lnTo>
                  <a:lnTo>
                    <a:pt x="113" y="9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8" name="S_UKR"/>
            <p:cNvSpPr>
              <a:spLocks/>
            </p:cNvSpPr>
            <p:nvPr/>
          </p:nvSpPr>
          <p:spPr bwMode="auto">
            <a:xfrm>
              <a:off x="5318643" y="2428875"/>
              <a:ext cx="523683" cy="381000"/>
            </a:xfrm>
            <a:custGeom>
              <a:avLst/>
              <a:gdLst>
                <a:gd name="T0" fmla="*/ 2147483647 w 251"/>
                <a:gd name="T1" fmla="*/ 2147483647 h 180"/>
                <a:gd name="T2" fmla="*/ 2147483647 w 251"/>
                <a:gd name="T3" fmla="*/ 2147483647 h 180"/>
                <a:gd name="T4" fmla="*/ 2147483647 w 251"/>
                <a:gd name="T5" fmla="*/ 2147483647 h 180"/>
                <a:gd name="T6" fmla="*/ 2147483647 w 251"/>
                <a:gd name="T7" fmla="*/ 2147483647 h 180"/>
                <a:gd name="T8" fmla="*/ 2147483647 w 251"/>
                <a:gd name="T9" fmla="*/ 2147483647 h 180"/>
                <a:gd name="T10" fmla="*/ 2147483647 w 251"/>
                <a:gd name="T11" fmla="*/ 2147483647 h 180"/>
                <a:gd name="T12" fmla="*/ 2147483647 w 251"/>
                <a:gd name="T13" fmla="*/ 2147483647 h 180"/>
                <a:gd name="T14" fmla="*/ 2147483647 w 251"/>
                <a:gd name="T15" fmla="*/ 2147483647 h 180"/>
                <a:gd name="T16" fmla="*/ 2147483647 w 251"/>
                <a:gd name="T17" fmla="*/ 2147483647 h 180"/>
                <a:gd name="T18" fmla="*/ 2147483647 w 251"/>
                <a:gd name="T19" fmla="*/ 2147483647 h 180"/>
                <a:gd name="T20" fmla="*/ 2147483647 w 251"/>
                <a:gd name="T21" fmla="*/ 2147483647 h 180"/>
                <a:gd name="T22" fmla="*/ 0 w 251"/>
                <a:gd name="T23" fmla="*/ 2147483647 h 180"/>
                <a:gd name="T24" fmla="*/ 2147483647 w 251"/>
                <a:gd name="T25" fmla="*/ 2147483647 h 180"/>
                <a:gd name="T26" fmla="*/ 2147483647 w 251"/>
                <a:gd name="T27" fmla="*/ 2147483647 h 180"/>
                <a:gd name="T28" fmla="*/ 2147483647 w 251"/>
                <a:gd name="T29" fmla="*/ 2147483647 h 180"/>
                <a:gd name="T30" fmla="*/ 2147483647 w 251"/>
                <a:gd name="T31" fmla="*/ 2147483647 h 180"/>
                <a:gd name="T32" fmla="*/ 2147483647 w 251"/>
                <a:gd name="T33" fmla="*/ 2147483647 h 180"/>
                <a:gd name="T34" fmla="*/ 2147483647 w 251"/>
                <a:gd name="T35" fmla="*/ 2147483647 h 180"/>
                <a:gd name="T36" fmla="*/ 2147483647 w 251"/>
                <a:gd name="T37" fmla="*/ 2147483647 h 180"/>
                <a:gd name="T38" fmla="*/ 2147483647 w 251"/>
                <a:gd name="T39" fmla="*/ 0 h 180"/>
                <a:gd name="T40" fmla="*/ 2147483647 w 251"/>
                <a:gd name="T41" fmla="*/ 0 h 180"/>
                <a:gd name="T42" fmla="*/ 2147483647 w 251"/>
                <a:gd name="T43" fmla="*/ 2147483647 h 180"/>
                <a:gd name="T44" fmla="*/ 2147483647 w 251"/>
                <a:gd name="T45" fmla="*/ 2147483647 h 180"/>
                <a:gd name="T46" fmla="*/ 2147483647 w 251"/>
                <a:gd name="T47" fmla="*/ 2147483647 h 180"/>
                <a:gd name="T48" fmla="*/ 2147483647 w 251"/>
                <a:gd name="T49" fmla="*/ 2147483647 h 180"/>
                <a:gd name="T50" fmla="*/ 2147483647 w 251"/>
                <a:gd name="T51" fmla="*/ 2147483647 h 180"/>
                <a:gd name="T52" fmla="*/ 2147483647 w 251"/>
                <a:gd name="T53" fmla="*/ 2147483647 h 180"/>
                <a:gd name="T54" fmla="*/ 2147483647 w 251"/>
                <a:gd name="T55" fmla="*/ 2147483647 h 180"/>
                <a:gd name="T56" fmla="*/ 2147483647 w 251"/>
                <a:gd name="T57" fmla="*/ 2147483647 h 180"/>
                <a:gd name="T58" fmla="*/ 2147483647 w 251"/>
                <a:gd name="T59" fmla="*/ 2147483647 h 180"/>
                <a:gd name="T60" fmla="*/ 2147483647 w 251"/>
                <a:gd name="T61" fmla="*/ 2147483647 h 180"/>
                <a:gd name="T62" fmla="*/ 2147483647 w 251"/>
                <a:gd name="T63" fmla="*/ 2147483647 h 180"/>
                <a:gd name="T64" fmla="*/ 2147483647 w 251"/>
                <a:gd name="T65" fmla="*/ 2147483647 h 180"/>
                <a:gd name="T66" fmla="*/ 2147483647 w 251"/>
                <a:gd name="T67" fmla="*/ 2147483647 h 180"/>
                <a:gd name="T68" fmla="*/ 2147483647 w 251"/>
                <a:gd name="T69" fmla="*/ 2147483647 h 180"/>
                <a:gd name="T70" fmla="*/ 2147483647 w 251"/>
                <a:gd name="T71" fmla="*/ 2147483647 h 180"/>
                <a:gd name="T72" fmla="*/ 2147483647 w 251"/>
                <a:gd name="T73" fmla="*/ 2147483647 h 180"/>
                <a:gd name="T74" fmla="*/ 2147483647 w 251"/>
                <a:gd name="T75" fmla="*/ 2147483647 h 180"/>
                <a:gd name="T76" fmla="*/ 2147483647 w 251"/>
                <a:gd name="T77" fmla="*/ 2147483647 h 180"/>
                <a:gd name="T78" fmla="*/ 2147483647 w 251"/>
                <a:gd name="T79" fmla="*/ 2147483647 h 180"/>
                <a:gd name="T80" fmla="*/ 2147483647 w 251"/>
                <a:gd name="T81" fmla="*/ 2147483647 h 180"/>
                <a:gd name="T82" fmla="*/ 2147483647 w 251"/>
                <a:gd name="T83" fmla="*/ 2147483647 h 180"/>
                <a:gd name="T84" fmla="*/ 2147483647 w 251"/>
                <a:gd name="T85" fmla="*/ 2147483647 h 180"/>
                <a:gd name="T86" fmla="*/ 2147483647 w 251"/>
                <a:gd name="T87" fmla="*/ 2147483647 h 180"/>
                <a:gd name="T88" fmla="*/ 2147483647 w 251"/>
                <a:gd name="T89" fmla="*/ 2147483647 h 180"/>
                <a:gd name="T90" fmla="*/ 2147483647 w 251"/>
                <a:gd name="T91" fmla="*/ 2147483647 h 180"/>
                <a:gd name="T92" fmla="*/ 2147483647 w 251"/>
                <a:gd name="T93" fmla="*/ 2147483647 h 180"/>
                <a:gd name="T94" fmla="*/ 2147483647 w 251"/>
                <a:gd name="T95" fmla="*/ 2147483647 h 180"/>
                <a:gd name="T96" fmla="*/ 2147483647 w 251"/>
                <a:gd name="T97" fmla="*/ 2147483647 h 180"/>
                <a:gd name="T98" fmla="*/ 2147483647 w 251"/>
                <a:gd name="T99" fmla="*/ 2147483647 h 180"/>
                <a:gd name="T100" fmla="*/ 2147483647 w 251"/>
                <a:gd name="T101" fmla="*/ 2147483647 h 1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1"/>
                <a:gd name="T154" fmla="*/ 0 h 180"/>
                <a:gd name="T155" fmla="*/ 251 w 251"/>
                <a:gd name="T156" fmla="*/ 180 h 18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1" h="180">
                  <a:moveTo>
                    <a:pt x="107" y="160"/>
                  </a:moveTo>
                  <a:lnTo>
                    <a:pt x="87" y="160"/>
                  </a:lnTo>
                  <a:lnTo>
                    <a:pt x="87" y="152"/>
                  </a:lnTo>
                  <a:lnTo>
                    <a:pt x="92" y="130"/>
                  </a:lnTo>
                  <a:lnTo>
                    <a:pt x="113" y="130"/>
                  </a:lnTo>
                  <a:lnTo>
                    <a:pt x="113" y="121"/>
                  </a:lnTo>
                  <a:lnTo>
                    <a:pt x="107" y="105"/>
                  </a:lnTo>
                  <a:lnTo>
                    <a:pt x="107" y="91"/>
                  </a:lnTo>
                  <a:lnTo>
                    <a:pt x="80" y="83"/>
                  </a:lnTo>
                  <a:lnTo>
                    <a:pt x="41" y="105"/>
                  </a:lnTo>
                  <a:lnTo>
                    <a:pt x="16" y="105"/>
                  </a:lnTo>
                  <a:lnTo>
                    <a:pt x="0" y="91"/>
                  </a:lnTo>
                  <a:lnTo>
                    <a:pt x="16" y="76"/>
                  </a:lnTo>
                  <a:lnTo>
                    <a:pt x="26" y="46"/>
                  </a:lnTo>
                  <a:lnTo>
                    <a:pt x="21" y="21"/>
                  </a:lnTo>
                  <a:lnTo>
                    <a:pt x="35" y="7"/>
                  </a:lnTo>
                  <a:lnTo>
                    <a:pt x="58" y="7"/>
                  </a:lnTo>
                  <a:lnTo>
                    <a:pt x="80" y="21"/>
                  </a:lnTo>
                  <a:lnTo>
                    <a:pt x="122" y="21"/>
                  </a:lnTo>
                  <a:lnTo>
                    <a:pt x="129" y="0"/>
                  </a:lnTo>
                  <a:lnTo>
                    <a:pt x="162" y="0"/>
                  </a:lnTo>
                  <a:lnTo>
                    <a:pt x="170" y="7"/>
                  </a:lnTo>
                  <a:lnTo>
                    <a:pt x="162" y="7"/>
                  </a:lnTo>
                  <a:lnTo>
                    <a:pt x="170" y="21"/>
                  </a:lnTo>
                  <a:lnTo>
                    <a:pt x="186" y="21"/>
                  </a:lnTo>
                  <a:lnTo>
                    <a:pt x="192" y="37"/>
                  </a:lnTo>
                  <a:lnTo>
                    <a:pt x="201" y="46"/>
                  </a:lnTo>
                  <a:lnTo>
                    <a:pt x="207" y="37"/>
                  </a:lnTo>
                  <a:lnTo>
                    <a:pt x="251" y="68"/>
                  </a:lnTo>
                  <a:lnTo>
                    <a:pt x="242" y="105"/>
                  </a:lnTo>
                  <a:lnTo>
                    <a:pt x="236" y="91"/>
                  </a:lnTo>
                  <a:lnTo>
                    <a:pt x="229" y="105"/>
                  </a:lnTo>
                  <a:lnTo>
                    <a:pt x="229" y="121"/>
                  </a:lnTo>
                  <a:lnTo>
                    <a:pt x="214" y="121"/>
                  </a:lnTo>
                  <a:lnTo>
                    <a:pt x="170" y="152"/>
                  </a:lnTo>
                  <a:lnTo>
                    <a:pt x="192" y="160"/>
                  </a:lnTo>
                  <a:lnTo>
                    <a:pt x="201" y="160"/>
                  </a:lnTo>
                  <a:lnTo>
                    <a:pt x="192" y="160"/>
                  </a:lnTo>
                  <a:lnTo>
                    <a:pt x="162" y="180"/>
                  </a:lnTo>
                  <a:lnTo>
                    <a:pt x="157" y="180"/>
                  </a:lnTo>
                  <a:lnTo>
                    <a:pt x="157" y="167"/>
                  </a:lnTo>
                  <a:lnTo>
                    <a:pt x="150" y="160"/>
                  </a:lnTo>
                  <a:lnTo>
                    <a:pt x="162" y="152"/>
                  </a:lnTo>
                  <a:lnTo>
                    <a:pt x="135" y="137"/>
                  </a:lnTo>
                  <a:lnTo>
                    <a:pt x="135" y="130"/>
                  </a:lnTo>
                  <a:lnTo>
                    <a:pt x="122" y="130"/>
                  </a:lnTo>
                  <a:lnTo>
                    <a:pt x="113" y="152"/>
                  </a:lnTo>
                  <a:lnTo>
                    <a:pt x="107" y="152"/>
                  </a:lnTo>
                  <a:lnTo>
                    <a:pt x="107" y="16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9" name="S_LVA"/>
            <p:cNvSpPr>
              <a:spLocks/>
            </p:cNvSpPr>
            <p:nvPr/>
          </p:nvSpPr>
          <p:spPr bwMode="auto">
            <a:xfrm>
              <a:off x="5299665" y="2124075"/>
              <a:ext cx="201058" cy="142875"/>
            </a:xfrm>
            <a:custGeom>
              <a:avLst/>
              <a:gdLst>
                <a:gd name="T0" fmla="*/ 187101741 w 97"/>
                <a:gd name="T1" fmla="*/ 0 h 68"/>
                <a:gd name="T2" fmla="*/ 187101741 w 97"/>
                <a:gd name="T3" fmla="*/ 119195549 h 68"/>
                <a:gd name="T4" fmla="*/ 123316437 w 97"/>
                <a:gd name="T5" fmla="*/ 119195549 h 68"/>
                <a:gd name="T6" fmla="*/ 102056054 w 97"/>
                <a:gd name="T7" fmla="*/ 52975101 h 68"/>
                <a:gd name="T8" fmla="*/ 29766606 w 97"/>
                <a:gd name="T9" fmla="*/ 83878126 h 68"/>
                <a:gd name="T10" fmla="*/ 0 w 97"/>
                <a:gd name="T11" fmla="*/ 150098590 h 68"/>
                <a:gd name="T12" fmla="*/ 0 w 97"/>
                <a:gd name="T13" fmla="*/ 256048760 h 68"/>
                <a:gd name="T14" fmla="*/ 29766606 w 97"/>
                <a:gd name="T15" fmla="*/ 225145751 h 68"/>
                <a:gd name="T16" fmla="*/ 212616262 w 97"/>
                <a:gd name="T17" fmla="*/ 225145751 h 68"/>
                <a:gd name="T18" fmla="*/ 344436884 w 97"/>
                <a:gd name="T19" fmla="*/ 300195079 h 68"/>
                <a:gd name="T20" fmla="*/ 412474232 w 97"/>
                <a:gd name="T21" fmla="*/ 225145751 h 68"/>
                <a:gd name="T22" fmla="*/ 386959711 w 97"/>
                <a:gd name="T23" fmla="*/ 119195549 h 68"/>
                <a:gd name="T24" fmla="*/ 386959711 w 97"/>
                <a:gd name="T25" fmla="*/ 52975101 h 68"/>
                <a:gd name="T26" fmla="*/ 314670287 w 97"/>
                <a:gd name="T27" fmla="*/ 52975101 h 68"/>
                <a:gd name="T28" fmla="*/ 212616262 w 97"/>
                <a:gd name="T29" fmla="*/ 0 h 68"/>
                <a:gd name="T30" fmla="*/ 187101741 w 97"/>
                <a:gd name="T31" fmla="*/ 0 h 68"/>
                <a:gd name="T32" fmla="*/ 187101741 w 97"/>
                <a:gd name="T33" fmla="*/ 0 h 68"/>
                <a:gd name="T34" fmla="*/ 187101741 w 97"/>
                <a:gd name="T35" fmla="*/ 0 h 6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7"/>
                <a:gd name="T55" fmla="*/ 0 h 68"/>
                <a:gd name="T56" fmla="*/ 97 w 97"/>
                <a:gd name="T57" fmla="*/ 68 h 6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7" h="68">
                  <a:moveTo>
                    <a:pt x="44" y="0"/>
                  </a:moveTo>
                  <a:lnTo>
                    <a:pt x="44" y="27"/>
                  </a:lnTo>
                  <a:lnTo>
                    <a:pt x="29" y="27"/>
                  </a:lnTo>
                  <a:lnTo>
                    <a:pt x="24" y="12"/>
                  </a:lnTo>
                  <a:lnTo>
                    <a:pt x="7" y="19"/>
                  </a:lnTo>
                  <a:lnTo>
                    <a:pt x="0" y="34"/>
                  </a:lnTo>
                  <a:lnTo>
                    <a:pt x="0" y="58"/>
                  </a:lnTo>
                  <a:lnTo>
                    <a:pt x="7" y="51"/>
                  </a:lnTo>
                  <a:lnTo>
                    <a:pt x="50" y="51"/>
                  </a:lnTo>
                  <a:lnTo>
                    <a:pt x="81" y="68"/>
                  </a:lnTo>
                  <a:lnTo>
                    <a:pt x="97" y="51"/>
                  </a:lnTo>
                  <a:lnTo>
                    <a:pt x="91" y="27"/>
                  </a:lnTo>
                  <a:lnTo>
                    <a:pt x="91" y="12"/>
                  </a:lnTo>
                  <a:lnTo>
                    <a:pt x="74" y="12"/>
                  </a:lnTo>
                  <a:lnTo>
                    <a:pt x="5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0" name="S_LTU"/>
            <p:cNvSpPr>
              <a:spLocks/>
            </p:cNvSpPr>
            <p:nvPr/>
          </p:nvSpPr>
          <p:spPr bwMode="auto">
            <a:xfrm>
              <a:off x="5299665" y="2219325"/>
              <a:ext cx="166415" cy="133350"/>
            </a:xfrm>
            <a:custGeom>
              <a:avLst/>
              <a:gdLst>
                <a:gd name="T0" fmla="*/ 0 w 79"/>
                <a:gd name="T1" fmla="*/ 112007656 h 63"/>
                <a:gd name="T2" fmla="*/ 0 w 79"/>
                <a:gd name="T3" fmla="*/ 35841525 h 63"/>
                <a:gd name="T4" fmla="*/ 29408856 w 79"/>
                <a:gd name="T5" fmla="*/ 0 h 63"/>
                <a:gd name="T6" fmla="*/ 205857902 w 79"/>
                <a:gd name="T7" fmla="*/ 0 h 63"/>
                <a:gd name="T8" fmla="*/ 331895008 w 79"/>
                <a:gd name="T9" fmla="*/ 80645014 h 63"/>
                <a:gd name="T10" fmla="*/ 331895008 w 79"/>
                <a:gd name="T11" fmla="*/ 112007656 h 63"/>
                <a:gd name="T12" fmla="*/ 277279161 w 79"/>
                <a:gd name="T13" fmla="*/ 179211839 h 63"/>
                <a:gd name="T14" fmla="*/ 277279161 w 79"/>
                <a:gd name="T15" fmla="*/ 246415990 h 63"/>
                <a:gd name="T16" fmla="*/ 205857902 w 79"/>
                <a:gd name="T17" fmla="*/ 246415990 h 63"/>
                <a:gd name="T18" fmla="*/ 147042255 w 79"/>
                <a:gd name="T19" fmla="*/ 282257564 h 63"/>
                <a:gd name="T20" fmla="*/ 121835225 w 79"/>
                <a:gd name="T21" fmla="*/ 282257564 h 63"/>
                <a:gd name="T22" fmla="*/ 92426376 w 79"/>
                <a:gd name="T23" fmla="*/ 246415990 h 63"/>
                <a:gd name="T24" fmla="*/ 92426376 w 79"/>
                <a:gd name="T25" fmla="*/ 112007656 h 63"/>
                <a:gd name="T26" fmla="*/ 0 w 79"/>
                <a:gd name="T27" fmla="*/ 112007656 h 63"/>
                <a:gd name="T28" fmla="*/ 0 w 79"/>
                <a:gd name="T29" fmla="*/ 112007656 h 63"/>
                <a:gd name="T30" fmla="*/ 0 w 79"/>
                <a:gd name="T31" fmla="*/ 112007656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9"/>
                <a:gd name="T49" fmla="*/ 0 h 63"/>
                <a:gd name="T50" fmla="*/ 79 w 79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9" h="63">
                  <a:moveTo>
                    <a:pt x="0" y="25"/>
                  </a:moveTo>
                  <a:lnTo>
                    <a:pt x="0" y="8"/>
                  </a:lnTo>
                  <a:lnTo>
                    <a:pt x="7" y="0"/>
                  </a:lnTo>
                  <a:lnTo>
                    <a:pt x="49" y="0"/>
                  </a:lnTo>
                  <a:lnTo>
                    <a:pt x="79" y="18"/>
                  </a:lnTo>
                  <a:lnTo>
                    <a:pt x="79" y="25"/>
                  </a:lnTo>
                  <a:lnTo>
                    <a:pt x="66" y="40"/>
                  </a:lnTo>
                  <a:lnTo>
                    <a:pt x="66" y="55"/>
                  </a:lnTo>
                  <a:lnTo>
                    <a:pt x="49" y="55"/>
                  </a:lnTo>
                  <a:lnTo>
                    <a:pt x="35" y="63"/>
                  </a:lnTo>
                  <a:lnTo>
                    <a:pt x="29" y="63"/>
                  </a:lnTo>
                  <a:lnTo>
                    <a:pt x="22" y="55"/>
                  </a:lnTo>
                  <a:lnTo>
                    <a:pt x="22" y="2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1" name="S_EST"/>
            <p:cNvSpPr>
              <a:spLocks/>
            </p:cNvSpPr>
            <p:nvPr/>
          </p:nvSpPr>
          <p:spPr bwMode="auto">
            <a:xfrm>
              <a:off x="5375576" y="2057400"/>
              <a:ext cx="125146" cy="95250"/>
            </a:xfrm>
            <a:custGeom>
              <a:avLst/>
              <a:gdLst>
                <a:gd name="T0" fmla="*/ 16510 w 60"/>
                <a:gd name="T1" fmla="*/ 74984 h 47"/>
                <a:gd name="T2" fmla="*/ 0 w 60"/>
                <a:gd name="T3" fmla="*/ 46612 h 47"/>
                <a:gd name="T4" fmla="*/ 0 w 60"/>
                <a:gd name="T5" fmla="*/ 16213 h 47"/>
                <a:gd name="T6" fmla="*/ 16510 w 60"/>
                <a:gd name="T7" fmla="*/ 0 h 47"/>
                <a:gd name="T8" fmla="*/ 123825 w 60"/>
                <a:gd name="T9" fmla="*/ 0 h 47"/>
                <a:gd name="T10" fmla="*/ 111443 w 60"/>
                <a:gd name="T11" fmla="*/ 16213 h 47"/>
                <a:gd name="T12" fmla="*/ 92869 w 60"/>
                <a:gd name="T13" fmla="*/ 16213 h 47"/>
                <a:gd name="T14" fmla="*/ 111443 w 60"/>
                <a:gd name="T15" fmla="*/ 74984 h 47"/>
                <a:gd name="T16" fmla="*/ 111443 w 60"/>
                <a:gd name="T17" fmla="*/ 95250 h 47"/>
                <a:gd name="T18" fmla="*/ 76359 w 60"/>
                <a:gd name="T19" fmla="*/ 95250 h 47"/>
                <a:gd name="T20" fmla="*/ 30956 w 60"/>
                <a:gd name="T21" fmla="*/ 74984 h 47"/>
                <a:gd name="T22" fmla="*/ 16510 w 60"/>
                <a:gd name="T23" fmla="*/ 74984 h 47"/>
                <a:gd name="T24" fmla="*/ 16510 w 60"/>
                <a:gd name="T25" fmla="*/ 74984 h 47"/>
                <a:gd name="T26" fmla="*/ 16510 w 60"/>
                <a:gd name="T27" fmla="*/ 74984 h 4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0"/>
                <a:gd name="T43" fmla="*/ 0 h 47"/>
                <a:gd name="T44" fmla="*/ 60 w 60"/>
                <a:gd name="T45" fmla="*/ 47 h 4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0" h="47">
                  <a:moveTo>
                    <a:pt x="8" y="37"/>
                  </a:moveTo>
                  <a:lnTo>
                    <a:pt x="0" y="23"/>
                  </a:lnTo>
                  <a:lnTo>
                    <a:pt x="0" y="8"/>
                  </a:lnTo>
                  <a:lnTo>
                    <a:pt x="8" y="0"/>
                  </a:lnTo>
                  <a:lnTo>
                    <a:pt x="60" y="0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54" y="37"/>
                  </a:lnTo>
                  <a:lnTo>
                    <a:pt x="54" y="47"/>
                  </a:lnTo>
                  <a:lnTo>
                    <a:pt x="37" y="47"/>
                  </a:lnTo>
                  <a:lnTo>
                    <a:pt x="15" y="37"/>
                  </a:lnTo>
                  <a:lnTo>
                    <a:pt x="8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de-DE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de-DE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52" name="S_RUS"/>
            <p:cNvGrpSpPr>
              <a:grpSpLocks/>
            </p:cNvGrpSpPr>
            <p:nvPr/>
          </p:nvGrpSpPr>
          <p:grpSpPr bwMode="auto">
            <a:xfrm>
              <a:off x="5251269" y="447675"/>
              <a:ext cx="4796749" cy="2476500"/>
              <a:chOff x="5261709" y="447675"/>
              <a:chExt cx="504" cy="260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304" name="S_RUS"/>
              <p:cNvGrpSpPr>
                <a:grpSpLocks/>
              </p:cNvGrpSpPr>
              <p:nvPr/>
            </p:nvGrpSpPr>
            <p:grpSpPr bwMode="auto">
              <a:xfrm>
                <a:off x="5261730" y="447675"/>
                <a:ext cx="483" cy="260"/>
                <a:chOff x="5261730" y="447675"/>
                <a:chExt cx="483" cy="260"/>
              </a:xfrm>
              <a:grpFill/>
            </p:grpSpPr>
            <p:grpSp>
              <p:nvGrpSpPr>
                <p:cNvPr id="306" name="S_RUS"/>
                <p:cNvGrpSpPr>
                  <a:grpSpLocks/>
                </p:cNvGrpSpPr>
                <p:nvPr/>
              </p:nvGrpSpPr>
              <p:grpSpPr bwMode="auto">
                <a:xfrm>
                  <a:off x="5261730" y="447675"/>
                  <a:ext cx="483" cy="260"/>
                  <a:chOff x="5261730" y="447675"/>
                  <a:chExt cx="483" cy="260"/>
                </a:xfrm>
                <a:grpFill/>
              </p:grpSpPr>
              <p:sp>
                <p:nvSpPr>
                  <p:cNvPr id="308" name="Freeform 307"/>
                  <p:cNvSpPr>
                    <a:spLocks/>
                  </p:cNvSpPr>
                  <p:nvPr/>
                </p:nvSpPr>
                <p:spPr bwMode="auto">
                  <a:xfrm>
                    <a:off x="5261811" y="447731"/>
                    <a:ext cx="12" cy="23"/>
                  </a:xfrm>
                  <a:custGeom>
                    <a:avLst/>
                    <a:gdLst>
                      <a:gd name="T0" fmla="*/ 0 w 57"/>
                      <a:gd name="T1" fmla="*/ 0 h 104"/>
                      <a:gd name="T2" fmla="*/ 1 w 57"/>
                      <a:gd name="T3" fmla="*/ 1 h 104"/>
                      <a:gd name="T4" fmla="*/ 0 w 57"/>
                      <a:gd name="T5" fmla="*/ 1 h 104"/>
                      <a:gd name="T6" fmla="*/ 0 w 57"/>
                      <a:gd name="T7" fmla="*/ 1 h 104"/>
                      <a:gd name="T8" fmla="*/ 0 w 57"/>
                      <a:gd name="T9" fmla="*/ 1 h 104"/>
                      <a:gd name="T10" fmla="*/ 0 w 57"/>
                      <a:gd name="T11" fmla="*/ 1 h 104"/>
                      <a:gd name="T12" fmla="*/ 0 w 57"/>
                      <a:gd name="T13" fmla="*/ 1 h 104"/>
                      <a:gd name="T14" fmla="*/ 0 w 57"/>
                      <a:gd name="T15" fmla="*/ 1 h 104"/>
                      <a:gd name="T16" fmla="*/ 0 w 57"/>
                      <a:gd name="T17" fmla="*/ 0 h 10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57"/>
                      <a:gd name="T28" fmla="*/ 0 h 104"/>
                      <a:gd name="T29" fmla="*/ 57 w 57"/>
                      <a:gd name="T30" fmla="*/ 104 h 104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57" h="104">
                        <a:moveTo>
                          <a:pt x="13" y="0"/>
                        </a:moveTo>
                        <a:lnTo>
                          <a:pt x="57" y="104"/>
                        </a:lnTo>
                        <a:lnTo>
                          <a:pt x="45" y="99"/>
                        </a:lnTo>
                        <a:lnTo>
                          <a:pt x="48" y="103"/>
                        </a:lnTo>
                        <a:lnTo>
                          <a:pt x="13" y="88"/>
                        </a:lnTo>
                        <a:lnTo>
                          <a:pt x="22" y="84"/>
                        </a:lnTo>
                        <a:lnTo>
                          <a:pt x="17" y="71"/>
                        </a:lnTo>
                        <a:lnTo>
                          <a:pt x="0" y="66"/>
                        </a:lnTo>
                        <a:lnTo>
                          <a:pt x="13" y="0"/>
                        </a:lnTo>
                      </a:path>
                    </a:pathLst>
                  </a:custGeom>
                  <a:solidFill>
                    <a:srgbClr val="FFE600"/>
                  </a:solidFill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wrap="square" lIns="36576" tIns="32004" rIns="0" bIns="0" anchor="t" upright="1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309" name="Freeform 308"/>
                  <p:cNvSpPr>
                    <a:spLocks/>
                  </p:cNvSpPr>
                  <p:nvPr/>
                </p:nvSpPr>
                <p:spPr bwMode="auto">
                  <a:xfrm>
                    <a:off x="5261814" y="447695"/>
                    <a:ext cx="41" cy="35"/>
                  </a:xfrm>
                  <a:custGeom>
                    <a:avLst/>
                    <a:gdLst>
                      <a:gd name="T0" fmla="*/ 0 w 190"/>
                      <a:gd name="T1" fmla="*/ 2 h 157"/>
                      <a:gd name="T2" fmla="*/ 1 w 190"/>
                      <a:gd name="T3" fmla="*/ 0 h 157"/>
                      <a:gd name="T4" fmla="*/ 2 w 190"/>
                      <a:gd name="T5" fmla="*/ 0 h 157"/>
                      <a:gd name="T6" fmla="*/ 2 w 190"/>
                      <a:gd name="T7" fmla="*/ 0 h 157"/>
                      <a:gd name="T8" fmla="*/ 1 w 190"/>
                      <a:gd name="T9" fmla="*/ 1 h 157"/>
                      <a:gd name="T10" fmla="*/ 1 w 190"/>
                      <a:gd name="T11" fmla="*/ 1 h 157"/>
                      <a:gd name="T12" fmla="*/ 1 w 190"/>
                      <a:gd name="T13" fmla="*/ 1 h 157"/>
                      <a:gd name="T14" fmla="*/ 0 w 190"/>
                      <a:gd name="T15" fmla="*/ 1 h 157"/>
                      <a:gd name="T16" fmla="*/ 0 w 190"/>
                      <a:gd name="T17" fmla="*/ 2 h 157"/>
                      <a:gd name="T18" fmla="*/ 0 w 190"/>
                      <a:gd name="T19" fmla="*/ 2 h 157"/>
                      <a:gd name="T20" fmla="*/ 0 w 190"/>
                      <a:gd name="T21" fmla="*/ 2 h 157"/>
                      <a:gd name="T22" fmla="*/ 0 w 190"/>
                      <a:gd name="T23" fmla="*/ 2 h 157"/>
                      <a:gd name="T24" fmla="*/ 0 w 190"/>
                      <a:gd name="T25" fmla="*/ 2 h 157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90"/>
                      <a:gd name="T40" fmla="*/ 0 h 157"/>
                      <a:gd name="T41" fmla="*/ 190 w 190"/>
                      <a:gd name="T42" fmla="*/ 157 h 157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90" h="157">
                        <a:moveTo>
                          <a:pt x="0" y="143"/>
                        </a:moveTo>
                        <a:lnTo>
                          <a:pt x="87" y="42"/>
                        </a:lnTo>
                        <a:lnTo>
                          <a:pt x="190" y="0"/>
                        </a:lnTo>
                        <a:lnTo>
                          <a:pt x="168" y="32"/>
                        </a:lnTo>
                        <a:lnTo>
                          <a:pt x="67" y="100"/>
                        </a:lnTo>
                        <a:lnTo>
                          <a:pt x="57" y="103"/>
                        </a:lnTo>
                        <a:lnTo>
                          <a:pt x="59" y="123"/>
                        </a:lnTo>
                        <a:lnTo>
                          <a:pt x="45" y="132"/>
                        </a:lnTo>
                        <a:lnTo>
                          <a:pt x="45" y="153"/>
                        </a:lnTo>
                        <a:lnTo>
                          <a:pt x="40" y="148"/>
                        </a:lnTo>
                        <a:lnTo>
                          <a:pt x="7" y="157"/>
                        </a:lnTo>
                        <a:lnTo>
                          <a:pt x="17" y="147"/>
                        </a:lnTo>
                        <a:lnTo>
                          <a:pt x="0" y="143"/>
                        </a:lnTo>
                      </a:path>
                    </a:pathLst>
                  </a:custGeom>
                  <a:solidFill>
                    <a:srgbClr val="FFE600"/>
                  </a:solidFill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wrap="square" lIns="36576" tIns="32004" rIns="0" bIns="0" anchor="t" upright="1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310" name="Freeform 309"/>
                  <p:cNvSpPr>
                    <a:spLocks/>
                  </p:cNvSpPr>
                  <p:nvPr/>
                </p:nvSpPr>
                <p:spPr bwMode="auto">
                  <a:xfrm>
                    <a:off x="5261730" y="447675"/>
                    <a:ext cx="483" cy="260"/>
                  </a:xfrm>
                  <a:custGeom>
                    <a:avLst/>
                    <a:gdLst>
                      <a:gd name="T0" fmla="*/ 11 w 2195"/>
                      <a:gd name="T1" fmla="*/ 2 h 1190"/>
                      <a:gd name="T2" fmla="*/ 11 w 2195"/>
                      <a:gd name="T3" fmla="*/ 1 h 1190"/>
                      <a:gd name="T4" fmla="*/ 11 w 2195"/>
                      <a:gd name="T5" fmla="*/ 1 h 1190"/>
                      <a:gd name="T6" fmla="*/ 8 w 2195"/>
                      <a:gd name="T7" fmla="*/ 3 h 1190"/>
                      <a:gd name="T8" fmla="*/ 7 w 2195"/>
                      <a:gd name="T9" fmla="*/ 3 h 1190"/>
                      <a:gd name="T10" fmla="*/ 7 w 2195"/>
                      <a:gd name="T11" fmla="*/ 5 h 1190"/>
                      <a:gd name="T12" fmla="*/ 6 w 2195"/>
                      <a:gd name="T13" fmla="*/ 5 h 1190"/>
                      <a:gd name="T14" fmla="*/ 6 w 2195"/>
                      <a:gd name="T15" fmla="*/ 3 h 1190"/>
                      <a:gd name="T16" fmla="*/ 5 w 2195"/>
                      <a:gd name="T17" fmla="*/ 4 h 1190"/>
                      <a:gd name="T18" fmla="*/ 4 w 2195"/>
                      <a:gd name="T19" fmla="*/ 5 h 1190"/>
                      <a:gd name="T20" fmla="*/ 3 w 2195"/>
                      <a:gd name="T21" fmla="*/ 5 h 1190"/>
                      <a:gd name="T22" fmla="*/ 3 w 2195"/>
                      <a:gd name="T23" fmla="*/ 6 h 1190"/>
                      <a:gd name="T24" fmla="*/ 1 w 2195"/>
                      <a:gd name="T25" fmla="*/ 6 h 1190"/>
                      <a:gd name="T26" fmla="*/ 1 w 2195"/>
                      <a:gd name="T27" fmla="*/ 5 h 1190"/>
                      <a:gd name="T28" fmla="*/ 1 w 2195"/>
                      <a:gd name="T29" fmla="*/ 5 h 1190"/>
                      <a:gd name="T30" fmla="*/ 0 w 2195"/>
                      <a:gd name="T31" fmla="*/ 5 h 1190"/>
                      <a:gd name="T32" fmla="*/ 1 w 2195"/>
                      <a:gd name="T33" fmla="*/ 7 h 1190"/>
                      <a:gd name="T34" fmla="*/ 0 w 2195"/>
                      <a:gd name="T35" fmla="*/ 8 h 1190"/>
                      <a:gd name="T36" fmla="*/ 0 w 2195"/>
                      <a:gd name="T37" fmla="*/ 9 h 1190"/>
                      <a:gd name="T38" fmla="*/ 1 w 2195"/>
                      <a:gd name="T39" fmla="*/ 10 h 1190"/>
                      <a:gd name="T40" fmla="*/ 1 w 2195"/>
                      <a:gd name="T41" fmla="*/ 10 h 1190"/>
                      <a:gd name="T42" fmla="*/ 2 w 2195"/>
                      <a:gd name="T43" fmla="*/ 11 h 1190"/>
                      <a:gd name="T44" fmla="*/ 2 w 2195"/>
                      <a:gd name="T45" fmla="*/ 11 h 1190"/>
                      <a:gd name="T46" fmla="*/ 2 w 2195"/>
                      <a:gd name="T47" fmla="*/ 12 h 1190"/>
                      <a:gd name="T48" fmla="*/ 3 w 2195"/>
                      <a:gd name="T49" fmla="*/ 12 h 1190"/>
                      <a:gd name="T50" fmla="*/ 3 w 2195"/>
                      <a:gd name="T51" fmla="*/ 11 h 1190"/>
                      <a:gd name="T52" fmla="*/ 3 w 2195"/>
                      <a:gd name="T53" fmla="*/ 11 h 1190"/>
                      <a:gd name="T54" fmla="*/ 4 w 2195"/>
                      <a:gd name="T55" fmla="*/ 10 h 1190"/>
                      <a:gd name="T56" fmla="*/ 5 w 2195"/>
                      <a:gd name="T57" fmla="*/ 10 h 1190"/>
                      <a:gd name="T58" fmla="*/ 5 w 2195"/>
                      <a:gd name="T59" fmla="*/ 10 h 1190"/>
                      <a:gd name="T60" fmla="*/ 6 w 2195"/>
                      <a:gd name="T61" fmla="*/ 9 h 1190"/>
                      <a:gd name="T62" fmla="*/ 7 w 2195"/>
                      <a:gd name="T63" fmla="*/ 10 h 1190"/>
                      <a:gd name="T64" fmla="*/ 9 w 2195"/>
                      <a:gd name="T65" fmla="*/ 11 h 1190"/>
                      <a:gd name="T66" fmla="*/ 10 w 2195"/>
                      <a:gd name="T67" fmla="*/ 11 h 1190"/>
                      <a:gd name="T68" fmla="*/ 11 w 2195"/>
                      <a:gd name="T69" fmla="*/ 10 h 1190"/>
                      <a:gd name="T70" fmla="*/ 13 w 2195"/>
                      <a:gd name="T71" fmla="*/ 11 h 1190"/>
                      <a:gd name="T72" fmla="*/ 14 w 2195"/>
                      <a:gd name="T73" fmla="*/ 10 h 1190"/>
                      <a:gd name="T74" fmla="*/ 15 w 2195"/>
                      <a:gd name="T75" fmla="*/ 11 h 1190"/>
                      <a:gd name="T76" fmla="*/ 15 w 2195"/>
                      <a:gd name="T77" fmla="*/ 12 h 1190"/>
                      <a:gd name="T78" fmla="*/ 15 w 2195"/>
                      <a:gd name="T79" fmla="*/ 12 h 1190"/>
                      <a:gd name="T80" fmla="*/ 16 w 2195"/>
                      <a:gd name="T81" fmla="*/ 10 h 1190"/>
                      <a:gd name="T82" fmla="*/ 17 w 2195"/>
                      <a:gd name="T83" fmla="*/ 8 h 1190"/>
                      <a:gd name="T84" fmla="*/ 18 w 2195"/>
                      <a:gd name="T85" fmla="*/ 8 h 1190"/>
                      <a:gd name="T86" fmla="*/ 19 w 2195"/>
                      <a:gd name="T87" fmla="*/ 7 h 1190"/>
                      <a:gd name="T88" fmla="*/ 20 w 2195"/>
                      <a:gd name="T89" fmla="*/ 7 h 1190"/>
                      <a:gd name="T90" fmla="*/ 19 w 2195"/>
                      <a:gd name="T91" fmla="*/ 10 h 1190"/>
                      <a:gd name="T92" fmla="*/ 19 w 2195"/>
                      <a:gd name="T93" fmla="*/ 9 h 1190"/>
                      <a:gd name="T94" fmla="*/ 20 w 2195"/>
                      <a:gd name="T95" fmla="*/ 8 h 1190"/>
                      <a:gd name="T96" fmla="*/ 21 w 2195"/>
                      <a:gd name="T97" fmla="*/ 8 h 1190"/>
                      <a:gd name="T98" fmla="*/ 22 w 2195"/>
                      <a:gd name="T99" fmla="*/ 6 h 1190"/>
                      <a:gd name="T100" fmla="*/ 22 w 2195"/>
                      <a:gd name="T101" fmla="*/ 6 h 1190"/>
                      <a:gd name="T102" fmla="*/ 23 w 2195"/>
                      <a:gd name="T103" fmla="*/ 6 h 1190"/>
                      <a:gd name="T104" fmla="*/ 20 w 2195"/>
                      <a:gd name="T105" fmla="*/ 5 h 1190"/>
                      <a:gd name="T106" fmla="*/ 20 w 2195"/>
                      <a:gd name="T107" fmla="*/ 5 h 1190"/>
                      <a:gd name="T108" fmla="*/ 18 w 2195"/>
                      <a:gd name="T109" fmla="*/ 4 h 1190"/>
                      <a:gd name="T110" fmla="*/ 16 w 2195"/>
                      <a:gd name="T111" fmla="*/ 3 h 1190"/>
                      <a:gd name="T112" fmla="*/ 15 w 2195"/>
                      <a:gd name="T113" fmla="*/ 4 h 1190"/>
                      <a:gd name="T114" fmla="*/ 14 w 2195"/>
                      <a:gd name="T115" fmla="*/ 3 h 1190"/>
                      <a:gd name="T116" fmla="*/ 12 w 2195"/>
                      <a:gd name="T117" fmla="*/ 2 h 119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195"/>
                      <a:gd name="T178" fmla="*/ 0 h 1190"/>
                      <a:gd name="T179" fmla="*/ 2195 w 2195"/>
                      <a:gd name="T180" fmla="*/ 1190 h 119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195" h="1190">
                        <a:moveTo>
                          <a:pt x="1117" y="218"/>
                        </a:moveTo>
                        <a:lnTo>
                          <a:pt x="1109" y="225"/>
                        </a:lnTo>
                        <a:lnTo>
                          <a:pt x="1117" y="247"/>
                        </a:lnTo>
                        <a:lnTo>
                          <a:pt x="1079" y="264"/>
                        </a:lnTo>
                        <a:lnTo>
                          <a:pt x="1074" y="264"/>
                        </a:lnTo>
                        <a:lnTo>
                          <a:pt x="1079" y="235"/>
                        </a:lnTo>
                        <a:lnTo>
                          <a:pt x="1166" y="151"/>
                        </a:lnTo>
                        <a:lnTo>
                          <a:pt x="1166" y="97"/>
                        </a:lnTo>
                        <a:lnTo>
                          <a:pt x="1137" y="58"/>
                        </a:lnTo>
                        <a:lnTo>
                          <a:pt x="1096" y="58"/>
                        </a:lnTo>
                        <a:lnTo>
                          <a:pt x="1096" y="82"/>
                        </a:lnTo>
                        <a:lnTo>
                          <a:pt x="1067" y="82"/>
                        </a:lnTo>
                        <a:lnTo>
                          <a:pt x="1079" y="45"/>
                        </a:lnTo>
                        <a:lnTo>
                          <a:pt x="1039" y="28"/>
                        </a:lnTo>
                        <a:lnTo>
                          <a:pt x="1067" y="13"/>
                        </a:lnTo>
                        <a:lnTo>
                          <a:pt x="1039" y="0"/>
                        </a:lnTo>
                        <a:lnTo>
                          <a:pt x="995" y="45"/>
                        </a:lnTo>
                        <a:lnTo>
                          <a:pt x="995" y="82"/>
                        </a:lnTo>
                        <a:lnTo>
                          <a:pt x="896" y="97"/>
                        </a:lnTo>
                        <a:lnTo>
                          <a:pt x="826" y="143"/>
                        </a:lnTo>
                        <a:lnTo>
                          <a:pt x="804" y="178"/>
                        </a:lnTo>
                        <a:lnTo>
                          <a:pt x="811" y="225"/>
                        </a:lnTo>
                        <a:lnTo>
                          <a:pt x="719" y="247"/>
                        </a:lnTo>
                        <a:lnTo>
                          <a:pt x="725" y="301"/>
                        </a:lnTo>
                        <a:lnTo>
                          <a:pt x="747" y="329"/>
                        </a:lnTo>
                        <a:lnTo>
                          <a:pt x="734" y="337"/>
                        </a:lnTo>
                        <a:lnTo>
                          <a:pt x="704" y="301"/>
                        </a:lnTo>
                        <a:lnTo>
                          <a:pt x="682" y="294"/>
                        </a:lnTo>
                        <a:lnTo>
                          <a:pt x="675" y="301"/>
                        </a:lnTo>
                        <a:lnTo>
                          <a:pt x="642" y="264"/>
                        </a:lnTo>
                        <a:lnTo>
                          <a:pt x="647" y="301"/>
                        </a:lnTo>
                        <a:lnTo>
                          <a:pt x="625" y="344"/>
                        </a:lnTo>
                        <a:lnTo>
                          <a:pt x="642" y="383"/>
                        </a:lnTo>
                        <a:lnTo>
                          <a:pt x="632" y="420"/>
                        </a:lnTo>
                        <a:lnTo>
                          <a:pt x="632" y="450"/>
                        </a:lnTo>
                        <a:lnTo>
                          <a:pt x="642" y="457"/>
                        </a:lnTo>
                        <a:lnTo>
                          <a:pt x="647" y="504"/>
                        </a:lnTo>
                        <a:lnTo>
                          <a:pt x="598" y="549"/>
                        </a:lnTo>
                        <a:lnTo>
                          <a:pt x="590" y="541"/>
                        </a:lnTo>
                        <a:lnTo>
                          <a:pt x="625" y="495"/>
                        </a:lnTo>
                        <a:lnTo>
                          <a:pt x="632" y="465"/>
                        </a:lnTo>
                        <a:lnTo>
                          <a:pt x="610" y="450"/>
                        </a:lnTo>
                        <a:lnTo>
                          <a:pt x="610" y="353"/>
                        </a:lnTo>
                        <a:lnTo>
                          <a:pt x="603" y="337"/>
                        </a:lnTo>
                        <a:lnTo>
                          <a:pt x="610" y="279"/>
                        </a:lnTo>
                        <a:lnTo>
                          <a:pt x="598" y="272"/>
                        </a:lnTo>
                        <a:lnTo>
                          <a:pt x="603" y="264"/>
                        </a:lnTo>
                        <a:lnTo>
                          <a:pt x="598" y="247"/>
                        </a:lnTo>
                        <a:lnTo>
                          <a:pt x="583" y="255"/>
                        </a:lnTo>
                        <a:lnTo>
                          <a:pt x="539" y="374"/>
                        </a:lnTo>
                        <a:lnTo>
                          <a:pt x="539" y="420"/>
                        </a:lnTo>
                        <a:lnTo>
                          <a:pt x="561" y="457"/>
                        </a:lnTo>
                        <a:lnTo>
                          <a:pt x="561" y="474"/>
                        </a:lnTo>
                        <a:lnTo>
                          <a:pt x="434" y="383"/>
                        </a:lnTo>
                        <a:lnTo>
                          <a:pt x="429" y="400"/>
                        </a:lnTo>
                        <a:lnTo>
                          <a:pt x="462" y="450"/>
                        </a:lnTo>
                        <a:lnTo>
                          <a:pt x="441" y="457"/>
                        </a:lnTo>
                        <a:lnTo>
                          <a:pt x="434" y="450"/>
                        </a:lnTo>
                        <a:lnTo>
                          <a:pt x="384" y="465"/>
                        </a:lnTo>
                        <a:lnTo>
                          <a:pt x="377" y="482"/>
                        </a:lnTo>
                        <a:lnTo>
                          <a:pt x="370" y="465"/>
                        </a:lnTo>
                        <a:lnTo>
                          <a:pt x="370" y="450"/>
                        </a:lnTo>
                        <a:lnTo>
                          <a:pt x="285" y="504"/>
                        </a:lnTo>
                        <a:lnTo>
                          <a:pt x="285" y="519"/>
                        </a:lnTo>
                        <a:lnTo>
                          <a:pt x="263" y="532"/>
                        </a:lnTo>
                        <a:lnTo>
                          <a:pt x="241" y="511"/>
                        </a:lnTo>
                        <a:lnTo>
                          <a:pt x="263" y="495"/>
                        </a:lnTo>
                        <a:lnTo>
                          <a:pt x="255" y="465"/>
                        </a:lnTo>
                        <a:lnTo>
                          <a:pt x="223" y="457"/>
                        </a:lnTo>
                        <a:lnTo>
                          <a:pt x="228" y="474"/>
                        </a:lnTo>
                        <a:lnTo>
                          <a:pt x="228" y="519"/>
                        </a:lnTo>
                        <a:lnTo>
                          <a:pt x="241" y="541"/>
                        </a:lnTo>
                        <a:lnTo>
                          <a:pt x="228" y="556"/>
                        </a:lnTo>
                        <a:lnTo>
                          <a:pt x="206" y="549"/>
                        </a:lnTo>
                        <a:lnTo>
                          <a:pt x="171" y="578"/>
                        </a:lnTo>
                        <a:lnTo>
                          <a:pt x="186" y="618"/>
                        </a:lnTo>
                        <a:lnTo>
                          <a:pt x="136" y="595"/>
                        </a:lnTo>
                        <a:lnTo>
                          <a:pt x="129" y="601"/>
                        </a:lnTo>
                        <a:lnTo>
                          <a:pt x="142" y="633"/>
                        </a:lnTo>
                        <a:lnTo>
                          <a:pt x="129" y="633"/>
                        </a:lnTo>
                        <a:lnTo>
                          <a:pt x="100" y="618"/>
                        </a:lnTo>
                        <a:lnTo>
                          <a:pt x="100" y="556"/>
                        </a:lnTo>
                        <a:lnTo>
                          <a:pt x="79" y="541"/>
                        </a:lnTo>
                        <a:lnTo>
                          <a:pt x="65" y="519"/>
                        </a:lnTo>
                        <a:lnTo>
                          <a:pt x="85" y="532"/>
                        </a:lnTo>
                        <a:lnTo>
                          <a:pt x="157" y="556"/>
                        </a:lnTo>
                        <a:lnTo>
                          <a:pt x="199" y="532"/>
                        </a:lnTo>
                        <a:lnTo>
                          <a:pt x="186" y="504"/>
                        </a:lnTo>
                        <a:lnTo>
                          <a:pt x="136" y="450"/>
                        </a:lnTo>
                        <a:lnTo>
                          <a:pt x="85" y="428"/>
                        </a:lnTo>
                        <a:lnTo>
                          <a:pt x="85" y="420"/>
                        </a:lnTo>
                        <a:lnTo>
                          <a:pt x="65" y="411"/>
                        </a:lnTo>
                        <a:lnTo>
                          <a:pt x="50" y="420"/>
                        </a:lnTo>
                        <a:lnTo>
                          <a:pt x="20" y="450"/>
                        </a:lnTo>
                        <a:lnTo>
                          <a:pt x="20" y="474"/>
                        </a:lnTo>
                        <a:lnTo>
                          <a:pt x="43" y="495"/>
                        </a:lnTo>
                        <a:lnTo>
                          <a:pt x="35" y="519"/>
                        </a:lnTo>
                        <a:lnTo>
                          <a:pt x="43" y="569"/>
                        </a:lnTo>
                        <a:lnTo>
                          <a:pt x="35" y="595"/>
                        </a:lnTo>
                        <a:lnTo>
                          <a:pt x="50" y="625"/>
                        </a:lnTo>
                        <a:lnTo>
                          <a:pt x="43" y="640"/>
                        </a:lnTo>
                        <a:lnTo>
                          <a:pt x="57" y="662"/>
                        </a:lnTo>
                        <a:lnTo>
                          <a:pt x="57" y="669"/>
                        </a:lnTo>
                        <a:lnTo>
                          <a:pt x="35" y="716"/>
                        </a:lnTo>
                        <a:lnTo>
                          <a:pt x="10" y="736"/>
                        </a:lnTo>
                        <a:lnTo>
                          <a:pt x="13" y="736"/>
                        </a:lnTo>
                        <a:lnTo>
                          <a:pt x="35" y="754"/>
                        </a:lnTo>
                        <a:lnTo>
                          <a:pt x="13" y="776"/>
                        </a:lnTo>
                        <a:lnTo>
                          <a:pt x="10" y="785"/>
                        </a:lnTo>
                        <a:lnTo>
                          <a:pt x="0" y="785"/>
                        </a:lnTo>
                        <a:lnTo>
                          <a:pt x="10" y="812"/>
                        </a:lnTo>
                        <a:lnTo>
                          <a:pt x="13" y="859"/>
                        </a:lnTo>
                        <a:lnTo>
                          <a:pt x="43" y="865"/>
                        </a:lnTo>
                        <a:lnTo>
                          <a:pt x="50" y="875"/>
                        </a:lnTo>
                        <a:lnTo>
                          <a:pt x="50" y="897"/>
                        </a:lnTo>
                        <a:lnTo>
                          <a:pt x="65" y="919"/>
                        </a:lnTo>
                        <a:lnTo>
                          <a:pt x="79" y="919"/>
                        </a:lnTo>
                        <a:lnTo>
                          <a:pt x="65" y="943"/>
                        </a:lnTo>
                        <a:lnTo>
                          <a:pt x="57" y="934"/>
                        </a:lnTo>
                        <a:lnTo>
                          <a:pt x="57" y="943"/>
                        </a:lnTo>
                        <a:lnTo>
                          <a:pt x="65" y="956"/>
                        </a:lnTo>
                        <a:lnTo>
                          <a:pt x="92" y="956"/>
                        </a:lnTo>
                        <a:lnTo>
                          <a:pt x="100" y="963"/>
                        </a:lnTo>
                        <a:lnTo>
                          <a:pt x="92" y="963"/>
                        </a:lnTo>
                        <a:lnTo>
                          <a:pt x="100" y="976"/>
                        </a:lnTo>
                        <a:lnTo>
                          <a:pt x="116" y="976"/>
                        </a:lnTo>
                        <a:lnTo>
                          <a:pt x="121" y="993"/>
                        </a:lnTo>
                        <a:lnTo>
                          <a:pt x="129" y="1001"/>
                        </a:lnTo>
                        <a:lnTo>
                          <a:pt x="136" y="993"/>
                        </a:lnTo>
                        <a:lnTo>
                          <a:pt x="177" y="1023"/>
                        </a:lnTo>
                        <a:lnTo>
                          <a:pt x="171" y="1060"/>
                        </a:lnTo>
                        <a:lnTo>
                          <a:pt x="164" y="1047"/>
                        </a:lnTo>
                        <a:lnTo>
                          <a:pt x="157" y="1060"/>
                        </a:lnTo>
                        <a:lnTo>
                          <a:pt x="157" y="1077"/>
                        </a:lnTo>
                        <a:lnTo>
                          <a:pt x="164" y="1067"/>
                        </a:lnTo>
                        <a:lnTo>
                          <a:pt x="171" y="1077"/>
                        </a:lnTo>
                        <a:lnTo>
                          <a:pt x="142" y="1085"/>
                        </a:lnTo>
                        <a:lnTo>
                          <a:pt x="157" y="1091"/>
                        </a:lnTo>
                        <a:lnTo>
                          <a:pt x="136" y="1114"/>
                        </a:lnTo>
                        <a:lnTo>
                          <a:pt x="129" y="1114"/>
                        </a:lnTo>
                        <a:lnTo>
                          <a:pt x="136" y="1114"/>
                        </a:lnTo>
                        <a:lnTo>
                          <a:pt x="171" y="1151"/>
                        </a:lnTo>
                        <a:lnTo>
                          <a:pt x="213" y="1151"/>
                        </a:lnTo>
                        <a:lnTo>
                          <a:pt x="228" y="1159"/>
                        </a:lnTo>
                        <a:lnTo>
                          <a:pt x="248" y="1159"/>
                        </a:lnTo>
                        <a:lnTo>
                          <a:pt x="270" y="1190"/>
                        </a:lnTo>
                        <a:lnTo>
                          <a:pt x="285" y="1190"/>
                        </a:lnTo>
                        <a:lnTo>
                          <a:pt x="291" y="1181"/>
                        </a:lnTo>
                        <a:lnTo>
                          <a:pt x="270" y="1159"/>
                        </a:lnTo>
                        <a:lnTo>
                          <a:pt x="270" y="1143"/>
                        </a:lnTo>
                        <a:lnTo>
                          <a:pt x="263" y="1122"/>
                        </a:lnTo>
                        <a:lnTo>
                          <a:pt x="285" y="1091"/>
                        </a:lnTo>
                        <a:lnTo>
                          <a:pt x="291" y="1107"/>
                        </a:lnTo>
                        <a:lnTo>
                          <a:pt x="298" y="1091"/>
                        </a:lnTo>
                        <a:lnTo>
                          <a:pt x="298" y="1085"/>
                        </a:lnTo>
                        <a:lnTo>
                          <a:pt x="291" y="1085"/>
                        </a:lnTo>
                        <a:lnTo>
                          <a:pt x="298" y="1077"/>
                        </a:lnTo>
                        <a:lnTo>
                          <a:pt x="291" y="1060"/>
                        </a:lnTo>
                        <a:lnTo>
                          <a:pt x="270" y="1060"/>
                        </a:lnTo>
                        <a:lnTo>
                          <a:pt x="263" y="1038"/>
                        </a:lnTo>
                        <a:lnTo>
                          <a:pt x="270" y="993"/>
                        </a:lnTo>
                        <a:lnTo>
                          <a:pt x="291" y="1017"/>
                        </a:lnTo>
                        <a:lnTo>
                          <a:pt x="298" y="1017"/>
                        </a:lnTo>
                        <a:lnTo>
                          <a:pt x="291" y="993"/>
                        </a:lnTo>
                        <a:lnTo>
                          <a:pt x="312" y="963"/>
                        </a:lnTo>
                        <a:lnTo>
                          <a:pt x="333" y="976"/>
                        </a:lnTo>
                        <a:lnTo>
                          <a:pt x="342" y="963"/>
                        </a:lnTo>
                        <a:lnTo>
                          <a:pt x="355" y="976"/>
                        </a:lnTo>
                        <a:lnTo>
                          <a:pt x="384" y="993"/>
                        </a:lnTo>
                        <a:lnTo>
                          <a:pt x="399" y="985"/>
                        </a:lnTo>
                        <a:lnTo>
                          <a:pt x="419" y="985"/>
                        </a:lnTo>
                        <a:lnTo>
                          <a:pt x="429" y="993"/>
                        </a:lnTo>
                        <a:lnTo>
                          <a:pt x="462" y="993"/>
                        </a:lnTo>
                        <a:lnTo>
                          <a:pt x="471" y="976"/>
                        </a:lnTo>
                        <a:lnTo>
                          <a:pt x="441" y="963"/>
                        </a:lnTo>
                        <a:lnTo>
                          <a:pt x="462" y="956"/>
                        </a:lnTo>
                        <a:lnTo>
                          <a:pt x="456" y="949"/>
                        </a:lnTo>
                        <a:lnTo>
                          <a:pt x="462" y="943"/>
                        </a:lnTo>
                        <a:lnTo>
                          <a:pt x="462" y="909"/>
                        </a:lnTo>
                        <a:lnTo>
                          <a:pt x="476" y="919"/>
                        </a:lnTo>
                        <a:lnTo>
                          <a:pt x="556" y="897"/>
                        </a:lnTo>
                        <a:lnTo>
                          <a:pt x="556" y="880"/>
                        </a:lnTo>
                        <a:lnTo>
                          <a:pt x="590" y="880"/>
                        </a:lnTo>
                        <a:lnTo>
                          <a:pt x="598" y="904"/>
                        </a:lnTo>
                        <a:lnTo>
                          <a:pt x="598" y="909"/>
                        </a:lnTo>
                        <a:lnTo>
                          <a:pt x="603" y="909"/>
                        </a:lnTo>
                        <a:lnTo>
                          <a:pt x="625" y="919"/>
                        </a:lnTo>
                        <a:lnTo>
                          <a:pt x="625" y="934"/>
                        </a:lnTo>
                        <a:lnTo>
                          <a:pt x="642" y="934"/>
                        </a:lnTo>
                        <a:lnTo>
                          <a:pt x="653" y="909"/>
                        </a:lnTo>
                        <a:lnTo>
                          <a:pt x="675" y="904"/>
                        </a:lnTo>
                        <a:lnTo>
                          <a:pt x="682" y="934"/>
                        </a:lnTo>
                        <a:lnTo>
                          <a:pt x="719" y="993"/>
                        </a:lnTo>
                        <a:lnTo>
                          <a:pt x="725" y="976"/>
                        </a:lnTo>
                        <a:lnTo>
                          <a:pt x="734" y="993"/>
                        </a:lnTo>
                        <a:lnTo>
                          <a:pt x="761" y="985"/>
                        </a:lnTo>
                        <a:lnTo>
                          <a:pt x="782" y="1017"/>
                        </a:lnTo>
                        <a:lnTo>
                          <a:pt x="804" y="1023"/>
                        </a:lnTo>
                        <a:lnTo>
                          <a:pt x="804" y="1017"/>
                        </a:lnTo>
                        <a:lnTo>
                          <a:pt x="817" y="1032"/>
                        </a:lnTo>
                        <a:lnTo>
                          <a:pt x="866" y="993"/>
                        </a:lnTo>
                        <a:lnTo>
                          <a:pt x="903" y="1001"/>
                        </a:lnTo>
                        <a:lnTo>
                          <a:pt x="918" y="1017"/>
                        </a:lnTo>
                        <a:lnTo>
                          <a:pt x="953" y="1017"/>
                        </a:lnTo>
                        <a:lnTo>
                          <a:pt x="953" y="976"/>
                        </a:lnTo>
                        <a:lnTo>
                          <a:pt x="973" y="963"/>
                        </a:lnTo>
                        <a:lnTo>
                          <a:pt x="1010" y="976"/>
                        </a:lnTo>
                        <a:lnTo>
                          <a:pt x="1024" y="1001"/>
                        </a:lnTo>
                        <a:lnTo>
                          <a:pt x="1030" y="1001"/>
                        </a:lnTo>
                        <a:lnTo>
                          <a:pt x="1052" y="993"/>
                        </a:lnTo>
                        <a:lnTo>
                          <a:pt x="1121" y="1032"/>
                        </a:lnTo>
                        <a:lnTo>
                          <a:pt x="1159" y="1023"/>
                        </a:lnTo>
                        <a:lnTo>
                          <a:pt x="1179" y="1001"/>
                        </a:lnTo>
                        <a:lnTo>
                          <a:pt x="1201" y="1017"/>
                        </a:lnTo>
                        <a:lnTo>
                          <a:pt x="1223" y="1023"/>
                        </a:lnTo>
                        <a:lnTo>
                          <a:pt x="1243" y="1017"/>
                        </a:lnTo>
                        <a:lnTo>
                          <a:pt x="1250" y="976"/>
                        </a:lnTo>
                        <a:lnTo>
                          <a:pt x="1265" y="963"/>
                        </a:lnTo>
                        <a:lnTo>
                          <a:pt x="1265" y="956"/>
                        </a:lnTo>
                        <a:lnTo>
                          <a:pt x="1250" y="956"/>
                        </a:lnTo>
                        <a:lnTo>
                          <a:pt x="1265" y="943"/>
                        </a:lnTo>
                        <a:lnTo>
                          <a:pt x="1293" y="934"/>
                        </a:lnTo>
                        <a:lnTo>
                          <a:pt x="1322" y="943"/>
                        </a:lnTo>
                        <a:lnTo>
                          <a:pt x="1337" y="956"/>
                        </a:lnTo>
                        <a:lnTo>
                          <a:pt x="1355" y="1023"/>
                        </a:lnTo>
                        <a:lnTo>
                          <a:pt x="1372" y="1023"/>
                        </a:lnTo>
                        <a:lnTo>
                          <a:pt x="1401" y="1038"/>
                        </a:lnTo>
                        <a:lnTo>
                          <a:pt x="1401" y="1060"/>
                        </a:lnTo>
                        <a:lnTo>
                          <a:pt x="1414" y="1060"/>
                        </a:lnTo>
                        <a:lnTo>
                          <a:pt x="1449" y="1047"/>
                        </a:lnTo>
                        <a:lnTo>
                          <a:pt x="1449" y="1067"/>
                        </a:lnTo>
                        <a:lnTo>
                          <a:pt x="1421" y="1122"/>
                        </a:lnTo>
                        <a:lnTo>
                          <a:pt x="1414" y="1114"/>
                        </a:lnTo>
                        <a:lnTo>
                          <a:pt x="1401" y="1122"/>
                        </a:lnTo>
                        <a:lnTo>
                          <a:pt x="1401" y="1168"/>
                        </a:lnTo>
                        <a:lnTo>
                          <a:pt x="1406" y="1151"/>
                        </a:lnTo>
                        <a:lnTo>
                          <a:pt x="1414" y="1151"/>
                        </a:lnTo>
                        <a:lnTo>
                          <a:pt x="1414" y="1159"/>
                        </a:lnTo>
                        <a:lnTo>
                          <a:pt x="1421" y="1168"/>
                        </a:lnTo>
                        <a:lnTo>
                          <a:pt x="1449" y="1151"/>
                        </a:lnTo>
                        <a:lnTo>
                          <a:pt x="1530" y="1047"/>
                        </a:lnTo>
                        <a:lnTo>
                          <a:pt x="1535" y="943"/>
                        </a:lnTo>
                        <a:lnTo>
                          <a:pt x="1513" y="909"/>
                        </a:lnTo>
                        <a:lnTo>
                          <a:pt x="1508" y="909"/>
                        </a:lnTo>
                        <a:lnTo>
                          <a:pt x="1498" y="934"/>
                        </a:lnTo>
                        <a:lnTo>
                          <a:pt x="1484" y="934"/>
                        </a:lnTo>
                        <a:lnTo>
                          <a:pt x="1493" y="909"/>
                        </a:lnTo>
                        <a:lnTo>
                          <a:pt x="1484" y="909"/>
                        </a:lnTo>
                        <a:lnTo>
                          <a:pt x="1471" y="904"/>
                        </a:lnTo>
                        <a:lnTo>
                          <a:pt x="1457" y="904"/>
                        </a:lnTo>
                        <a:lnTo>
                          <a:pt x="1457" y="897"/>
                        </a:lnTo>
                        <a:lnTo>
                          <a:pt x="1556" y="785"/>
                        </a:lnTo>
                        <a:lnTo>
                          <a:pt x="1592" y="776"/>
                        </a:lnTo>
                        <a:lnTo>
                          <a:pt x="1600" y="785"/>
                        </a:lnTo>
                        <a:lnTo>
                          <a:pt x="1615" y="776"/>
                        </a:lnTo>
                        <a:lnTo>
                          <a:pt x="1633" y="785"/>
                        </a:lnTo>
                        <a:lnTo>
                          <a:pt x="1642" y="759"/>
                        </a:lnTo>
                        <a:lnTo>
                          <a:pt x="1672" y="776"/>
                        </a:lnTo>
                        <a:lnTo>
                          <a:pt x="1679" y="776"/>
                        </a:lnTo>
                        <a:lnTo>
                          <a:pt x="1672" y="785"/>
                        </a:lnTo>
                        <a:lnTo>
                          <a:pt x="1672" y="790"/>
                        </a:lnTo>
                        <a:lnTo>
                          <a:pt x="1721" y="785"/>
                        </a:lnTo>
                        <a:lnTo>
                          <a:pt x="1712" y="776"/>
                        </a:lnTo>
                        <a:lnTo>
                          <a:pt x="1749" y="709"/>
                        </a:lnTo>
                        <a:lnTo>
                          <a:pt x="1793" y="699"/>
                        </a:lnTo>
                        <a:lnTo>
                          <a:pt x="1793" y="736"/>
                        </a:lnTo>
                        <a:lnTo>
                          <a:pt x="1834" y="709"/>
                        </a:lnTo>
                        <a:lnTo>
                          <a:pt x="1834" y="675"/>
                        </a:lnTo>
                        <a:lnTo>
                          <a:pt x="1848" y="675"/>
                        </a:lnTo>
                        <a:lnTo>
                          <a:pt x="1841" y="692"/>
                        </a:lnTo>
                        <a:lnTo>
                          <a:pt x="1834" y="736"/>
                        </a:lnTo>
                        <a:lnTo>
                          <a:pt x="1821" y="744"/>
                        </a:lnTo>
                        <a:lnTo>
                          <a:pt x="1764" y="812"/>
                        </a:lnTo>
                        <a:lnTo>
                          <a:pt x="1749" y="822"/>
                        </a:lnTo>
                        <a:lnTo>
                          <a:pt x="1727" y="880"/>
                        </a:lnTo>
                        <a:lnTo>
                          <a:pt x="1749" y="993"/>
                        </a:lnTo>
                        <a:lnTo>
                          <a:pt x="1793" y="943"/>
                        </a:lnTo>
                        <a:lnTo>
                          <a:pt x="1793" y="909"/>
                        </a:lnTo>
                        <a:lnTo>
                          <a:pt x="1798" y="909"/>
                        </a:lnTo>
                        <a:lnTo>
                          <a:pt x="1821" y="904"/>
                        </a:lnTo>
                        <a:lnTo>
                          <a:pt x="1821" y="875"/>
                        </a:lnTo>
                        <a:lnTo>
                          <a:pt x="1828" y="865"/>
                        </a:lnTo>
                        <a:lnTo>
                          <a:pt x="1834" y="865"/>
                        </a:lnTo>
                        <a:lnTo>
                          <a:pt x="1834" y="828"/>
                        </a:lnTo>
                        <a:lnTo>
                          <a:pt x="1821" y="812"/>
                        </a:lnTo>
                        <a:lnTo>
                          <a:pt x="1834" y="785"/>
                        </a:lnTo>
                        <a:lnTo>
                          <a:pt x="1834" y="759"/>
                        </a:lnTo>
                        <a:lnTo>
                          <a:pt x="1848" y="759"/>
                        </a:lnTo>
                        <a:lnTo>
                          <a:pt x="1876" y="744"/>
                        </a:lnTo>
                        <a:lnTo>
                          <a:pt x="1876" y="759"/>
                        </a:lnTo>
                        <a:lnTo>
                          <a:pt x="1883" y="754"/>
                        </a:lnTo>
                        <a:lnTo>
                          <a:pt x="1912" y="744"/>
                        </a:lnTo>
                        <a:lnTo>
                          <a:pt x="1927" y="759"/>
                        </a:lnTo>
                        <a:lnTo>
                          <a:pt x="1933" y="744"/>
                        </a:lnTo>
                        <a:lnTo>
                          <a:pt x="2020" y="675"/>
                        </a:lnTo>
                        <a:lnTo>
                          <a:pt x="2047" y="692"/>
                        </a:lnTo>
                        <a:lnTo>
                          <a:pt x="2056" y="675"/>
                        </a:lnTo>
                        <a:lnTo>
                          <a:pt x="2042" y="625"/>
                        </a:lnTo>
                        <a:lnTo>
                          <a:pt x="2025" y="625"/>
                        </a:lnTo>
                        <a:lnTo>
                          <a:pt x="2025" y="601"/>
                        </a:lnTo>
                        <a:lnTo>
                          <a:pt x="2042" y="601"/>
                        </a:lnTo>
                        <a:lnTo>
                          <a:pt x="2056" y="595"/>
                        </a:lnTo>
                        <a:lnTo>
                          <a:pt x="2069" y="578"/>
                        </a:lnTo>
                        <a:lnTo>
                          <a:pt x="2062" y="556"/>
                        </a:lnTo>
                        <a:lnTo>
                          <a:pt x="2069" y="549"/>
                        </a:lnTo>
                        <a:lnTo>
                          <a:pt x="2082" y="578"/>
                        </a:lnTo>
                        <a:lnTo>
                          <a:pt x="2096" y="578"/>
                        </a:lnTo>
                        <a:lnTo>
                          <a:pt x="2151" y="625"/>
                        </a:lnTo>
                        <a:lnTo>
                          <a:pt x="2168" y="595"/>
                        </a:lnTo>
                        <a:lnTo>
                          <a:pt x="2168" y="578"/>
                        </a:lnTo>
                        <a:lnTo>
                          <a:pt x="2180" y="578"/>
                        </a:lnTo>
                        <a:lnTo>
                          <a:pt x="2195" y="556"/>
                        </a:lnTo>
                        <a:lnTo>
                          <a:pt x="2173" y="532"/>
                        </a:lnTo>
                        <a:lnTo>
                          <a:pt x="2131" y="519"/>
                        </a:lnTo>
                        <a:lnTo>
                          <a:pt x="2007" y="411"/>
                        </a:lnTo>
                        <a:lnTo>
                          <a:pt x="1933" y="400"/>
                        </a:lnTo>
                        <a:lnTo>
                          <a:pt x="1933" y="450"/>
                        </a:lnTo>
                        <a:lnTo>
                          <a:pt x="1920" y="457"/>
                        </a:lnTo>
                        <a:lnTo>
                          <a:pt x="1903" y="435"/>
                        </a:lnTo>
                        <a:lnTo>
                          <a:pt x="1903" y="420"/>
                        </a:lnTo>
                        <a:lnTo>
                          <a:pt x="1912" y="420"/>
                        </a:lnTo>
                        <a:lnTo>
                          <a:pt x="1920" y="411"/>
                        </a:lnTo>
                        <a:lnTo>
                          <a:pt x="1903" y="411"/>
                        </a:lnTo>
                        <a:lnTo>
                          <a:pt x="1883" y="428"/>
                        </a:lnTo>
                        <a:lnTo>
                          <a:pt x="1798" y="420"/>
                        </a:lnTo>
                        <a:lnTo>
                          <a:pt x="1784" y="411"/>
                        </a:lnTo>
                        <a:lnTo>
                          <a:pt x="1793" y="391"/>
                        </a:lnTo>
                        <a:lnTo>
                          <a:pt x="1776" y="368"/>
                        </a:lnTo>
                        <a:lnTo>
                          <a:pt x="1742" y="353"/>
                        </a:lnTo>
                        <a:lnTo>
                          <a:pt x="1685" y="374"/>
                        </a:lnTo>
                        <a:lnTo>
                          <a:pt x="1679" y="344"/>
                        </a:lnTo>
                        <a:lnTo>
                          <a:pt x="1664" y="344"/>
                        </a:lnTo>
                        <a:lnTo>
                          <a:pt x="1657" y="337"/>
                        </a:lnTo>
                        <a:lnTo>
                          <a:pt x="1657" y="309"/>
                        </a:lnTo>
                        <a:lnTo>
                          <a:pt x="1530" y="272"/>
                        </a:lnTo>
                        <a:lnTo>
                          <a:pt x="1508" y="309"/>
                        </a:lnTo>
                        <a:lnTo>
                          <a:pt x="1530" y="337"/>
                        </a:lnTo>
                        <a:lnTo>
                          <a:pt x="1463" y="337"/>
                        </a:lnTo>
                        <a:lnTo>
                          <a:pt x="1449" y="344"/>
                        </a:lnTo>
                        <a:lnTo>
                          <a:pt x="1421" y="326"/>
                        </a:lnTo>
                        <a:lnTo>
                          <a:pt x="1406" y="374"/>
                        </a:lnTo>
                        <a:lnTo>
                          <a:pt x="1385" y="368"/>
                        </a:lnTo>
                        <a:lnTo>
                          <a:pt x="1372" y="329"/>
                        </a:lnTo>
                        <a:lnTo>
                          <a:pt x="1379" y="279"/>
                        </a:lnTo>
                        <a:lnTo>
                          <a:pt x="1364" y="255"/>
                        </a:lnTo>
                        <a:lnTo>
                          <a:pt x="1315" y="235"/>
                        </a:lnTo>
                        <a:lnTo>
                          <a:pt x="1293" y="235"/>
                        </a:lnTo>
                        <a:lnTo>
                          <a:pt x="1287" y="255"/>
                        </a:lnTo>
                        <a:lnTo>
                          <a:pt x="1293" y="272"/>
                        </a:lnTo>
                        <a:lnTo>
                          <a:pt x="1228" y="264"/>
                        </a:lnTo>
                        <a:lnTo>
                          <a:pt x="1236" y="235"/>
                        </a:lnTo>
                        <a:lnTo>
                          <a:pt x="1193" y="225"/>
                        </a:lnTo>
                        <a:lnTo>
                          <a:pt x="1166" y="247"/>
                        </a:lnTo>
                        <a:lnTo>
                          <a:pt x="1117" y="218"/>
                        </a:lnTo>
                        <a:close/>
                      </a:path>
                    </a:pathLst>
                  </a:custGeom>
                  <a:solidFill>
                    <a:srgbClr val="FFE600"/>
                  </a:solidFill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wrap="square" lIns="36576" tIns="32004" rIns="0" bIns="0" anchor="t" upright="1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  <a:p>
                    <a:pPr algn="l" rtl="0">
                      <a:defRPr sz="1000"/>
                    </a:pPr>
                    <a:endParaRPr lang="nl-NL" sz="1600" b="0" i="0" u="none" strike="noStrike" baseline="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  <p:sp>
              <p:nvSpPr>
                <p:cNvPr id="307" name="Freeform 306"/>
                <p:cNvSpPr>
                  <a:spLocks/>
                </p:cNvSpPr>
                <p:nvPr/>
              </p:nvSpPr>
              <p:spPr bwMode="auto">
                <a:xfrm>
                  <a:off x="5261957" y="447866"/>
                  <a:ext cx="19" cy="24"/>
                </a:xfrm>
                <a:custGeom>
                  <a:avLst/>
                  <a:gdLst>
                    <a:gd name="T0" fmla="*/ 0 w 87"/>
                    <a:gd name="T1" fmla="*/ 1 h 109"/>
                    <a:gd name="T2" fmla="*/ 0 w 87"/>
                    <a:gd name="T3" fmla="*/ 1 h 109"/>
                    <a:gd name="T4" fmla="*/ 0 w 87"/>
                    <a:gd name="T5" fmla="*/ 1 h 109"/>
                    <a:gd name="T6" fmla="*/ 0 w 87"/>
                    <a:gd name="T7" fmla="*/ 1 h 109"/>
                    <a:gd name="T8" fmla="*/ 1 w 87"/>
                    <a:gd name="T9" fmla="*/ 1 h 109"/>
                    <a:gd name="T10" fmla="*/ 1 w 87"/>
                    <a:gd name="T11" fmla="*/ 0 h 109"/>
                    <a:gd name="T12" fmla="*/ 1 w 87"/>
                    <a:gd name="T13" fmla="*/ 0 h 109"/>
                    <a:gd name="T14" fmla="*/ 1 w 87"/>
                    <a:gd name="T15" fmla="*/ 0 h 109"/>
                    <a:gd name="T16" fmla="*/ 1 w 87"/>
                    <a:gd name="T17" fmla="*/ 0 h 109"/>
                    <a:gd name="T18" fmla="*/ 0 w 87"/>
                    <a:gd name="T19" fmla="*/ 1 h 109"/>
                    <a:gd name="T20" fmla="*/ 0 w 87"/>
                    <a:gd name="T21" fmla="*/ 1 h 109"/>
                    <a:gd name="T22" fmla="*/ 0 w 87"/>
                    <a:gd name="T23" fmla="*/ 1 h 109"/>
                    <a:gd name="T24" fmla="*/ 0 w 87"/>
                    <a:gd name="T25" fmla="*/ 1 h 10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109"/>
                    <a:gd name="T41" fmla="*/ 87 w 87"/>
                    <a:gd name="T42" fmla="*/ 109 h 10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109">
                      <a:moveTo>
                        <a:pt x="0" y="101"/>
                      </a:moveTo>
                      <a:lnTo>
                        <a:pt x="7" y="109"/>
                      </a:lnTo>
                      <a:lnTo>
                        <a:pt x="37" y="101"/>
                      </a:lnTo>
                      <a:lnTo>
                        <a:pt x="37" y="87"/>
                      </a:lnTo>
                      <a:lnTo>
                        <a:pt x="65" y="74"/>
                      </a:lnTo>
                      <a:lnTo>
                        <a:pt x="79" y="45"/>
                      </a:lnTo>
                      <a:lnTo>
                        <a:pt x="87" y="0"/>
                      </a:lnTo>
                      <a:lnTo>
                        <a:pt x="79" y="0"/>
                      </a:lnTo>
                      <a:lnTo>
                        <a:pt x="65" y="45"/>
                      </a:lnTo>
                      <a:lnTo>
                        <a:pt x="28" y="87"/>
                      </a:lnTo>
                      <a:lnTo>
                        <a:pt x="0" y="101"/>
                      </a:lnTo>
                      <a:close/>
                    </a:path>
                  </a:pathLst>
                </a:custGeom>
                <a:solidFill>
                  <a:srgbClr val="FFE60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 wrap="square" lIns="36576" tIns="32004" rIns="0" bIns="0" anchor="t" upright="1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05" name="Freeform 304"/>
              <p:cNvSpPr>
                <a:spLocks/>
              </p:cNvSpPr>
              <p:nvPr/>
            </p:nvSpPr>
            <p:spPr bwMode="auto">
              <a:xfrm>
                <a:off x="5261709" y="447867"/>
                <a:ext cx="9" cy="6"/>
              </a:xfrm>
              <a:custGeom>
                <a:avLst/>
                <a:gdLst>
                  <a:gd name="T0" fmla="*/ 0 w 44"/>
                  <a:gd name="T1" fmla="*/ 0 h 30"/>
                  <a:gd name="T2" fmla="*/ 0 w 44"/>
                  <a:gd name="T3" fmla="*/ 0 h 30"/>
                  <a:gd name="T4" fmla="*/ 0 w 44"/>
                  <a:gd name="T5" fmla="*/ 0 h 30"/>
                  <a:gd name="T6" fmla="*/ 0 w 44"/>
                  <a:gd name="T7" fmla="*/ 0 h 30"/>
                  <a:gd name="T8" fmla="*/ 0 w 44"/>
                  <a:gd name="T9" fmla="*/ 0 h 30"/>
                  <a:gd name="T10" fmla="*/ 0 w 44"/>
                  <a:gd name="T11" fmla="*/ 0 h 30"/>
                  <a:gd name="T12" fmla="*/ 0 w 44"/>
                  <a:gd name="T13" fmla="*/ 0 h 30"/>
                  <a:gd name="T14" fmla="*/ 0 w 44"/>
                  <a:gd name="T15" fmla="*/ 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4"/>
                  <a:gd name="T25" fmla="*/ 0 h 30"/>
                  <a:gd name="T26" fmla="*/ 44 w 44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4" h="30">
                    <a:moveTo>
                      <a:pt x="44" y="0"/>
                    </a:moveTo>
                    <a:lnTo>
                      <a:pt x="44" y="30"/>
                    </a:lnTo>
                    <a:lnTo>
                      <a:pt x="22" y="30"/>
                    </a:lnTo>
                    <a:lnTo>
                      <a:pt x="0" y="24"/>
                    </a:lnTo>
                    <a:lnTo>
                      <a:pt x="13" y="17"/>
                    </a:lnTo>
                    <a:lnTo>
                      <a:pt x="22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53" name="S_ISR"/>
            <p:cNvSpPr>
              <a:spLocks/>
            </p:cNvSpPr>
            <p:nvPr/>
          </p:nvSpPr>
          <p:spPr bwMode="auto">
            <a:xfrm>
              <a:off x="5662035" y="3257550"/>
              <a:ext cx="56934" cy="123825"/>
            </a:xfrm>
            <a:custGeom>
              <a:avLst/>
              <a:gdLst>
                <a:gd name="T0" fmla="*/ 98566822 w 27"/>
                <a:gd name="T1" fmla="*/ 34072520 h 60"/>
                <a:gd name="T2" fmla="*/ 98566822 w 27"/>
                <a:gd name="T3" fmla="*/ 161845490 h 60"/>
                <a:gd name="T4" fmla="*/ 35841523 w 27"/>
                <a:gd name="T5" fmla="*/ 255543843 h 60"/>
                <a:gd name="T6" fmla="*/ 0 w 27"/>
                <a:gd name="T7" fmla="*/ 127772954 h 60"/>
                <a:gd name="T8" fmla="*/ 98566822 w 27"/>
                <a:gd name="T9" fmla="*/ 0 h 60"/>
                <a:gd name="T10" fmla="*/ 120967499 w 27"/>
                <a:gd name="T11" fmla="*/ 0 h 60"/>
                <a:gd name="T12" fmla="*/ 98566822 w 27"/>
                <a:gd name="T13" fmla="*/ 34072520 h 60"/>
                <a:gd name="T14" fmla="*/ 98566822 w 27"/>
                <a:gd name="T15" fmla="*/ 34072520 h 60"/>
                <a:gd name="T16" fmla="*/ 98566822 w 27"/>
                <a:gd name="T17" fmla="*/ 34072520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60"/>
                <a:gd name="T29" fmla="*/ 27 w 27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60">
                  <a:moveTo>
                    <a:pt x="22" y="8"/>
                  </a:moveTo>
                  <a:lnTo>
                    <a:pt x="22" y="38"/>
                  </a:lnTo>
                  <a:lnTo>
                    <a:pt x="8" y="60"/>
                  </a:lnTo>
                  <a:lnTo>
                    <a:pt x="0" y="30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22" y="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4" name="S_IRQ"/>
            <p:cNvSpPr>
              <a:spLocks/>
            </p:cNvSpPr>
            <p:nvPr/>
          </p:nvSpPr>
          <p:spPr bwMode="auto">
            <a:xfrm>
              <a:off x="5813858" y="3067050"/>
              <a:ext cx="261304" cy="314325"/>
            </a:xfrm>
            <a:custGeom>
              <a:avLst/>
              <a:gdLst>
                <a:gd name="T0" fmla="*/ 317467158 w 125"/>
                <a:gd name="T1" fmla="*/ 37079587 h 146"/>
                <a:gd name="T2" fmla="*/ 347097826 w 125"/>
                <a:gd name="T3" fmla="*/ 111240896 h 146"/>
                <a:gd name="T4" fmla="*/ 376728493 w 125"/>
                <a:gd name="T5" fmla="*/ 111240896 h 146"/>
                <a:gd name="T6" fmla="*/ 376728493 w 125"/>
                <a:gd name="T7" fmla="*/ 208576147 h 146"/>
                <a:gd name="T8" fmla="*/ 347097826 w 125"/>
                <a:gd name="T9" fmla="*/ 282737507 h 146"/>
                <a:gd name="T10" fmla="*/ 376728493 w 125"/>
                <a:gd name="T11" fmla="*/ 389343154 h 146"/>
                <a:gd name="T12" fmla="*/ 440221899 w 125"/>
                <a:gd name="T13" fmla="*/ 421787509 h 146"/>
                <a:gd name="T14" fmla="*/ 503715305 w 125"/>
                <a:gd name="T15" fmla="*/ 570108076 h 146"/>
                <a:gd name="T16" fmla="*/ 529111844 w 125"/>
                <a:gd name="T17" fmla="*/ 597919368 h 146"/>
                <a:gd name="T18" fmla="*/ 529111844 w 125"/>
                <a:gd name="T19" fmla="*/ 630363723 h 146"/>
                <a:gd name="T20" fmla="*/ 440221899 w 125"/>
                <a:gd name="T21" fmla="*/ 630363723 h 146"/>
                <a:gd name="T22" fmla="*/ 410591232 w 125"/>
                <a:gd name="T23" fmla="*/ 676713723 h 146"/>
                <a:gd name="T24" fmla="*/ 347097826 w 125"/>
                <a:gd name="T25" fmla="*/ 630363723 h 146"/>
                <a:gd name="T26" fmla="*/ 317467158 w 125"/>
                <a:gd name="T27" fmla="*/ 676713723 h 146"/>
                <a:gd name="T28" fmla="*/ 241275418 w 125"/>
                <a:gd name="T29" fmla="*/ 630363723 h 146"/>
                <a:gd name="T30" fmla="*/ 241275418 w 125"/>
                <a:gd name="T31" fmla="*/ 597919368 h 146"/>
                <a:gd name="T32" fmla="*/ 84657907 w 125"/>
                <a:gd name="T33" fmla="*/ 468137509 h 146"/>
                <a:gd name="T34" fmla="*/ 0 w 125"/>
                <a:gd name="T35" fmla="*/ 421787509 h 146"/>
                <a:gd name="T36" fmla="*/ 0 w 125"/>
                <a:gd name="T37" fmla="*/ 352261431 h 146"/>
                <a:gd name="T38" fmla="*/ 84657907 w 125"/>
                <a:gd name="T39" fmla="*/ 250290932 h 146"/>
                <a:gd name="T40" fmla="*/ 139685146 w 125"/>
                <a:gd name="T41" fmla="*/ 69526094 h 146"/>
                <a:gd name="T42" fmla="*/ 198946481 w 125"/>
                <a:gd name="T43" fmla="*/ 37079587 h 146"/>
                <a:gd name="T44" fmla="*/ 198946481 w 125"/>
                <a:gd name="T45" fmla="*/ 0 h 146"/>
                <a:gd name="T46" fmla="*/ 317467158 w 125"/>
                <a:gd name="T47" fmla="*/ 37079587 h 146"/>
                <a:gd name="T48" fmla="*/ 317467158 w 125"/>
                <a:gd name="T49" fmla="*/ 37079587 h 146"/>
                <a:gd name="T50" fmla="*/ 317467158 w 125"/>
                <a:gd name="T51" fmla="*/ 37079587 h 1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146"/>
                <a:gd name="T80" fmla="*/ 125 w 125"/>
                <a:gd name="T81" fmla="*/ 146 h 1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146">
                  <a:moveTo>
                    <a:pt x="75" y="8"/>
                  </a:moveTo>
                  <a:lnTo>
                    <a:pt x="82" y="24"/>
                  </a:lnTo>
                  <a:lnTo>
                    <a:pt x="89" y="24"/>
                  </a:lnTo>
                  <a:lnTo>
                    <a:pt x="89" y="45"/>
                  </a:lnTo>
                  <a:lnTo>
                    <a:pt x="82" y="61"/>
                  </a:lnTo>
                  <a:lnTo>
                    <a:pt x="89" y="84"/>
                  </a:lnTo>
                  <a:lnTo>
                    <a:pt x="104" y="91"/>
                  </a:lnTo>
                  <a:lnTo>
                    <a:pt x="119" y="123"/>
                  </a:lnTo>
                  <a:lnTo>
                    <a:pt x="125" y="129"/>
                  </a:lnTo>
                  <a:lnTo>
                    <a:pt x="125" y="136"/>
                  </a:lnTo>
                  <a:lnTo>
                    <a:pt x="104" y="136"/>
                  </a:lnTo>
                  <a:lnTo>
                    <a:pt x="97" y="146"/>
                  </a:lnTo>
                  <a:lnTo>
                    <a:pt x="82" y="136"/>
                  </a:lnTo>
                  <a:lnTo>
                    <a:pt x="75" y="146"/>
                  </a:lnTo>
                  <a:lnTo>
                    <a:pt x="57" y="136"/>
                  </a:lnTo>
                  <a:lnTo>
                    <a:pt x="57" y="129"/>
                  </a:lnTo>
                  <a:lnTo>
                    <a:pt x="20" y="101"/>
                  </a:lnTo>
                  <a:lnTo>
                    <a:pt x="0" y="91"/>
                  </a:lnTo>
                  <a:lnTo>
                    <a:pt x="0" y="76"/>
                  </a:lnTo>
                  <a:lnTo>
                    <a:pt x="20" y="54"/>
                  </a:lnTo>
                  <a:lnTo>
                    <a:pt x="33" y="15"/>
                  </a:lnTo>
                  <a:lnTo>
                    <a:pt x="47" y="8"/>
                  </a:lnTo>
                  <a:lnTo>
                    <a:pt x="47" y="0"/>
                  </a:lnTo>
                  <a:lnTo>
                    <a:pt x="75" y="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5" name="S_CYP"/>
            <p:cNvSpPr>
              <a:spLocks/>
            </p:cNvSpPr>
            <p:nvPr/>
          </p:nvSpPr>
          <p:spPr bwMode="auto">
            <a:xfrm>
              <a:off x="5605101" y="3152775"/>
              <a:ext cx="66423" cy="57150"/>
            </a:xfrm>
            <a:custGeom>
              <a:avLst/>
              <a:gdLst>
                <a:gd name="T0" fmla="*/ 0 w 36"/>
                <a:gd name="T1" fmla="*/ 45826139 h 28"/>
                <a:gd name="T2" fmla="*/ 51452720 w 36"/>
                <a:gd name="T3" fmla="*/ 116647232 h 28"/>
                <a:gd name="T4" fmla="*/ 78895041 w 36"/>
                <a:gd name="T5" fmla="*/ 116647232 h 28"/>
                <a:gd name="T6" fmla="*/ 96045326 w 36"/>
                <a:gd name="T7" fmla="*/ 45826139 h 28"/>
                <a:gd name="T8" fmla="*/ 123487662 w 36"/>
                <a:gd name="T9" fmla="*/ 0 h 28"/>
                <a:gd name="T10" fmla="*/ 0 w 36"/>
                <a:gd name="T11" fmla="*/ 45826139 h 28"/>
                <a:gd name="T12" fmla="*/ 0 w 36"/>
                <a:gd name="T13" fmla="*/ 45826139 h 28"/>
                <a:gd name="T14" fmla="*/ 0 w 36"/>
                <a:gd name="T15" fmla="*/ 45826139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28"/>
                <a:gd name="T26" fmla="*/ 36 w 36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28">
                  <a:moveTo>
                    <a:pt x="0" y="11"/>
                  </a:moveTo>
                  <a:lnTo>
                    <a:pt x="15" y="28"/>
                  </a:lnTo>
                  <a:lnTo>
                    <a:pt x="23" y="28"/>
                  </a:lnTo>
                  <a:lnTo>
                    <a:pt x="28" y="11"/>
                  </a:lnTo>
                  <a:lnTo>
                    <a:pt x="36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6" name="S_MDA"/>
            <p:cNvSpPr>
              <a:spLocks/>
            </p:cNvSpPr>
            <p:nvPr/>
          </p:nvSpPr>
          <p:spPr bwMode="auto">
            <a:xfrm>
              <a:off x="5456591" y="2600325"/>
              <a:ext cx="101066" cy="152400"/>
            </a:xfrm>
            <a:custGeom>
              <a:avLst/>
              <a:gdLst>
                <a:gd name="T0" fmla="*/ 0 w 50"/>
                <a:gd name="T1" fmla="*/ 29269630 h 69"/>
                <a:gd name="T2" fmla="*/ 30736793 w 50"/>
                <a:gd name="T3" fmla="*/ 29269630 h 69"/>
                <a:gd name="T4" fmla="*/ 105386887 w 50"/>
                <a:gd name="T5" fmla="*/ 180499015 h 69"/>
                <a:gd name="T6" fmla="*/ 105386887 w 50"/>
                <a:gd name="T7" fmla="*/ 336605207 h 69"/>
                <a:gd name="T8" fmla="*/ 127341433 w 50"/>
                <a:gd name="T9" fmla="*/ 219524441 h 69"/>
                <a:gd name="T10" fmla="*/ 219556011 w 50"/>
                <a:gd name="T11" fmla="*/ 219524441 h 69"/>
                <a:gd name="T12" fmla="*/ 219556011 w 50"/>
                <a:gd name="T13" fmla="*/ 180499015 h 69"/>
                <a:gd name="T14" fmla="*/ 197601464 w 50"/>
                <a:gd name="T15" fmla="*/ 107322717 h 69"/>
                <a:gd name="T16" fmla="*/ 197601464 w 50"/>
                <a:gd name="T17" fmla="*/ 29269630 h 69"/>
                <a:gd name="T18" fmla="*/ 74650102 w 50"/>
                <a:gd name="T19" fmla="*/ 0 h 69"/>
                <a:gd name="T20" fmla="*/ 0 w 50"/>
                <a:gd name="T21" fmla="*/ 29269630 h 69"/>
                <a:gd name="T22" fmla="*/ 0 w 50"/>
                <a:gd name="T23" fmla="*/ 29269630 h 69"/>
                <a:gd name="T24" fmla="*/ 0 w 50"/>
                <a:gd name="T25" fmla="*/ 2926963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69"/>
                <a:gd name="T41" fmla="*/ 50 w 50"/>
                <a:gd name="T42" fmla="*/ 69 h 6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69">
                  <a:moveTo>
                    <a:pt x="0" y="6"/>
                  </a:moveTo>
                  <a:lnTo>
                    <a:pt x="7" y="6"/>
                  </a:lnTo>
                  <a:lnTo>
                    <a:pt x="24" y="37"/>
                  </a:lnTo>
                  <a:lnTo>
                    <a:pt x="24" y="69"/>
                  </a:lnTo>
                  <a:lnTo>
                    <a:pt x="29" y="45"/>
                  </a:lnTo>
                  <a:lnTo>
                    <a:pt x="50" y="45"/>
                  </a:lnTo>
                  <a:lnTo>
                    <a:pt x="50" y="37"/>
                  </a:lnTo>
                  <a:lnTo>
                    <a:pt x="45" y="22"/>
                  </a:lnTo>
                  <a:lnTo>
                    <a:pt x="45" y="6"/>
                  </a:lnTo>
                  <a:lnTo>
                    <a:pt x="17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7" name="S_IRL"/>
            <p:cNvSpPr>
              <a:spLocks/>
            </p:cNvSpPr>
            <p:nvPr/>
          </p:nvSpPr>
          <p:spPr bwMode="auto">
            <a:xfrm>
              <a:off x="4405914" y="2276475"/>
              <a:ext cx="142334" cy="200025"/>
            </a:xfrm>
            <a:custGeom>
              <a:avLst/>
              <a:gdLst>
                <a:gd name="T0" fmla="*/ 2147483647 w 65"/>
                <a:gd name="T1" fmla="*/ 0 h 99"/>
                <a:gd name="T2" fmla="*/ 2147483647 w 65"/>
                <a:gd name="T3" fmla="*/ 2147483647 h 99"/>
                <a:gd name="T4" fmla="*/ 2147483647 w 65"/>
                <a:gd name="T5" fmla="*/ 2147483647 h 99"/>
                <a:gd name="T6" fmla="*/ 2147483647 w 65"/>
                <a:gd name="T7" fmla="*/ 2147483647 h 99"/>
                <a:gd name="T8" fmla="*/ 2147483647 w 65"/>
                <a:gd name="T9" fmla="*/ 2147483647 h 99"/>
                <a:gd name="T10" fmla="*/ 2147483647 w 65"/>
                <a:gd name="T11" fmla="*/ 2147483647 h 99"/>
                <a:gd name="T12" fmla="*/ 2147483647 w 65"/>
                <a:gd name="T13" fmla="*/ 2147483647 h 99"/>
                <a:gd name="T14" fmla="*/ 0 w 65"/>
                <a:gd name="T15" fmla="*/ 2147483647 h 99"/>
                <a:gd name="T16" fmla="*/ 2147483647 w 65"/>
                <a:gd name="T17" fmla="*/ 2147483647 h 99"/>
                <a:gd name="T18" fmla="*/ 2147483647 w 65"/>
                <a:gd name="T19" fmla="*/ 2147483647 h 99"/>
                <a:gd name="T20" fmla="*/ 2147483647 w 65"/>
                <a:gd name="T21" fmla="*/ 2147483647 h 99"/>
                <a:gd name="T22" fmla="*/ 2147483647 w 65"/>
                <a:gd name="T23" fmla="*/ 2147483647 h 99"/>
                <a:gd name="T24" fmla="*/ 2147483647 w 65"/>
                <a:gd name="T25" fmla="*/ 2147483647 h 99"/>
                <a:gd name="T26" fmla="*/ 2147483647 w 65"/>
                <a:gd name="T27" fmla="*/ 2147483647 h 99"/>
                <a:gd name="T28" fmla="*/ 2147483647 w 65"/>
                <a:gd name="T29" fmla="*/ 2147483647 h 99"/>
                <a:gd name="T30" fmla="*/ 2147483647 w 65"/>
                <a:gd name="T31" fmla="*/ 2147483647 h 99"/>
                <a:gd name="T32" fmla="*/ 2147483647 w 65"/>
                <a:gd name="T33" fmla="*/ 2147483647 h 99"/>
                <a:gd name="T34" fmla="*/ 2147483647 w 65"/>
                <a:gd name="T35" fmla="*/ 2147483647 h 99"/>
                <a:gd name="T36" fmla="*/ 2147483647 w 65"/>
                <a:gd name="T37" fmla="*/ 0 h 99"/>
                <a:gd name="T38" fmla="*/ 2147483647 w 65"/>
                <a:gd name="T39" fmla="*/ 0 h 99"/>
                <a:gd name="T40" fmla="*/ 2147483647 w 65"/>
                <a:gd name="T41" fmla="*/ 0 h 9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5"/>
                <a:gd name="T64" fmla="*/ 0 h 99"/>
                <a:gd name="T65" fmla="*/ 65 w 65"/>
                <a:gd name="T66" fmla="*/ 99 h 9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5" h="99">
                  <a:moveTo>
                    <a:pt x="43" y="0"/>
                  </a:moveTo>
                  <a:lnTo>
                    <a:pt x="35" y="24"/>
                  </a:lnTo>
                  <a:lnTo>
                    <a:pt x="43" y="30"/>
                  </a:lnTo>
                  <a:lnTo>
                    <a:pt x="65" y="30"/>
                  </a:lnTo>
                  <a:lnTo>
                    <a:pt x="65" y="64"/>
                  </a:lnTo>
                  <a:lnTo>
                    <a:pt x="48" y="84"/>
                  </a:lnTo>
                  <a:lnTo>
                    <a:pt x="5" y="99"/>
                  </a:lnTo>
                  <a:lnTo>
                    <a:pt x="0" y="84"/>
                  </a:lnTo>
                  <a:lnTo>
                    <a:pt x="5" y="84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20" y="40"/>
                  </a:lnTo>
                  <a:lnTo>
                    <a:pt x="5" y="40"/>
                  </a:lnTo>
                  <a:lnTo>
                    <a:pt x="5" y="30"/>
                  </a:lnTo>
                  <a:lnTo>
                    <a:pt x="26" y="30"/>
                  </a:lnTo>
                  <a:lnTo>
                    <a:pt x="35" y="24"/>
                  </a:lnTo>
                  <a:lnTo>
                    <a:pt x="26" y="24"/>
                  </a:lnTo>
                  <a:lnTo>
                    <a:pt x="26" y="15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58" name="S_DNK"/>
            <p:cNvGrpSpPr>
              <a:grpSpLocks/>
            </p:cNvGrpSpPr>
            <p:nvPr/>
          </p:nvGrpSpPr>
          <p:grpSpPr bwMode="auto">
            <a:xfrm>
              <a:off x="3689789" y="1714500"/>
              <a:ext cx="1351012" cy="590550"/>
              <a:chOff x="3663986" y="1714500"/>
              <a:chExt cx="142" cy="62"/>
            </a:xfrm>
            <a:solidFill>
              <a:schemeClr val="bg1">
                <a:lumMod val="75000"/>
              </a:schemeClr>
            </a:solidFill>
          </p:grpSpPr>
          <p:sp>
            <p:nvSpPr>
              <p:cNvPr id="302" name="Freeform 301"/>
              <p:cNvSpPr>
                <a:spLocks/>
              </p:cNvSpPr>
              <p:nvPr/>
            </p:nvSpPr>
            <p:spPr bwMode="auto">
              <a:xfrm>
                <a:off x="3663986" y="1714500"/>
                <a:ext cx="30" cy="17"/>
              </a:xfrm>
              <a:custGeom>
                <a:avLst/>
                <a:gdLst>
                  <a:gd name="T0" fmla="*/ 1 w 139"/>
                  <a:gd name="T1" fmla="*/ 1 h 82"/>
                  <a:gd name="T2" fmla="*/ 0 w 139"/>
                  <a:gd name="T3" fmla="*/ 1 h 82"/>
                  <a:gd name="T4" fmla="*/ 0 w 139"/>
                  <a:gd name="T5" fmla="*/ 1 h 82"/>
                  <a:gd name="T6" fmla="*/ 0 w 139"/>
                  <a:gd name="T7" fmla="*/ 1 h 82"/>
                  <a:gd name="T8" fmla="*/ 0 w 139"/>
                  <a:gd name="T9" fmla="*/ 0 h 82"/>
                  <a:gd name="T10" fmla="*/ 0 w 139"/>
                  <a:gd name="T11" fmla="*/ 0 h 82"/>
                  <a:gd name="T12" fmla="*/ 0 w 139"/>
                  <a:gd name="T13" fmla="*/ 0 h 82"/>
                  <a:gd name="T14" fmla="*/ 0 w 139"/>
                  <a:gd name="T15" fmla="*/ 0 h 82"/>
                  <a:gd name="T16" fmla="*/ 0 w 139"/>
                  <a:gd name="T17" fmla="*/ 0 h 82"/>
                  <a:gd name="T18" fmla="*/ 0 w 139"/>
                  <a:gd name="T19" fmla="*/ 0 h 82"/>
                  <a:gd name="T20" fmla="*/ 0 w 139"/>
                  <a:gd name="T21" fmla="*/ 0 h 82"/>
                  <a:gd name="T22" fmla="*/ 0 w 139"/>
                  <a:gd name="T23" fmla="*/ 0 h 82"/>
                  <a:gd name="T24" fmla="*/ 0 w 139"/>
                  <a:gd name="T25" fmla="*/ 0 h 82"/>
                  <a:gd name="T26" fmla="*/ 0 w 139"/>
                  <a:gd name="T27" fmla="*/ 0 h 82"/>
                  <a:gd name="T28" fmla="*/ 0 w 139"/>
                  <a:gd name="T29" fmla="*/ 0 h 82"/>
                  <a:gd name="T30" fmla="*/ 0 w 139"/>
                  <a:gd name="T31" fmla="*/ 0 h 82"/>
                  <a:gd name="T32" fmla="*/ 0 w 139"/>
                  <a:gd name="T33" fmla="*/ 0 h 82"/>
                  <a:gd name="T34" fmla="*/ 0 w 139"/>
                  <a:gd name="T35" fmla="*/ 0 h 82"/>
                  <a:gd name="T36" fmla="*/ 0 w 139"/>
                  <a:gd name="T37" fmla="*/ 0 h 82"/>
                  <a:gd name="T38" fmla="*/ 0 w 139"/>
                  <a:gd name="T39" fmla="*/ 0 h 82"/>
                  <a:gd name="T40" fmla="*/ 0 w 139"/>
                  <a:gd name="T41" fmla="*/ 0 h 82"/>
                  <a:gd name="T42" fmla="*/ 0 w 139"/>
                  <a:gd name="T43" fmla="*/ 0 h 82"/>
                  <a:gd name="T44" fmla="*/ 0 w 139"/>
                  <a:gd name="T45" fmla="*/ 0 h 82"/>
                  <a:gd name="T46" fmla="*/ 0 w 139"/>
                  <a:gd name="T47" fmla="*/ 0 h 82"/>
                  <a:gd name="T48" fmla="*/ 0 w 139"/>
                  <a:gd name="T49" fmla="*/ 0 h 82"/>
                  <a:gd name="T50" fmla="*/ 0 w 139"/>
                  <a:gd name="T51" fmla="*/ 0 h 82"/>
                  <a:gd name="T52" fmla="*/ 0 w 139"/>
                  <a:gd name="T53" fmla="*/ 0 h 82"/>
                  <a:gd name="T54" fmla="*/ 0 w 139"/>
                  <a:gd name="T55" fmla="*/ 0 h 82"/>
                  <a:gd name="T56" fmla="*/ 1 w 139"/>
                  <a:gd name="T57" fmla="*/ 0 h 82"/>
                  <a:gd name="T58" fmla="*/ 1 w 139"/>
                  <a:gd name="T59" fmla="*/ 0 h 82"/>
                  <a:gd name="T60" fmla="*/ 1 w 139"/>
                  <a:gd name="T61" fmla="*/ 0 h 82"/>
                  <a:gd name="T62" fmla="*/ 1 w 139"/>
                  <a:gd name="T63" fmla="*/ 0 h 82"/>
                  <a:gd name="T64" fmla="*/ 1 w 139"/>
                  <a:gd name="T65" fmla="*/ 0 h 82"/>
                  <a:gd name="T66" fmla="*/ 1 w 139"/>
                  <a:gd name="T67" fmla="*/ 0 h 82"/>
                  <a:gd name="T68" fmla="*/ 1 w 139"/>
                  <a:gd name="T69" fmla="*/ 0 h 82"/>
                  <a:gd name="T70" fmla="*/ 1 w 139"/>
                  <a:gd name="T71" fmla="*/ 0 h 82"/>
                  <a:gd name="T72" fmla="*/ 1 w 139"/>
                  <a:gd name="T73" fmla="*/ 0 h 82"/>
                  <a:gd name="T74" fmla="*/ 1 w 139"/>
                  <a:gd name="T75" fmla="*/ 0 h 82"/>
                  <a:gd name="T76" fmla="*/ 1 w 139"/>
                  <a:gd name="T77" fmla="*/ 0 h 82"/>
                  <a:gd name="T78" fmla="*/ 1 w 139"/>
                  <a:gd name="T79" fmla="*/ 0 h 82"/>
                  <a:gd name="T80" fmla="*/ 1 w 139"/>
                  <a:gd name="T81" fmla="*/ 0 h 82"/>
                  <a:gd name="T82" fmla="*/ 1 w 139"/>
                  <a:gd name="T83" fmla="*/ 0 h 82"/>
                  <a:gd name="T84" fmla="*/ 1 w 139"/>
                  <a:gd name="T85" fmla="*/ 0 h 82"/>
                  <a:gd name="T86" fmla="*/ 1 w 139"/>
                  <a:gd name="T87" fmla="*/ 1 h 8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39"/>
                  <a:gd name="T133" fmla="*/ 0 h 82"/>
                  <a:gd name="T134" fmla="*/ 139 w 139"/>
                  <a:gd name="T135" fmla="*/ 82 h 8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39" h="82">
                    <a:moveTo>
                      <a:pt x="59" y="82"/>
                    </a:moveTo>
                    <a:lnTo>
                      <a:pt x="24" y="69"/>
                    </a:lnTo>
                    <a:lnTo>
                      <a:pt x="35" y="61"/>
                    </a:lnTo>
                    <a:lnTo>
                      <a:pt x="30" y="62"/>
                    </a:lnTo>
                    <a:lnTo>
                      <a:pt x="35" y="54"/>
                    </a:lnTo>
                    <a:lnTo>
                      <a:pt x="8" y="49"/>
                    </a:lnTo>
                    <a:lnTo>
                      <a:pt x="35" y="37"/>
                    </a:lnTo>
                    <a:lnTo>
                      <a:pt x="27" y="39"/>
                    </a:lnTo>
                    <a:lnTo>
                      <a:pt x="35" y="30"/>
                    </a:lnTo>
                    <a:lnTo>
                      <a:pt x="0" y="30"/>
                    </a:lnTo>
                    <a:lnTo>
                      <a:pt x="5" y="19"/>
                    </a:lnTo>
                    <a:lnTo>
                      <a:pt x="17" y="24"/>
                    </a:lnTo>
                    <a:lnTo>
                      <a:pt x="10" y="19"/>
                    </a:lnTo>
                    <a:lnTo>
                      <a:pt x="13" y="17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3" y="12"/>
                    </a:lnTo>
                    <a:lnTo>
                      <a:pt x="12" y="9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7" y="19"/>
                    </a:lnTo>
                    <a:lnTo>
                      <a:pt x="22" y="7"/>
                    </a:lnTo>
                    <a:lnTo>
                      <a:pt x="27" y="7"/>
                    </a:lnTo>
                    <a:lnTo>
                      <a:pt x="19" y="0"/>
                    </a:lnTo>
                    <a:lnTo>
                      <a:pt x="42" y="35"/>
                    </a:lnTo>
                    <a:lnTo>
                      <a:pt x="49" y="24"/>
                    </a:lnTo>
                    <a:lnTo>
                      <a:pt x="52" y="29"/>
                    </a:lnTo>
                    <a:lnTo>
                      <a:pt x="54" y="12"/>
                    </a:lnTo>
                    <a:lnTo>
                      <a:pt x="64" y="22"/>
                    </a:lnTo>
                    <a:lnTo>
                      <a:pt x="74" y="9"/>
                    </a:lnTo>
                    <a:lnTo>
                      <a:pt x="82" y="24"/>
                    </a:lnTo>
                    <a:lnTo>
                      <a:pt x="79" y="9"/>
                    </a:lnTo>
                    <a:lnTo>
                      <a:pt x="102" y="9"/>
                    </a:lnTo>
                    <a:lnTo>
                      <a:pt x="101" y="0"/>
                    </a:lnTo>
                    <a:lnTo>
                      <a:pt x="126" y="3"/>
                    </a:lnTo>
                    <a:lnTo>
                      <a:pt x="119" y="10"/>
                    </a:lnTo>
                    <a:lnTo>
                      <a:pt x="132" y="27"/>
                    </a:lnTo>
                    <a:lnTo>
                      <a:pt x="132" y="24"/>
                    </a:lnTo>
                    <a:lnTo>
                      <a:pt x="136" y="37"/>
                    </a:lnTo>
                    <a:lnTo>
                      <a:pt x="139" y="35"/>
                    </a:lnTo>
                    <a:lnTo>
                      <a:pt x="126" y="54"/>
                    </a:lnTo>
                    <a:lnTo>
                      <a:pt x="131" y="52"/>
                    </a:lnTo>
                    <a:lnTo>
                      <a:pt x="59" y="82"/>
                    </a:lnTo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03" name="Freeform 302"/>
              <p:cNvSpPr>
                <a:spLocks/>
              </p:cNvSpPr>
              <p:nvPr/>
            </p:nvSpPr>
            <p:spPr bwMode="auto">
              <a:xfrm>
                <a:off x="3664119" y="1714547"/>
                <a:ext cx="9" cy="15"/>
              </a:xfrm>
              <a:custGeom>
                <a:avLst/>
                <a:gdLst>
                  <a:gd name="T0" fmla="*/ 0 w 40"/>
                  <a:gd name="T1" fmla="*/ 1 h 69"/>
                  <a:gd name="T2" fmla="*/ 0 w 40"/>
                  <a:gd name="T3" fmla="*/ 1 h 69"/>
                  <a:gd name="T4" fmla="*/ 0 w 40"/>
                  <a:gd name="T5" fmla="*/ 0 h 69"/>
                  <a:gd name="T6" fmla="*/ 0 w 40"/>
                  <a:gd name="T7" fmla="*/ 0 h 69"/>
                  <a:gd name="T8" fmla="*/ 0 w 40"/>
                  <a:gd name="T9" fmla="*/ 0 h 69"/>
                  <a:gd name="T10" fmla="*/ 0 w 40"/>
                  <a:gd name="T11" fmla="*/ 0 h 69"/>
                  <a:gd name="T12" fmla="*/ 0 w 40"/>
                  <a:gd name="T13" fmla="*/ 0 h 69"/>
                  <a:gd name="T14" fmla="*/ 0 w 40"/>
                  <a:gd name="T15" fmla="*/ 0 h 69"/>
                  <a:gd name="T16" fmla="*/ 0 w 40"/>
                  <a:gd name="T17" fmla="*/ 0 h 69"/>
                  <a:gd name="T18" fmla="*/ 0 w 40"/>
                  <a:gd name="T19" fmla="*/ 0 h 69"/>
                  <a:gd name="T20" fmla="*/ 0 w 40"/>
                  <a:gd name="T21" fmla="*/ 1 h 69"/>
                  <a:gd name="T22" fmla="*/ 0 w 40"/>
                  <a:gd name="T23" fmla="*/ 1 h 69"/>
                  <a:gd name="T24" fmla="*/ 0 w 40"/>
                  <a:gd name="T25" fmla="*/ 1 h 69"/>
                  <a:gd name="T26" fmla="*/ 0 w 40"/>
                  <a:gd name="T27" fmla="*/ 1 h 6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"/>
                  <a:gd name="T43" fmla="*/ 0 h 69"/>
                  <a:gd name="T44" fmla="*/ 40 w 40"/>
                  <a:gd name="T45" fmla="*/ 69 h 6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" h="69">
                    <a:moveTo>
                      <a:pt x="10" y="69"/>
                    </a:moveTo>
                    <a:lnTo>
                      <a:pt x="30" y="69"/>
                    </a:lnTo>
                    <a:lnTo>
                      <a:pt x="35" y="37"/>
                    </a:lnTo>
                    <a:lnTo>
                      <a:pt x="40" y="37"/>
                    </a:lnTo>
                    <a:lnTo>
                      <a:pt x="40" y="30"/>
                    </a:lnTo>
                    <a:lnTo>
                      <a:pt x="35" y="30"/>
                    </a:lnTo>
                    <a:lnTo>
                      <a:pt x="35" y="0"/>
                    </a:lnTo>
                    <a:lnTo>
                      <a:pt x="10" y="5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10" y="54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59" name="S_NLD"/>
            <p:cNvSpPr>
              <a:spLocks/>
            </p:cNvSpPr>
            <p:nvPr/>
          </p:nvSpPr>
          <p:spPr bwMode="auto">
            <a:xfrm>
              <a:off x="4819041" y="2390775"/>
              <a:ext cx="101066" cy="114300"/>
            </a:xfrm>
            <a:custGeom>
              <a:avLst/>
              <a:gdLst>
                <a:gd name="T0" fmla="*/ 2147483647 w 51"/>
                <a:gd name="T1" fmla="*/ 2147483647 h 56"/>
                <a:gd name="T2" fmla="*/ 2147483647 w 51"/>
                <a:gd name="T3" fmla="*/ 2147483647 h 56"/>
                <a:gd name="T4" fmla="*/ 2147483647 w 51"/>
                <a:gd name="T5" fmla="*/ 2147483647 h 56"/>
                <a:gd name="T6" fmla="*/ 2147483647 w 51"/>
                <a:gd name="T7" fmla="*/ 0 h 56"/>
                <a:gd name="T8" fmla="*/ 2147483647 w 51"/>
                <a:gd name="T9" fmla="*/ 2147483647 h 56"/>
                <a:gd name="T10" fmla="*/ 2147483647 w 51"/>
                <a:gd name="T11" fmla="*/ 2147483647 h 56"/>
                <a:gd name="T12" fmla="*/ 2147483647 w 51"/>
                <a:gd name="T13" fmla="*/ 2147483647 h 56"/>
                <a:gd name="T14" fmla="*/ 2147483647 w 51"/>
                <a:gd name="T15" fmla="*/ 2147483647 h 56"/>
                <a:gd name="T16" fmla="*/ 2147483647 w 51"/>
                <a:gd name="T17" fmla="*/ 2147483647 h 56"/>
                <a:gd name="T18" fmla="*/ 0 w 51"/>
                <a:gd name="T19" fmla="*/ 2147483647 h 56"/>
                <a:gd name="T20" fmla="*/ 2147483647 w 51"/>
                <a:gd name="T21" fmla="*/ 2147483647 h 56"/>
                <a:gd name="T22" fmla="*/ 2147483647 w 51"/>
                <a:gd name="T23" fmla="*/ 2147483647 h 56"/>
                <a:gd name="T24" fmla="*/ 2147483647 w 51"/>
                <a:gd name="T25" fmla="*/ 2147483647 h 56"/>
                <a:gd name="T26" fmla="*/ 2147483647 w 51"/>
                <a:gd name="T27" fmla="*/ 2147483647 h 5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1"/>
                <a:gd name="T43" fmla="*/ 0 h 56"/>
                <a:gd name="T44" fmla="*/ 51 w 51"/>
                <a:gd name="T45" fmla="*/ 56 h 5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1" h="56">
                  <a:moveTo>
                    <a:pt x="37" y="56"/>
                  </a:moveTo>
                  <a:lnTo>
                    <a:pt x="37" y="27"/>
                  </a:lnTo>
                  <a:lnTo>
                    <a:pt x="42" y="20"/>
                  </a:lnTo>
                  <a:lnTo>
                    <a:pt x="51" y="0"/>
                  </a:lnTo>
                  <a:lnTo>
                    <a:pt x="24" y="9"/>
                  </a:lnTo>
                  <a:lnTo>
                    <a:pt x="37" y="20"/>
                  </a:lnTo>
                  <a:lnTo>
                    <a:pt x="24" y="20"/>
                  </a:lnTo>
                  <a:lnTo>
                    <a:pt x="24" y="15"/>
                  </a:lnTo>
                  <a:lnTo>
                    <a:pt x="15" y="15"/>
                  </a:lnTo>
                  <a:lnTo>
                    <a:pt x="0" y="49"/>
                  </a:lnTo>
                  <a:lnTo>
                    <a:pt x="24" y="49"/>
                  </a:lnTo>
                  <a:lnTo>
                    <a:pt x="37" y="56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ea typeface="+mn-ea"/>
                <a:cs typeface="Arial"/>
              </a:endParaRPr>
            </a:p>
            <a:p>
              <a:pPr marL="0" indent="0"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60" name="S_BEL"/>
            <p:cNvSpPr>
              <a:spLocks/>
            </p:cNvSpPr>
            <p:nvPr/>
          </p:nvSpPr>
          <p:spPr bwMode="auto">
            <a:xfrm>
              <a:off x="4790574" y="2495550"/>
              <a:ext cx="101066" cy="76200"/>
            </a:xfrm>
            <a:custGeom>
              <a:avLst/>
              <a:gdLst>
                <a:gd name="T0" fmla="*/ 2147483647 w 50"/>
                <a:gd name="T1" fmla="*/ 2147483647 h 37"/>
                <a:gd name="T2" fmla="*/ 2147483647 w 50"/>
                <a:gd name="T3" fmla="*/ 2147483647 h 37"/>
                <a:gd name="T4" fmla="*/ 2147483647 w 50"/>
                <a:gd name="T5" fmla="*/ 2147483647 h 37"/>
                <a:gd name="T6" fmla="*/ 2147483647 w 50"/>
                <a:gd name="T7" fmla="*/ 2147483647 h 37"/>
                <a:gd name="T8" fmla="*/ 2147483647 w 50"/>
                <a:gd name="T9" fmla="*/ 2147483647 h 37"/>
                <a:gd name="T10" fmla="*/ 0 w 50"/>
                <a:gd name="T11" fmla="*/ 2147483647 h 37"/>
                <a:gd name="T12" fmla="*/ 0 w 50"/>
                <a:gd name="T13" fmla="*/ 0 h 37"/>
                <a:gd name="T14" fmla="*/ 2147483647 w 50"/>
                <a:gd name="T15" fmla="*/ 0 h 37"/>
                <a:gd name="T16" fmla="*/ 2147483647 w 50"/>
                <a:gd name="T17" fmla="*/ 2147483647 h 37"/>
                <a:gd name="T18" fmla="*/ 2147483647 w 50"/>
                <a:gd name="T19" fmla="*/ 2147483647 h 37"/>
                <a:gd name="T20" fmla="*/ 2147483647 w 50"/>
                <a:gd name="T21" fmla="*/ 2147483647 h 37"/>
                <a:gd name="T22" fmla="*/ 2147483647 w 50"/>
                <a:gd name="T23" fmla="*/ 2147483647 h 37"/>
                <a:gd name="T24" fmla="*/ 2147483647 w 50"/>
                <a:gd name="T25" fmla="*/ 2147483647 h 37"/>
                <a:gd name="T26" fmla="*/ 2147483647 w 50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"/>
                <a:gd name="T43" fmla="*/ 0 h 37"/>
                <a:gd name="T44" fmla="*/ 50 w 50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" h="37">
                  <a:moveTo>
                    <a:pt x="38" y="37"/>
                  </a:moveTo>
                  <a:lnTo>
                    <a:pt x="30" y="37"/>
                  </a:lnTo>
                  <a:lnTo>
                    <a:pt x="30" y="30"/>
                  </a:lnTo>
                  <a:lnTo>
                    <a:pt x="22" y="30"/>
                  </a:lnTo>
                  <a:lnTo>
                    <a:pt x="22" y="15"/>
                  </a:lnTo>
                  <a:lnTo>
                    <a:pt x="0" y="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50" y="8"/>
                  </a:lnTo>
                  <a:lnTo>
                    <a:pt x="50" y="30"/>
                  </a:lnTo>
                  <a:lnTo>
                    <a:pt x="38" y="30"/>
                  </a:lnTo>
                  <a:lnTo>
                    <a:pt x="38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1" name="S_POL"/>
            <p:cNvSpPr>
              <a:spLocks/>
            </p:cNvSpPr>
            <p:nvPr/>
          </p:nvSpPr>
          <p:spPr bwMode="auto">
            <a:xfrm>
              <a:off x="5109886" y="2305050"/>
              <a:ext cx="265691" cy="285750"/>
            </a:xfrm>
            <a:custGeom>
              <a:avLst/>
              <a:gdLst>
                <a:gd name="T0" fmla="*/ 2147483647 w 127"/>
                <a:gd name="T1" fmla="*/ 2147483647 h 138"/>
                <a:gd name="T2" fmla="*/ 2147483647 w 127"/>
                <a:gd name="T3" fmla="*/ 2147483647 h 138"/>
                <a:gd name="T4" fmla="*/ 2147483647 w 127"/>
                <a:gd name="T5" fmla="*/ 2147483647 h 138"/>
                <a:gd name="T6" fmla="*/ 2147483647 w 127"/>
                <a:gd name="T7" fmla="*/ 2147483647 h 138"/>
                <a:gd name="T8" fmla="*/ 2147483647 w 127"/>
                <a:gd name="T9" fmla="*/ 2147483647 h 138"/>
                <a:gd name="T10" fmla="*/ 2147483647 w 127"/>
                <a:gd name="T11" fmla="*/ 2147483647 h 138"/>
                <a:gd name="T12" fmla="*/ 2147483647 w 127"/>
                <a:gd name="T13" fmla="*/ 2147483647 h 138"/>
                <a:gd name="T14" fmla="*/ 2147483647 w 127"/>
                <a:gd name="T15" fmla="*/ 2147483647 h 138"/>
                <a:gd name="T16" fmla="*/ 2147483647 w 127"/>
                <a:gd name="T17" fmla="*/ 2147483647 h 138"/>
                <a:gd name="T18" fmla="*/ 2147483647 w 127"/>
                <a:gd name="T19" fmla="*/ 0 h 138"/>
                <a:gd name="T20" fmla="*/ 0 w 127"/>
                <a:gd name="T21" fmla="*/ 2147483647 h 138"/>
                <a:gd name="T22" fmla="*/ 2147483647 w 127"/>
                <a:gd name="T23" fmla="*/ 2147483647 h 138"/>
                <a:gd name="T24" fmla="*/ 2147483647 w 127"/>
                <a:gd name="T25" fmla="*/ 2147483647 h 138"/>
                <a:gd name="T26" fmla="*/ 2147483647 w 127"/>
                <a:gd name="T27" fmla="*/ 2147483647 h 138"/>
                <a:gd name="T28" fmla="*/ 2147483647 w 127"/>
                <a:gd name="T29" fmla="*/ 2147483647 h 138"/>
                <a:gd name="T30" fmla="*/ 2147483647 w 127"/>
                <a:gd name="T31" fmla="*/ 2147483647 h 138"/>
                <a:gd name="T32" fmla="*/ 2147483647 w 127"/>
                <a:gd name="T33" fmla="*/ 2147483647 h 138"/>
                <a:gd name="T34" fmla="*/ 2147483647 w 127"/>
                <a:gd name="T35" fmla="*/ 2147483647 h 138"/>
                <a:gd name="T36" fmla="*/ 2147483647 w 127"/>
                <a:gd name="T37" fmla="*/ 2147483647 h 138"/>
                <a:gd name="T38" fmla="*/ 2147483647 w 127"/>
                <a:gd name="T39" fmla="*/ 2147483647 h 138"/>
                <a:gd name="T40" fmla="*/ 2147483647 w 127"/>
                <a:gd name="T41" fmla="*/ 2147483647 h 1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7"/>
                <a:gd name="T64" fmla="*/ 0 h 138"/>
                <a:gd name="T65" fmla="*/ 127 w 127"/>
                <a:gd name="T66" fmla="*/ 138 h 1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7" h="138">
                  <a:moveTo>
                    <a:pt x="115" y="138"/>
                  </a:moveTo>
                  <a:lnTo>
                    <a:pt x="127" y="106"/>
                  </a:lnTo>
                  <a:lnTo>
                    <a:pt x="120" y="60"/>
                  </a:lnTo>
                  <a:lnTo>
                    <a:pt x="127" y="47"/>
                  </a:lnTo>
                  <a:lnTo>
                    <a:pt x="115" y="15"/>
                  </a:lnTo>
                  <a:lnTo>
                    <a:pt x="94" y="15"/>
                  </a:lnTo>
                  <a:lnTo>
                    <a:pt x="72" y="7"/>
                  </a:lnTo>
                  <a:lnTo>
                    <a:pt x="72" y="15"/>
                  </a:lnTo>
                  <a:lnTo>
                    <a:pt x="57" y="15"/>
                  </a:lnTo>
                  <a:lnTo>
                    <a:pt x="48" y="0"/>
                  </a:lnTo>
                  <a:lnTo>
                    <a:pt x="0" y="25"/>
                  </a:lnTo>
                  <a:lnTo>
                    <a:pt x="8" y="91"/>
                  </a:lnTo>
                  <a:lnTo>
                    <a:pt x="35" y="106"/>
                  </a:lnTo>
                  <a:lnTo>
                    <a:pt x="42" y="106"/>
                  </a:lnTo>
                  <a:lnTo>
                    <a:pt x="57" y="128"/>
                  </a:lnTo>
                  <a:lnTo>
                    <a:pt x="72" y="128"/>
                  </a:lnTo>
                  <a:lnTo>
                    <a:pt x="78" y="138"/>
                  </a:lnTo>
                  <a:lnTo>
                    <a:pt x="94" y="128"/>
                  </a:lnTo>
                  <a:lnTo>
                    <a:pt x="115" y="13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2" name="S_AUT"/>
            <p:cNvSpPr>
              <a:spLocks/>
            </p:cNvSpPr>
            <p:nvPr/>
          </p:nvSpPr>
          <p:spPr bwMode="auto">
            <a:xfrm>
              <a:off x="4977040" y="2590800"/>
              <a:ext cx="208757" cy="114300"/>
            </a:xfrm>
            <a:custGeom>
              <a:avLst/>
              <a:gdLst>
                <a:gd name="T0" fmla="*/ 0 w 101"/>
                <a:gd name="T1" fmla="*/ 2147483647 h 52"/>
                <a:gd name="T2" fmla="*/ 2147483647 w 101"/>
                <a:gd name="T3" fmla="*/ 2147483647 h 52"/>
                <a:gd name="T4" fmla="*/ 2147483647 w 101"/>
                <a:gd name="T5" fmla="*/ 2147483647 h 52"/>
                <a:gd name="T6" fmla="*/ 2147483647 w 101"/>
                <a:gd name="T7" fmla="*/ 2147483647 h 52"/>
                <a:gd name="T8" fmla="*/ 2147483647 w 101"/>
                <a:gd name="T9" fmla="*/ 2147483647 h 52"/>
                <a:gd name="T10" fmla="*/ 2147483647 w 101"/>
                <a:gd name="T11" fmla="*/ 2147483647 h 52"/>
                <a:gd name="T12" fmla="*/ 2147483647 w 101"/>
                <a:gd name="T13" fmla="*/ 0 h 52"/>
                <a:gd name="T14" fmla="*/ 2147483647 w 101"/>
                <a:gd name="T15" fmla="*/ 2147483647 h 52"/>
                <a:gd name="T16" fmla="*/ 2147483647 w 101"/>
                <a:gd name="T17" fmla="*/ 2147483647 h 52"/>
                <a:gd name="T18" fmla="*/ 2147483647 w 101"/>
                <a:gd name="T19" fmla="*/ 2147483647 h 52"/>
                <a:gd name="T20" fmla="*/ 2147483647 w 101"/>
                <a:gd name="T21" fmla="*/ 2147483647 h 52"/>
                <a:gd name="T22" fmla="*/ 2147483647 w 101"/>
                <a:gd name="T23" fmla="*/ 2147483647 h 52"/>
                <a:gd name="T24" fmla="*/ 2147483647 w 101"/>
                <a:gd name="T25" fmla="*/ 2147483647 h 52"/>
                <a:gd name="T26" fmla="*/ 0 w 101"/>
                <a:gd name="T27" fmla="*/ 2147483647 h 52"/>
                <a:gd name="T28" fmla="*/ 0 w 101"/>
                <a:gd name="T29" fmla="*/ 2147483647 h 52"/>
                <a:gd name="T30" fmla="*/ 0 w 101"/>
                <a:gd name="T31" fmla="*/ 2147483647 h 5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1"/>
                <a:gd name="T49" fmla="*/ 0 h 52"/>
                <a:gd name="T50" fmla="*/ 101 w 101"/>
                <a:gd name="T51" fmla="*/ 52 h 5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1" h="52">
                  <a:moveTo>
                    <a:pt x="0" y="37"/>
                  </a:moveTo>
                  <a:lnTo>
                    <a:pt x="15" y="37"/>
                  </a:lnTo>
                  <a:lnTo>
                    <a:pt x="51" y="27"/>
                  </a:lnTo>
                  <a:lnTo>
                    <a:pt x="51" y="13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101" y="6"/>
                  </a:lnTo>
                  <a:lnTo>
                    <a:pt x="101" y="27"/>
                  </a:lnTo>
                  <a:lnTo>
                    <a:pt x="92" y="43"/>
                  </a:lnTo>
                  <a:lnTo>
                    <a:pt x="59" y="52"/>
                  </a:lnTo>
                  <a:lnTo>
                    <a:pt x="42" y="43"/>
                  </a:lnTo>
                  <a:lnTo>
                    <a:pt x="10" y="43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3" name="S_PRT"/>
            <p:cNvSpPr>
              <a:spLocks/>
            </p:cNvSpPr>
            <p:nvPr/>
          </p:nvSpPr>
          <p:spPr bwMode="auto">
            <a:xfrm>
              <a:off x="4453359" y="2905125"/>
              <a:ext cx="94890" cy="190500"/>
            </a:xfrm>
            <a:custGeom>
              <a:avLst/>
              <a:gdLst>
                <a:gd name="T0" fmla="*/ 103045681 w 45"/>
                <a:gd name="T1" fmla="*/ 386066491 h 94"/>
                <a:gd name="T2" fmla="*/ 125448474 w 45"/>
                <a:gd name="T3" fmla="*/ 316246237 h 94"/>
                <a:gd name="T4" fmla="*/ 103045681 w 45"/>
                <a:gd name="T5" fmla="*/ 193033245 h 94"/>
                <a:gd name="T6" fmla="*/ 125448474 w 45"/>
                <a:gd name="T7" fmla="*/ 164283967 h 94"/>
                <a:gd name="T8" fmla="*/ 125448474 w 45"/>
                <a:gd name="T9" fmla="*/ 73928194 h 94"/>
                <a:gd name="T10" fmla="*/ 201612498 w 45"/>
                <a:gd name="T11" fmla="*/ 32857194 h 94"/>
                <a:gd name="T12" fmla="*/ 201612498 w 45"/>
                <a:gd name="T13" fmla="*/ 0 h 94"/>
                <a:gd name="T14" fmla="*/ 35841521 w 45"/>
                <a:gd name="T15" fmla="*/ 0 h 94"/>
                <a:gd name="T16" fmla="*/ 0 w 45"/>
                <a:gd name="T17" fmla="*/ 262853499 h 94"/>
                <a:gd name="T18" fmla="*/ 35841521 w 45"/>
                <a:gd name="T19" fmla="*/ 262853499 h 94"/>
                <a:gd name="T20" fmla="*/ 0 w 45"/>
                <a:gd name="T21" fmla="*/ 386066491 h 94"/>
                <a:gd name="T22" fmla="*/ 103045681 w 45"/>
                <a:gd name="T23" fmla="*/ 386066491 h 94"/>
                <a:gd name="T24" fmla="*/ 103045681 w 45"/>
                <a:gd name="T25" fmla="*/ 386066491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5"/>
                <a:gd name="T40" fmla="*/ 0 h 94"/>
                <a:gd name="T41" fmla="*/ 45 w 45"/>
                <a:gd name="T42" fmla="*/ 94 h 9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5" h="94">
                  <a:moveTo>
                    <a:pt x="23" y="94"/>
                  </a:moveTo>
                  <a:lnTo>
                    <a:pt x="28" y="77"/>
                  </a:lnTo>
                  <a:lnTo>
                    <a:pt x="23" y="47"/>
                  </a:lnTo>
                  <a:lnTo>
                    <a:pt x="28" y="40"/>
                  </a:lnTo>
                  <a:lnTo>
                    <a:pt x="28" y="18"/>
                  </a:lnTo>
                  <a:lnTo>
                    <a:pt x="45" y="8"/>
                  </a:lnTo>
                  <a:lnTo>
                    <a:pt x="45" y="0"/>
                  </a:lnTo>
                  <a:lnTo>
                    <a:pt x="8" y="0"/>
                  </a:lnTo>
                  <a:lnTo>
                    <a:pt x="0" y="64"/>
                  </a:lnTo>
                  <a:lnTo>
                    <a:pt x="8" y="64"/>
                  </a:lnTo>
                  <a:lnTo>
                    <a:pt x="0" y="94"/>
                  </a:lnTo>
                  <a:lnTo>
                    <a:pt x="23" y="94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4" name="S_ROM"/>
            <p:cNvSpPr>
              <a:spLocks/>
            </p:cNvSpPr>
            <p:nvPr/>
          </p:nvSpPr>
          <p:spPr bwMode="auto">
            <a:xfrm>
              <a:off x="5271198" y="2619375"/>
              <a:ext cx="276970" cy="219075"/>
            </a:xfrm>
            <a:custGeom>
              <a:avLst/>
              <a:gdLst>
                <a:gd name="T0" fmla="*/ 2147483647 w 130"/>
                <a:gd name="T1" fmla="*/ 2147483647 h 108"/>
                <a:gd name="T2" fmla="*/ 2147483647 w 130"/>
                <a:gd name="T3" fmla="*/ 2147483647 h 108"/>
                <a:gd name="T4" fmla="*/ 2147483647 w 130"/>
                <a:gd name="T5" fmla="*/ 2147483647 h 108"/>
                <a:gd name="T6" fmla="*/ 2147483647 w 130"/>
                <a:gd name="T7" fmla="*/ 2147483647 h 108"/>
                <a:gd name="T8" fmla="*/ 2147483647 w 130"/>
                <a:gd name="T9" fmla="*/ 2147483647 h 108"/>
                <a:gd name="T10" fmla="*/ 2147483647 w 130"/>
                <a:gd name="T11" fmla="*/ 2147483647 h 108"/>
                <a:gd name="T12" fmla="*/ 2147483647 w 130"/>
                <a:gd name="T13" fmla="*/ 2147483647 h 108"/>
                <a:gd name="T14" fmla="*/ 2147483647 w 130"/>
                <a:gd name="T15" fmla="*/ 2147483647 h 108"/>
                <a:gd name="T16" fmla="*/ 2147483647 w 130"/>
                <a:gd name="T17" fmla="*/ 2147483647 h 108"/>
                <a:gd name="T18" fmla="*/ 2147483647 w 130"/>
                <a:gd name="T19" fmla="*/ 2147483647 h 108"/>
                <a:gd name="T20" fmla="*/ 2147483647 w 130"/>
                <a:gd name="T21" fmla="*/ 2147483647 h 108"/>
                <a:gd name="T22" fmla="*/ 2147483647 w 130"/>
                <a:gd name="T23" fmla="*/ 2147483647 h 108"/>
                <a:gd name="T24" fmla="*/ 2147483647 w 130"/>
                <a:gd name="T25" fmla="*/ 2147483647 h 108"/>
                <a:gd name="T26" fmla="*/ 2147483647 w 130"/>
                <a:gd name="T27" fmla="*/ 0 h 108"/>
                <a:gd name="T28" fmla="*/ 2147483647 w 130"/>
                <a:gd name="T29" fmla="*/ 0 h 108"/>
                <a:gd name="T30" fmla="*/ 2147483647 w 130"/>
                <a:gd name="T31" fmla="*/ 2147483647 h 108"/>
                <a:gd name="T32" fmla="*/ 2147483647 w 130"/>
                <a:gd name="T33" fmla="*/ 2147483647 h 108"/>
                <a:gd name="T34" fmla="*/ 2147483647 w 130"/>
                <a:gd name="T35" fmla="*/ 2147483647 h 108"/>
                <a:gd name="T36" fmla="*/ 0 w 130"/>
                <a:gd name="T37" fmla="*/ 2147483647 h 108"/>
                <a:gd name="T38" fmla="*/ 2147483647 w 130"/>
                <a:gd name="T39" fmla="*/ 2147483647 h 108"/>
                <a:gd name="T40" fmla="*/ 2147483647 w 130"/>
                <a:gd name="T41" fmla="*/ 2147483647 h 108"/>
                <a:gd name="T42" fmla="*/ 2147483647 w 130"/>
                <a:gd name="T43" fmla="*/ 2147483647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0"/>
                <a:gd name="T67" fmla="*/ 0 h 108"/>
                <a:gd name="T68" fmla="*/ 130 w 130"/>
                <a:gd name="T69" fmla="*/ 108 h 1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0" h="108">
                  <a:moveTo>
                    <a:pt x="15" y="79"/>
                  </a:moveTo>
                  <a:lnTo>
                    <a:pt x="38" y="79"/>
                  </a:lnTo>
                  <a:lnTo>
                    <a:pt x="38" y="93"/>
                  </a:lnTo>
                  <a:lnTo>
                    <a:pt x="43" y="100"/>
                  </a:lnTo>
                  <a:lnTo>
                    <a:pt x="50" y="100"/>
                  </a:lnTo>
                  <a:lnTo>
                    <a:pt x="80" y="108"/>
                  </a:lnTo>
                  <a:lnTo>
                    <a:pt x="92" y="93"/>
                  </a:lnTo>
                  <a:lnTo>
                    <a:pt x="114" y="100"/>
                  </a:lnTo>
                  <a:lnTo>
                    <a:pt x="114" y="93"/>
                  </a:lnTo>
                  <a:lnTo>
                    <a:pt x="130" y="79"/>
                  </a:lnTo>
                  <a:lnTo>
                    <a:pt x="130" y="71"/>
                  </a:lnTo>
                  <a:lnTo>
                    <a:pt x="107" y="71"/>
                  </a:lnTo>
                  <a:lnTo>
                    <a:pt x="107" y="31"/>
                  </a:lnTo>
                  <a:lnTo>
                    <a:pt x="92" y="0"/>
                  </a:lnTo>
                  <a:lnTo>
                    <a:pt x="85" y="0"/>
                  </a:lnTo>
                  <a:lnTo>
                    <a:pt x="63" y="17"/>
                  </a:lnTo>
                  <a:lnTo>
                    <a:pt x="23" y="17"/>
                  </a:lnTo>
                  <a:lnTo>
                    <a:pt x="15" y="48"/>
                  </a:lnTo>
                  <a:lnTo>
                    <a:pt x="0" y="48"/>
                  </a:lnTo>
                  <a:lnTo>
                    <a:pt x="15" y="7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265" name="S_SWE"/>
            <p:cNvGrpSpPr>
              <a:grpSpLocks/>
            </p:cNvGrpSpPr>
            <p:nvPr/>
          </p:nvGrpSpPr>
          <p:grpSpPr bwMode="auto">
            <a:xfrm>
              <a:off x="5014996" y="1381125"/>
              <a:ext cx="360580" cy="933450"/>
              <a:chOff x="5014996" y="1381125"/>
              <a:chExt cx="38" cy="98"/>
            </a:xfrm>
            <a:solidFill>
              <a:schemeClr val="bg1">
                <a:lumMod val="75000"/>
              </a:schemeClr>
            </a:solidFill>
          </p:grpSpPr>
          <p:sp>
            <p:nvSpPr>
              <p:cNvPr id="300" name="S_SWE 2"/>
              <p:cNvSpPr>
                <a:spLocks/>
              </p:cNvSpPr>
              <p:nvPr/>
            </p:nvSpPr>
            <p:spPr bwMode="auto">
              <a:xfrm>
                <a:off x="5014996" y="1381125"/>
                <a:ext cx="38" cy="93"/>
              </a:xfrm>
              <a:custGeom>
                <a:avLst/>
                <a:gdLst>
                  <a:gd name="T0" fmla="*/ 0 w 173"/>
                  <a:gd name="T1" fmla="*/ 3 h 427"/>
                  <a:gd name="T2" fmla="*/ 0 w 173"/>
                  <a:gd name="T3" fmla="*/ 3 h 427"/>
                  <a:gd name="T4" fmla="*/ 0 w 173"/>
                  <a:gd name="T5" fmla="*/ 3 h 427"/>
                  <a:gd name="T6" fmla="*/ 0 w 173"/>
                  <a:gd name="T7" fmla="*/ 3 h 427"/>
                  <a:gd name="T8" fmla="*/ 0 w 173"/>
                  <a:gd name="T9" fmla="*/ 3 h 427"/>
                  <a:gd name="T10" fmla="*/ 0 w 173"/>
                  <a:gd name="T11" fmla="*/ 2 h 427"/>
                  <a:gd name="T12" fmla="*/ 0 w 173"/>
                  <a:gd name="T13" fmla="*/ 2 h 427"/>
                  <a:gd name="T14" fmla="*/ 0 w 173"/>
                  <a:gd name="T15" fmla="*/ 2 h 427"/>
                  <a:gd name="T16" fmla="*/ 0 w 173"/>
                  <a:gd name="T17" fmla="*/ 2 h 427"/>
                  <a:gd name="T18" fmla="*/ 0 w 173"/>
                  <a:gd name="T19" fmla="*/ 1 h 427"/>
                  <a:gd name="T20" fmla="*/ 1 w 173"/>
                  <a:gd name="T21" fmla="*/ 1 h 427"/>
                  <a:gd name="T22" fmla="*/ 1 w 173"/>
                  <a:gd name="T23" fmla="*/ 1 h 427"/>
                  <a:gd name="T24" fmla="*/ 1 w 173"/>
                  <a:gd name="T25" fmla="*/ 0 h 427"/>
                  <a:gd name="T26" fmla="*/ 1 w 173"/>
                  <a:gd name="T27" fmla="*/ 0 h 427"/>
                  <a:gd name="T28" fmla="*/ 1 w 173"/>
                  <a:gd name="T29" fmla="*/ 0 h 427"/>
                  <a:gd name="T30" fmla="*/ 1 w 173"/>
                  <a:gd name="T31" fmla="*/ 0 h 427"/>
                  <a:gd name="T32" fmla="*/ 1 w 173"/>
                  <a:gd name="T33" fmla="*/ 0 h 427"/>
                  <a:gd name="T34" fmla="*/ 1 w 173"/>
                  <a:gd name="T35" fmla="*/ 0 h 427"/>
                  <a:gd name="T36" fmla="*/ 2 w 173"/>
                  <a:gd name="T37" fmla="*/ 0 h 427"/>
                  <a:gd name="T38" fmla="*/ 2 w 173"/>
                  <a:gd name="T39" fmla="*/ 1 h 427"/>
                  <a:gd name="T40" fmla="*/ 2 w 173"/>
                  <a:gd name="T41" fmla="*/ 1 h 427"/>
                  <a:gd name="T42" fmla="*/ 2 w 173"/>
                  <a:gd name="T43" fmla="*/ 2 h 427"/>
                  <a:gd name="T44" fmla="*/ 2 w 173"/>
                  <a:gd name="T45" fmla="*/ 2 h 427"/>
                  <a:gd name="T46" fmla="*/ 2 w 173"/>
                  <a:gd name="T47" fmla="*/ 2 h 427"/>
                  <a:gd name="T48" fmla="*/ 1 w 173"/>
                  <a:gd name="T49" fmla="*/ 2 h 427"/>
                  <a:gd name="T50" fmla="*/ 1 w 173"/>
                  <a:gd name="T51" fmla="*/ 2 h 427"/>
                  <a:gd name="T52" fmla="*/ 1 w 173"/>
                  <a:gd name="T53" fmla="*/ 3 h 427"/>
                  <a:gd name="T54" fmla="*/ 1 w 173"/>
                  <a:gd name="T55" fmla="*/ 3 h 427"/>
                  <a:gd name="T56" fmla="*/ 1 w 173"/>
                  <a:gd name="T57" fmla="*/ 3 h 427"/>
                  <a:gd name="T58" fmla="*/ 1 w 173"/>
                  <a:gd name="T59" fmla="*/ 3 h 427"/>
                  <a:gd name="T60" fmla="*/ 1 w 173"/>
                  <a:gd name="T61" fmla="*/ 4 h 427"/>
                  <a:gd name="T62" fmla="*/ 1 w 173"/>
                  <a:gd name="T63" fmla="*/ 4 h 427"/>
                  <a:gd name="T64" fmla="*/ 0 w 173"/>
                  <a:gd name="T65" fmla="*/ 4 h 427"/>
                  <a:gd name="T66" fmla="*/ 0 w 173"/>
                  <a:gd name="T67" fmla="*/ 4 h 427"/>
                  <a:gd name="T68" fmla="*/ 0 w 173"/>
                  <a:gd name="T69" fmla="*/ 4 h 427"/>
                  <a:gd name="T70" fmla="*/ 0 w 173"/>
                  <a:gd name="T71" fmla="*/ 4 h 427"/>
                  <a:gd name="T72" fmla="*/ 0 w 173"/>
                  <a:gd name="T73" fmla="*/ 4 h 427"/>
                  <a:gd name="T74" fmla="*/ 0 w 173"/>
                  <a:gd name="T75" fmla="*/ 4 h 427"/>
                  <a:gd name="T76" fmla="*/ 0 w 173"/>
                  <a:gd name="T77" fmla="*/ 3 h 427"/>
                  <a:gd name="T78" fmla="*/ 0 w 173"/>
                  <a:gd name="T79" fmla="*/ 3 h 427"/>
                  <a:gd name="T80" fmla="*/ 0 w 173"/>
                  <a:gd name="T81" fmla="*/ 3 h 42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73"/>
                  <a:gd name="T124" fmla="*/ 0 h 427"/>
                  <a:gd name="T125" fmla="*/ 173 w 173"/>
                  <a:gd name="T126" fmla="*/ 427 h 42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73" h="427">
                    <a:moveTo>
                      <a:pt x="0" y="338"/>
                    </a:moveTo>
                    <a:lnTo>
                      <a:pt x="11" y="338"/>
                    </a:lnTo>
                    <a:lnTo>
                      <a:pt x="11" y="308"/>
                    </a:lnTo>
                    <a:lnTo>
                      <a:pt x="22" y="303"/>
                    </a:lnTo>
                    <a:lnTo>
                      <a:pt x="22" y="264"/>
                    </a:lnTo>
                    <a:lnTo>
                      <a:pt x="11" y="224"/>
                    </a:lnTo>
                    <a:lnTo>
                      <a:pt x="22" y="189"/>
                    </a:lnTo>
                    <a:lnTo>
                      <a:pt x="44" y="174"/>
                    </a:lnTo>
                    <a:lnTo>
                      <a:pt x="36" y="152"/>
                    </a:lnTo>
                    <a:lnTo>
                      <a:pt x="52" y="108"/>
                    </a:lnTo>
                    <a:lnTo>
                      <a:pt x="74" y="83"/>
                    </a:lnTo>
                    <a:lnTo>
                      <a:pt x="74" y="61"/>
                    </a:lnTo>
                    <a:lnTo>
                      <a:pt x="89" y="32"/>
                    </a:lnTo>
                    <a:lnTo>
                      <a:pt x="94" y="32"/>
                    </a:lnTo>
                    <a:lnTo>
                      <a:pt x="94" y="17"/>
                    </a:lnTo>
                    <a:lnTo>
                      <a:pt x="124" y="17"/>
                    </a:lnTo>
                    <a:lnTo>
                      <a:pt x="124" y="0"/>
                    </a:lnTo>
                    <a:lnTo>
                      <a:pt x="131" y="0"/>
                    </a:lnTo>
                    <a:lnTo>
                      <a:pt x="166" y="32"/>
                    </a:lnTo>
                    <a:lnTo>
                      <a:pt x="173" y="120"/>
                    </a:lnTo>
                    <a:lnTo>
                      <a:pt x="161" y="120"/>
                    </a:lnTo>
                    <a:lnTo>
                      <a:pt x="140" y="137"/>
                    </a:lnTo>
                    <a:lnTo>
                      <a:pt x="140" y="152"/>
                    </a:lnTo>
                    <a:lnTo>
                      <a:pt x="146" y="167"/>
                    </a:lnTo>
                    <a:lnTo>
                      <a:pt x="103" y="211"/>
                    </a:lnTo>
                    <a:lnTo>
                      <a:pt x="89" y="241"/>
                    </a:lnTo>
                    <a:lnTo>
                      <a:pt x="89" y="285"/>
                    </a:lnTo>
                    <a:lnTo>
                      <a:pt x="103" y="308"/>
                    </a:lnTo>
                    <a:lnTo>
                      <a:pt x="94" y="323"/>
                    </a:lnTo>
                    <a:lnTo>
                      <a:pt x="94" y="332"/>
                    </a:lnTo>
                    <a:lnTo>
                      <a:pt x="81" y="347"/>
                    </a:lnTo>
                    <a:lnTo>
                      <a:pt x="74" y="412"/>
                    </a:lnTo>
                    <a:lnTo>
                      <a:pt x="52" y="412"/>
                    </a:lnTo>
                    <a:lnTo>
                      <a:pt x="44" y="422"/>
                    </a:lnTo>
                    <a:lnTo>
                      <a:pt x="44" y="427"/>
                    </a:lnTo>
                    <a:lnTo>
                      <a:pt x="31" y="427"/>
                    </a:lnTo>
                    <a:lnTo>
                      <a:pt x="22" y="412"/>
                    </a:lnTo>
                    <a:lnTo>
                      <a:pt x="31" y="406"/>
                    </a:lnTo>
                    <a:lnTo>
                      <a:pt x="0" y="338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01" name="S_SWE1"/>
              <p:cNvSpPr>
                <a:spLocks/>
              </p:cNvSpPr>
              <p:nvPr/>
            </p:nvSpPr>
            <p:spPr bwMode="auto">
              <a:xfrm>
                <a:off x="5014996" y="1381217"/>
                <a:ext cx="6" cy="6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1 h 24"/>
                  <a:gd name="T4" fmla="*/ 0 w 26"/>
                  <a:gd name="T5" fmla="*/ 1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4"/>
                  <a:gd name="T23" fmla="*/ 26 w 26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4">
                    <a:moveTo>
                      <a:pt x="0" y="13"/>
                    </a:moveTo>
                    <a:lnTo>
                      <a:pt x="0" y="24"/>
                    </a:lnTo>
                    <a:lnTo>
                      <a:pt x="26" y="24"/>
                    </a:lnTo>
                    <a:lnTo>
                      <a:pt x="26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66" name="S_DEU"/>
            <p:cNvGrpSpPr>
              <a:grpSpLocks/>
            </p:cNvGrpSpPr>
            <p:nvPr/>
          </p:nvGrpSpPr>
          <p:grpSpPr bwMode="auto">
            <a:xfrm>
              <a:off x="4882151" y="2305050"/>
              <a:ext cx="237224" cy="361950"/>
              <a:chOff x="4882151" y="2305050"/>
              <a:chExt cx="25" cy="38"/>
            </a:xfrm>
            <a:solidFill>
              <a:schemeClr val="bg1">
                <a:lumMod val="75000"/>
              </a:schemeClr>
            </a:solidFill>
          </p:grpSpPr>
          <p:sp>
            <p:nvSpPr>
              <p:cNvPr id="298" name="Freeform 297"/>
              <p:cNvSpPr>
                <a:spLocks/>
              </p:cNvSpPr>
              <p:nvPr/>
            </p:nvSpPr>
            <p:spPr bwMode="auto">
              <a:xfrm>
                <a:off x="4882151" y="2305050"/>
                <a:ext cx="25" cy="38"/>
              </a:xfrm>
              <a:custGeom>
                <a:avLst/>
                <a:gdLst>
                  <a:gd name="T0" fmla="*/ 1 w 114"/>
                  <a:gd name="T1" fmla="*/ 0 h 175"/>
                  <a:gd name="T2" fmla="*/ 1 w 114"/>
                  <a:gd name="T3" fmla="*/ 0 h 175"/>
                  <a:gd name="T4" fmla="*/ 1 w 114"/>
                  <a:gd name="T5" fmla="*/ 0 h 175"/>
                  <a:gd name="T6" fmla="*/ 1 w 114"/>
                  <a:gd name="T7" fmla="*/ 0 h 175"/>
                  <a:gd name="T8" fmla="*/ 1 w 114"/>
                  <a:gd name="T9" fmla="*/ 0 h 175"/>
                  <a:gd name="T10" fmla="*/ 1 w 114"/>
                  <a:gd name="T11" fmla="*/ 1 h 175"/>
                  <a:gd name="T12" fmla="*/ 1 w 114"/>
                  <a:gd name="T13" fmla="*/ 1 h 175"/>
                  <a:gd name="T14" fmla="*/ 1 w 114"/>
                  <a:gd name="T15" fmla="*/ 1 h 175"/>
                  <a:gd name="T16" fmla="*/ 1 w 114"/>
                  <a:gd name="T17" fmla="*/ 1 h 175"/>
                  <a:gd name="T18" fmla="*/ 1 w 114"/>
                  <a:gd name="T19" fmla="*/ 2 h 175"/>
                  <a:gd name="T20" fmla="*/ 1 w 114"/>
                  <a:gd name="T21" fmla="*/ 2 h 175"/>
                  <a:gd name="T22" fmla="*/ 1 w 114"/>
                  <a:gd name="T23" fmla="*/ 2 h 175"/>
                  <a:gd name="T24" fmla="*/ 0 w 114"/>
                  <a:gd name="T25" fmla="*/ 2 h 175"/>
                  <a:gd name="T26" fmla="*/ 0 w 114"/>
                  <a:gd name="T27" fmla="*/ 2 h 175"/>
                  <a:gd name="T28" fmla="*/ 0 w 114"/>
                  <a:gd name="T29" fmla="*/ 1 h 175"/>
                  <a:gd name="T30" fmla="*/ 0 w 114"/>
                  <a:gd name="T31" fmla="*/ 1 h 175"/>
                  <a:gd name="T32" fmla="*/ 0 w 114"/>
                  <a:gd name="T33" fmla="*/ 1 h 175"/>
                  <a:gd name="T34" fmla="*/ 0 w 114"/>
                  <a:gd name="T35" fmla="*/ 0 h 175"/>
                  <a:gd name="T36" fmla="*/ 0 w 114"/>
                  <a:gd name="T37" fmla="*/ 0 h 175"/>
                  <a:gd name="T38" fmla="*/ 0 w 114"/>
                  <a:gd name="T39" fmla="*/ 0 h 175"/>
                  <a:gd name="T40" fmla="*/ 0 w 114"/>
                  <a:gd name="T41" fmla="*/ 0 h 175"/>
                  <a:gd name="T42" fmla="*/ 0 w 114"/>
                  <a:gd name="T43" fmla="*/ 0 h 175"/>
                  <a:gd name="T44" fmla="*/ 0 w 114"/>
                  <a:gd name="T45" fmla="*/ 0 h 175"/>
                  <a:gd name="T46" fmla="*/ 0 w 114"/>
                  <a:gd name="T47" fmla="*/ 0 h 175"/>
                  <a:gd name="T48" fmla="*/ 0 w 114"/>
                  <a:gd name="T49" fmla="*/ 0 h 175"/>
                  <a:gd name="T50" fmla="*/ 1 w 114"/>
                  <a:gd name="T51" fmla="*/ 0 h 175"/>
                  <a:gd name="T52" fmla="*/ 1 w 114"/>
                  <a:gd name="T53" fmla="*/ 0 h 175"/>
                  <a:gd name="T54" fmla="*/ 1 w 114"/>
                  <a:gd name="T55" fmla="*/ 0 h 175"/>
                  <a:gd name="T56" fmla="*/ 1 w 114"/>
                  <a:gd name="T57" fmla="*/ 0 h 17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14"/>
                  <a:gd name="T88" fmla="*/ 0 h 175"/>
                  <a:gd name="T89" fmla="*/ 114 w 114"/>
                  <a:gd name="T90" fmla="*/ 175 h 17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14" h="175">
                    <a:moveTo>
                      <a:pt x="64" y="25"/>
                    </a:moveTo>
                    <a:lnTo>
                      <a:pt x="101" y="7"/>
                    </a:lnTo>
                    <a:lnTo>
                      <a:pt x="101" y="15"/>
                    </a:lnTo>
                    <a:lnTo>
                      <a:pt x="93" y="15"/>
                    </a:lnTo>
                    <a:lnTo>
                      <a:pt x="106" y="25"/>
                    </a:lnTo>
                    <a:lnTo>
                      <a:pt x="114" y="91"/>
                    </a:lnTo>
                    <a:lnTo>
                      <a:pt x="106" y="91"/>
                    </a:lnTo>
                    <a:lnTo>
                      <a:pt x="73" y="107"/>
                    </a:lnTo>
                    <a:lnTo>
                      <a:pt x="84" y="129"/>
                    </a:lnTo>
                    <a:lnTo>
                      <a:pt x="101" y="146"/>
                    </a:lnTo>
                    <a:lnTo>
                      <a:pt x="93" y="151"/>
                    </a:lnTo>
                    <a:lnTo>
                      <a:pt x="93" y="168"/>
                    </a:lnTo>
                    <a:lnTo>
                      <a:pt x="16" y="175"/>
                    </a:lnTo>
                    <a:lnTo>
                      <a:pt x="21" y="146"/>
                    </a:lnTo>
                    <a:lnTo>
                      <a:pt x="0" y="129"/>
                    </a:lnTo>
                    <a:lnTo>
                      <a:pt x="0" y="67"/>
                    </a:lnTo>
                    <a:lnTo>
                      <a:pt x="9" y="60"/>
                    </a:lnTo>
                    <a:lnTo>
                      <a:pt x="16" y="39"/>
                    </a:lnTo>
                    <a:lnTo>
                      <a:pt x="31" y="39"/>
                    </a:lnTo>
                    <a:lnTo>
                      <a:pt x="42" y="15"/>
                    </a:lnTo>
                    <a:lnTo>
                      <a:pt x="31" y="15"/>
                    </a:lnTo>
                    <a:lnTo>
                      <a:pt x="42" y="7"/>
                    </a:lnTo>
                    <a:lnTo>
                      <a:pt x="31" y="0"/>
                    </a:lnTo>
                    <a:lnTo>
                      <a:pt x="51" y="0"/>
                    </a:lnTo>
                    <a:lnTo>
                      <a:pt x="51" y="7"/>
                    </a:lnTo>
                    <a:lnTo>
                      <a:pt x="64" y="15"/>
                    </a:lnTo>
                    <a:lnTo>
                      <a:pt x="57" y="25"/>
                    </a:lnTo>
                    <a:lnTo>
                      <a:pt x="64" y="25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99" name="Freeform 298"/>
              <p:cNvSpPr>
                <a:spLocks/>
              </p:cNvSpPr>
              <p:nvPr/>
            </p:nvSpPr>
            <p:spPr bwMode="auto">
              <a:xfrm>
                <a:off x="4882165" y="2305051"/>
                <a:ext cx="6" cy="6"/>
              </a:xfrm>
              <a:custGeom>
                <a:avLst/>
                <a:gdLst>
                  <a:gd name="T0" fmla="*/ 0 w 26"/>
                  <a:gd name="T1" fmla="*/ 0 h 28"/>
                  <a:gd name="T2" fmla="*/ 0 w 26"/>
                  <a:gd name="T3" fmla="*/ 0 h 28"/>
                  <a:gd name="T4" fmla="*/ 0 w 26"/>
                  <a:gd name="T5" fmla="*/ 0 h 28"/>
                  <a:gd name="T6" fmla="*/ 0 w 26"/>
                  <a:gd name="T7" fmla="*/ 0 h 28"/>
                  <a:gd name="T8" fmla="*/ 0 w 26"/>
                  <a:gd name="T9" fmla="*/ 0 h 28"/>
                  <a:gd name="T10" fmla="*/ 0 w 26"/>
                  <a:gd name="T11" fmla="*/ 0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"/>
                  <a:gd name="T19" fmla="*/ 0 h 28"/>
                  <a:gd name="T20" fmla="*/ 26 w 26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" h="28">
                    <a:moveTo>
                      <a:pt x="0" y="0"/>
                    </a:moveTo>
                    <a:lnTo>
                      <a:pt x="0" y="28"/>
                    </a:lnTo>
                    <a:lnTo>
                      <a:pt x="2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67" name="S_GBR"/>
            <p:cNvGrpSpPr>
              <a:grpSpLocks/>
            </p:cNvGrpSpPr>
            <p:nvPr/>
          </p:nvGrpSpPr>
          <p:grpSpPr bwMode="auto">
            <a:xfrm>
              <a:off x="2795065" y="2114550"/>
              <a:ext cx="1979074" cy="4219575"/>
              <a:chOff x="2768445" y="2114550"/>
              <a:chExt cx="208" cy="443"/>
            </a:xfrm>
            <a:solidFill>
              <a:schemeClr val="bg1">
                <a:lumMod val="75000"/>
              </a:schemeClr>
            </a:solidFill>
          </p:grpSpPr>
          <p:sp>
            <p:nvSpPr>
              <p:cNvPr id="294" name="Freeform 293"/>
              <p:cNvSpPr>
                <a:spLocks/>
              </p:cNvSpPr>
              <p:nvPr/>
            </p:nvSpPr>
            <p:spPr bwMode="auto">
              <a:xfrm>
                <a:off x="2768625" y="2114567"/>
                <a:ext cx="9" cy="9"/>
              </a:xfrm>
              <a:custGeom>
                <a:avLst/>
                <a:gdLst>
                  <a:gd name="T0" fmla="*/ 0 w 38"/>
                  <a:gd name="T1" fmla="*/ 0 h 42"/>
                  <a:gd name="T2" fmla="*/ 0 w 38"/>
                  <a:gd name="T3" fmla="*/ 0 h 42"/>
                  <a:gd name="T4" fmla="*/ 0 w 38"/>
                  <a:gd name="T5" fmla="*/ 0 h 42"/>
                  <a:gd name="T6" fmla="*/ 0 w 38"/>
                  <a:gd name="T7" fmla="*/ 0 h 42"/>
                  <a:gd name="T8" fmla="*/ 0 w 38"/>
                  <a:gd name="T9" fmla="*/ 0 h 42"/>
                  <a:gd name="T10" fmla="*/ 0 w 38"/>
                  <a:gd name="T11" fmla="*/ 0 h 42"/>
                  <a:gd name="T12" fmla="*/ 0 w 38"/>
                  <a:gd name="T13" fmla="*/ 0 h 42"/>
                  <a:gd name="T14" fmla="*/ 0 w 38"/>
                  <a:gd name="T15" fmla="*/ 0 h 42"/>
                  <a:gd name="T16" fmla="*/ 0 w 38"/>
                  <a:gd name="T17" fmla="*/ 0 h 42"/>
                  <a:gd name="T18" fmla="*/ 0 w 38"/>
                  <a:gd name="T19" fmla="*/ 0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8"/>
                  <a:gd name="T31" fmla="*/ 0 h 42"/>
                  <a:gd name="T32" fmla="*/ 38 w 38"/>
                  <a:gd name="T33" fmla="*/ 42 h 4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8" h="42">
                    <a:moveTo>
                      <a:pt x="30" y="42"/>
                    </a:moveTo>
                    <a:lnTo>
                      <a:pt x="30" y="32"/>
                    </a:lnTo>
                    <a:lnTo>
                      <a:pt x="8" y="32"/>
                    </a:lnTo>
                    <a:lnTo>
                      <a:pt x="0" y="25"/>
                    </a:lnTo>
                    <a:lnTo>
                      <a:pt x="8" y="0"/>
                    </a:lnTo>
                    <a:lnTo>
                      <a:pt x="30" y="19"/>
                    </a:lnTo>
                    <a:lnTo>
                      <a:pt x="38" y="32"/>
                    </a:lnTo>
                    <a:lnTo>
                      <a:pt x="30" y="4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grpSp>
            <p:nvGrpSpPr>
              <p:cNvPr id="295" name="S_GBR"/>
              <p:cNvGrpSpPr>
                <a:grpSpLocks/>
              </p:cNvGrpSpPr>
              <p:nvPr/>
            </p:nvGrpSpPr>
            <p:grpSpPr bwMode="auto">
              <a:xfrm>
                <a:off x="2768445" y="2114550"/>
                <a:ext cx="208" cy="443"/>
                <a:chOff x="2768445" y="2114550"/>
                <a:chExt cx="208" cy="443"/>
              </a:xfrm>
              <a:grpFill/>
            </p:grpSpPr>
            <p:sp>
              <p:nvSpPr>
                <p:cNvPr id="296" name="Freeform 295"/>
                <p:cNvSpPr>
                  <a:spLocks/>
                </p:cNvSpPr>
                <p:nvPr/>
              </p:nvSpPr>
              <p:spPr bwMode="auto">
                <a:xfrm>
                  <a:off x="2768445" y="2114977"/>
                  <a:ext cx="11" cy="16"/>
                </a:xfrm>
                <a:custGeom>
                  <a:avLst/>
                  <a:gdLst>
                    <a:gd name="T0" fmla="*/ 0 w 50"/>
                    <a:gd name="T1" fmla="*/ 1 h 72"/>
                    <a:gd name="T2" fmla="*/ 0 w 50"/>
                    <a:gd name="T3" fmla="*/ 0 h 72"/>
                    <a:gd name="T4" fmla="*/ 0 w 50"/>
                    <a:gd name="T5" fmla="*/ 0 h 72"/>
                    <a:gd name="T6" fmla="*/ 0 w 50"/>
                    <a:gd name="T7" fmla="*/ 0 h 72"/>
                    <a:gd name="T8" fmla="*/ 0 w 50"/>
                    <a:gd name="T9" fmla="*/ 1 h 72"/>
                    <a:gd name="T10" fmla="*/ 0 w 50"/>
                    <a:gd name="T11" fmla="*/ 1 h 72"/>
                    <a:gd name="T12" fmla="*/ 0 w 50"/>
                    <a:gd name="T13" fmla="*/ 1 h 72"/>
                    <a:gd name="T14" fmla="*/ 0 w 50"/>
                    <a:gd name="T15" fmla="*/ 1 h 72"/>
                    <a:gd name="T16" fmla="*/ 0 w 50"/>
                    <a:gd name="T17" fmla="*/ 1 h 72"/>
                    <a:gd name="T18" fmla="*/ 0 w 50"/>
                    <a:gd name="T19" fmla="*/ 1 h 72"/>
                    <a:gd name="T20" fmla="*/ 0 w 50"/>
                    <a:gd name="T21" fmla="*/ 1 h 7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0"/>
                    <a:gd name="T34" fmla="*/ 0 h 72"/>
                    <a:gd name="T35" fmla="*/ 50 w 50"/>
                    <a:gd name="T36" fmla="*/ 72 h 7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0" h="72">
                      <a:moveTo>
                        <a:pt x="0" y="52"/>
                      </a:moveTo>
                      <a:lnTo>
                        <a:pt x="0" y="0"/>
                      </a:lnTo>
                      <a:lnTo>
                        <a:pt x="9" y="22"/>
                      </a:lnTo>
                      <a:lnTo>
                        <a:pt x="35" y="45"/>
                      </a:lnTo>
                      <a:lnTo>
                        <a:pt x="50" y="52"/>
                      </a:lnTo>
                      <a:lnTo>
                        <a:pt x="44" y="59"/>
                      </a:lnTo>
                      <a:lnTo>
                        <a:pt x="14" y="67"/>
                      </a:lnTo>
                      <a:lnTo>
                        <a:pt x="9" y="72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solidFill>
                  <a:srgbClr val="FFE60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 wrap="square" lIns="36576" tIns="32004" rIns="0" bIns="0" anchor="t" upright="1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297" name="Freeform 296"/>
                <p:cNvSpPr>
                  <a:spLocks/>
                </p:cNvSpPr>
                <p:nvPr/>
              </p:nvSpPr>
              <p:spPr bwMode="auto">
                <a:xfrm>
                  <a:off x="2768628" y="2114550"/>
                  <a:ext cx="25" cy="46"/>
                </a:xfrm>
                <a:custGeom>
                  <a:avLst/>
                  <a:gdLst>
                    <a:gd name="T0" fmla="*/ 0 w 114"/>
                    <a:gd name="T1" fmla="*/ 2 h 213"/>
                    <a:gd name="T2" fmla="*/ 0 w 114"/>
                    <a:gd name="T3" fmla="*/ 2 h 213"/>
                    <a:gd name="T4" fmla="*/ 0 w 114"/>
                    <a:gd name="T5" fmla="*/ 2 h 213"/>
                    <a:gd name="T6" fmla="*/ 0 w 114"/>
                    <a:gd name="T7" fmla="*/ 2 h 213"/>
                    <a:gd name="T8" fmla="*/ 1 w 114"/>
                    <a:gd name="T9" fmla="*/ 2 h 213"/>
                    <a:gd name="T10" fmla="*/ 1 w 114"/>
                    <a:gd name="T11" fmla="*/ 2 h 213"/>
                    <a:gd name="T12" fmla="*/ 1 w 114"/>
                    <a:gd name="T13" fmla="*/ 2 h 213"/>
                    <a:gd name="T14" fmla="*/ 1 w 114"/>
                    <a:gd name="T15" fmla="*/ 2 h 213"/>
                    <a:gd name="T16" fmla="*/ 1 w 114"/>
                    <a:gd name="T17" fmla="*/ 2 h 213"/>
                    <a:gd name="T18" fmla="*/ 1 w 114"/>
                    <a:gd name="T19" fmla="*/ 2 h 213"/>
                    <a:gd name="T20" fmla="*/ 1 w 114"/>
                    <a:gd name="T21" fmla="*/ 2 h 213"/>
                    <a:gd name="T22" fmla="*/ 1 w 114"/>
                    <a:gd name="T23" fmla="*/ 2 h 213"/>
                    <a:gd name="T24" fmla="*/ 1 w 114"/>
                    <a:gd name="T25" fmla="*/ 2 h 213"/>
                    <a:gd name="T26" fmla="*/ 1 w 114"/>
                    <a:gd name="T27" fmla="*/ 1 h 213"/>
                    <a:gd name="T28" fmla="*/ 1 w 114"/>
                    <a:gd name="T29" fmla="*/ 1 h 213"/>
                    <a:gd name="T30" fmla="*/ 1 w 114"/>
                    <a:gd name="T31" fmla="*/ 1 h 213"/>
                    <a:gd name="T32" fmla="*/ 1 w 114"/>
                    <a:gd name="T33" fmla="*/ 1 h 213"/>
                    <a:gd name="T34" fmla="*/ 1 w 114"/>
                    <a:gd name="T35" fmla="*/ 1 h 213"/>
                    <a:gd name="T36" fmla="*/ 0 w 114"/>
                    <a:gd name="T37" fmla="*/ 1 h 213"/>
                    <a:gd name="T38" fmla="*/ 1 w 114"/>
                    <a:gd name="T39" fmla="*/ 0 h 213"/>
                    <a:gd name="T40" fmla="*/ 1 w 114"/>
                    <a:gd name="T41" fmla="*/ 0 h 213"/>
                    <a:gd name="T42" fmla="*/ 0 w 114"/>
                    <a:gd name="T43" fmla="*/ 0 h 213"/>
                    <a:gd name="T44" fmla="*/ 0 w 114"/>
                    <a:gd name="T45" fmla="*/ 0 h 213"/>
                    <a:gd name="T46" fmla="*/ 1 w 114"/>
                    <a:gd name="T47" fmla="*/ 0 h 213"/>
                    <a:gd name="T48" fmla="*/ 0 w 114"/>
                    <a:gd name="T49" fmla="*/ 0 h 213"/>
                    <a:gd name="T50" fmla="*/ 0 w 114"/>
                    <a:gd name="T51" fmla="*/ 0 h 213"/>
                    <a:gd name="T52" fmla="*/ 0 w 114"/>
                    <a:gd name="T53" fmla="*/ 0 h 213"/>
                    <a:gd name="T54" fmla="*/ 0 w 114"/>
                    <a:gd name="T55" fmla="*/ 0 h 213"/>
                    <a:gd name="T56" fmla="*/ 0 w 114"/>
                    <a:gd name="T57" fmla="*/ 0 h 213"/>
                    <a:gd name="T58" fmla="*/ 0 w 114"/>
                    <a:gd name="T59" fmla="*/ 1 h 213"/>
                    <a:gd name="T60" fmla="*/ 0 w 114"/>
                    <a:gd name="T61" fmla="*/ 1 h 213"/>
                    <a:gd name="T62" fmla="*/ 0 w 114"/>
                    <a:gd name="T63" fmla="*/ 1 h 213"/>
                    <a:gd name="T64" fmla="*/ 0 w 114"/>
                    <a:gd name="T65" fmla="*/ 1 h 213"/>
                    <a:gd name="T66" fmla="*/ 0 w 114"/>
                    <a:gd name="T67" fmla="*/ 1 h 213"/>
                    <a:gd name="T68" fmla="*/ 0 w 114"/>
                    <a:gd name="T69" fmla="*/ 1 h 213"/>
                    <a:gd name="T70" fmla="*/ 0 w 114"/>
                    <a:gd name="T71" fmla="*/ 1 h 213"/>
                    <a:gd name="T72" fmla="*/ 0 w 114"/>
                    <a:gd name="T73" fmla="*/ 1 h 213"/>
                    <a:gd name="T74" fmla="*/ 0 w 114"/>
                    <a:gd name="T75" fmla="*/ 1 h 213"/>
                    <a:gd name="T76" fmla="*/ 0 w 114"/>
                    <a:gd name="T77" fmla="*/ 1 h 213"/>
                    <a:gd name="T78" fmla="*/ 1 w 114"/>
                    <a:gd name="T79" fmla="*/ 1 h 213"/>
                    <a:gd name="T80" fmla="*/ 1 w 114"/>
                    <a:gd name="T81" fmla="*/ 1 h 213"/>
                    <a:gd name="T82" fmla="*/ 0 w 114"/>
                    <a:gd name="T83" fmla="*/ 1 h 213"/>
                    <a:gd name="T84" fmla="*/ 0 w 114"/>
                    <a:gd name="T85" fmla="*/ 1 h 213"/>
                    <a:gd name="T86" fmla="*/ 0 w 114"/>
                    <a:gd name="T87" fmla="*/ 2 h 213"/>
                    <a:gd name="T88" fmla="*/ 0 w 114"/>
                    <a:gd name="T89" fmla="*/ 2 h 213"/>
                    <a:gd name="T90" fmla="*/ 0 w 114"/>
                    <a:gd name="T91" fmla="*/ 2 h 213"/>
                    <a:gd name="T92" fmla="*/ 0 w 114"/>
                    <a:gd name="T93" fmla="*/ 2 h 213"/>
                    <a:gd name="T94" fmla="*/ 0 w 114"/>
                    <a:gd name="T95" fmla="*/ 2 h 213"/>
                    <a:gd name="T96" fmla="*/ 0 w 114"/>
                    <a:gd name="T97" fmla="*/ 2 h 213"/>
                    <a:gd name="T98" fmla="*/ 0 w 114"/>
                    <a:gd name="T99" fmla="*/ 2 h 213"/>
                    <a:gd name="T100" fmla="*/ 1 w 114"/>
                    <a:gd name="T101" fmla="*/ 2 h 213"/>
                    <a:gd name="T102" fmla="*/ 1 w 114"/>
                    <a:gd name="T103" fmla="*/ 2 h 213"/>
                    <a:gd name="T104" fmla="*/ 0 w 114"/>
                    <a:gd name="T105" fmla="*/ 2 h 213"/>
                    <a:gd name="T106" fmla="*/ 0 w 114"/>
                    <a:gd name="T107" fmla="*/ 2 h 213"/>
                    <a:gd name="T108" fmla="*/ 0 w 114"/>
                    <a:gd name="T109" fmla="*/ 2 h 213"/>
                    <a:gd name="T110" fmla="*/ 0 w 114"/>
                    <a:gd name="T111" fmla="*/ 2 h 21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14"/>
                    <a:gd name="T169" fmla="*/ 0 h 213"/>
                    <a:gd name="T170" fmla="*/ 114 w 114"/>
                    <a:gd name="T171" fmla="*/ 213 h 21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14" h="213">
                      <a:moveTo>
                        <a:pt x="24" y="213"/>
                      </a:moveTo>
                      <a:lnTo>
                        <a:pt x="29" y="198"/>
                      </a:lnTo>
                      <a:lnTo>
                        <a:pt x="44" y="213"/>
                      </a:lnTo>
                      <a:lnTo>
                        <a:pt x="44" y="198"/>
                      </a:lnTo>
                      <a:lnTo>
                        <a:pt x="61" y="191"/>
                      </a:lnTo>
                      <a:lnTo>
                        <a:pt x="67" y="198"/>
                      </a:lnTo>
                      <a:lnTo>
                        <a:pt x="74" y="191"/>
                      </a:lnTo>
                      <a:lnTo>
                        <a:pt x="107" y="191"/>
                      </a:lnTo>
                      <a:lnTo>
                        <a:pt x="114" y="183"/>
                      </a:lnTo>
                      <a:lnTo>
                        <a:pt x="102" y="183"/>
                      </a:lnTo>
                      <a:lnTo>
                        <a:pt x="114" y="154"/>
                      </a:lnTo>
                      <a:lnTo>
                        <a:pt x="107" y="149"/>
                      </a:lnTo>
                      <a:lnTo>
                        <a:pt x="87" y="149"/>
                      </a:lnTo>
                      <a:lnTo>
                        <a:pt x="102" y="141"/>
                      </a:lnTo>
                      <a:lnTo>
                        <a:pt x="102" y="133"/>
                      </a:lnTo>
                      <a:lnTo>
                        <a:pt x="87" y="109"/>
                      </a:lnTo>
                      <a:lnTo>
                        <a:pt x="81" y="102"/>
                      </a:lnTo>
                      <a:lnTo>
                        <a:pt x="67" y="74"/>
                      </a:lnTo>
                      <a:lnTo>
                        <a:pt x="44" y="65"/>
                      </a:lnTo>
                      <a:lnTo>
                        <a:pt x="74" y="30"/>
                      </a:lnTo>
                      <a:lnTo>
                        <a:pt x="67" y="22"/>
                      </a:lnTo>
                      <a:lnTo>
                        <a:pt x="37" y="30"/>
                      </a:lnTo>
                      <a:lnTo>
                        <a:pt x="37" y="13"/>
                      </a:lnTo>
                      <a:lnTo>
                        <a:pt x="61" y="0"/>
                      </a:lnTo>
                      <a:lnTo>
                        <a:pt x="29" y="0"/>
                      </a:lnTo>
                      <a:lnTo>
                        <a:pt x="17" y="30"/>
                      </a:lnTo>
                      <a:lnTo>
                        <a:pt x="0" y="30"/>
                      </a:lnTo>
                      <a:lnTo>
                        <a:pt x="17" y="35"/>
                      </a:lnTo>
                      <a:lnTo>
                        <a:pt x="24" y="35"/>
                      </a:lnTo>
                      <a:lnTo>
                        <a:pt x="17" y="59"/>
                      </a:lnTo>
                      <a:lnTo>
                        <a:pt x="24" y="59"/>
                      </a:lnTo>
                      <a:lnTo>
                        <a:pt x="24" y="65"/>
                      </a:lnTo>
                      <a:lnTo>
                        <a:pt x="17" y="74"/>
                      </a:lnTo>
                      <a:lnTo>
                        <a:pt x="24" y="74"/>
                      </a:lnTo>
                      <a:lnTo>
                        <a:pt x="29" y="82"/>
                      </a:lnTo>
                      <a:lnTo>
                        <a:pt x="24" y="96"/>
                      </a:lnTo>
                      <a:lnTo>
                        <a:pt x="29" y="102"/>
                      </a:lnTo>
                      <a:lnTo>
                        <a:pt x="44" y="96"/>
                      </a:lnTo>
                      <a:lnTo>
                        <a:pt x="44" y="109"/>
                      </a:lnTo>
                      <a:lnTo>
                        <a:pt x="61" y="109"/>
                      </a:lnTo>
                      <a:lnTo>
                        <a:pt x="61" y="133"/>
                      </a:lnTo>
                      <a:lnTo>
                        <a:pt x="29" y="133"/>
                      </a:lnTo>
                      <a:lnTo>
                        <a:pt x="37" y="141"/>
                      </a:lnTo>
                      <a:lnTo>
                        <a:pt x="29" y="149"/>
                      </a:lnTo>
                      <a:lnTo>
                        <a:pt x="37" y="149"/>
                      </a:lnTo>
                      <a:lnTo>
                        <a:pt x="37" y="154"/>
                      </a:lnTo>
                      <a:lnTo>
                        <a:pt x="24" y="161"/>
                      </a:lnTo>
                      <a:lnTo>
                        <a:pt x="29" y="175"/>
                      </a:lnTo>
                      <a:lnTo>
                        <a:pt x="37" y="175"/>
                      </a:lnTo>
                      <a:lnTo>
                        <a:pt x="44" y="183"/>
                      </a:lnTo>
                      <a:lnTo>
                        <a:pt x="61" y="175"/>
                      </a:lnTo>
                      <a:lnTo>
                        <a:pt x="61" y="183"/>
                      </a:lnTo>
                      <a:lnTo>
                        <a:pt x="37" y="183"/>
                      </a:lnTo>
                      <a:lnTo>
                        <a:pt x="24" y="213"/>
                      </a:lnTo>
                      <a:close/>
                    </a:path>
                  </a:pathLst>
                </a:custGeom>
                <a:solidFill>
                  <a:srgbClr val="FFE60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 wrap="square" lIns="36576" tIns="32004" rIns="0" bIns="0" anchor="t" upright="1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  <a:p>
                  <a:pPr algn="l" rtl="0">
                    <a:defRPr sz="1000"/>
                  </a:pPr>
                  <a:endParaRPr lang="nl-NL" sz="1600" b="0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grpSp>
          <p:nvGrpSpPr>
            <p:cNvPr id="268" name="S_FRA"/>
            <p:cNvGrpSpPr>
              <a:grpSpLocks/>
            </p:cNvGrpSpPr>
            <p:nvPr/>
          </p:nvGrpSpPr>
          <p:grpSpPr bwMode="auto">
            <a:xfrm>
              <a:off x="4576715" y="2495550"/>
              <a:ext cx="419303" cy="438150"/>
              <a:chOff x="4576715" y="2495550"/>
              <a:chExt cx="44" cy="46"/>
            </a:xfrm>
            <a:solidFill>
              <a:schemeClr val="bg1">
                <a:lumMod val="75000"/>
              </a:schemeClr>
            </a:solidFill>
          </p:grpSpPr>
          <p:sp>
            <p:nvSpPr>
              <p:cNvPr id="292" name="Freeform 291"/>
              <p:cNvSpPr>
                <a:spLocks/>
              </p:cNvSpPr>
              <p:nvPr/>
            </p:nvSpPr>
            <p:spPr bwMode="auto">
              <a:xfrm>
                <a:off x="4576715" y="2495550"/>
                <a:ext cx="37" cy="40"/>
              </a:xfrm>
              <a:custGeom>
                <a:avLst/>
                <a:gdLst>
                  <a:gd name="T0" fmla="*/ 1 w 172"/>
                  <a:gd name="T1" fmla="*/ 0 h 185"/>
                  <a:gd name="T2" fmla="*/ 1 w 172"/>
                  <a:gd name="T3" fmla="*/ 0 h 185"/>
                  <a:gd name="T4" fmla="*/ 1 w 172"/>
                  <a:gd name="T5" fmla="*/ 0 h 185"/>
                  <a:gd name="T6" fmla="*/ 1 w 172"/>
                  <a:gd name="T7" fmla="*/ 0 h 185"/>
                  <a:gd name="T8" fmla="*/ 0 w 172"/>
                  <a:gd name="T9" fmla="*/ 0 h 185"/>
                  <a:gd name="T10" fmla="*/ 0 w 172"/>
                  <a:gd name="T11" fmla="*/ 0 h 185"/>
                  <a:gd name="T12" fmla="*/ 0 w 172"/>
                  <a:gd name="T13" fmla="*/ 0 h 185"/>
                  <a:gd name="T14" fmla="*/ 0 w 172"/>
                  <a:gd name="T15" fmla="*/ 1 h 185"/>
                  <a:gd name="T16" fmla="*/ 0 w 172"/>
                  <a:gd name="T17" fmla="*/ 1 h 185"/>
                  <a:gd name="T18" fmla="*/ 0 w 172"/>
                  <a:gd name="T19" fmla="*/ 1 h 185"/>
                  <a:gd name="T20" fmla="*/ 0 w 172"/>
                  <a:gd name="T21" fmla="*/ 1 h 185"/>
                  <a:gd name="T22" fmla="*/ 0 w 172"/>
                  <a:gd name="T23" fmla="*/ 1 h 185"/>
                  <a:gd name="T24" fmla="*/ 0 w 172"/>
                  <a:gd name="T25" fmla="*/ 1 h 185"/>
                  <a:gd name="T26" fmla="*/ 0 w 172"/>
                  <a:gd name="T27" fmla="*/ 1 h 185"/>
                  <a:gd name="T28" fmla="*/ 0 w 172"/>
                  <a:gd name="T29" fmla="*/ 2 h 185"/>
                  <a:gd name="T30" fmla="*/ 1 w 172"/>
                  <a:gd name="T31" fmla="*/ 2 h 185"/>
                  <a:gd name="T32" fmla="*/ 1 w 172"/>
                  <a:gd name="T33" fmla="*/ 2 h 185"/>
                  <a:gd name="T34" fmla="*/ 1 w 172"/>
                  <a:gd name="T35" fmla="*/ 2 h 185"/>
                  <a:gd name="T36" fmla="*/ 1 w 172"/>
                  <a:gd name="T37" fmla="*/ 2 h 185"/>
                  <a:gd name="T38" fmla="*/ 2 w 172"/>
                  <a:gd name="T39" fmla="*/ 2 h 185"/>
                  <a:gd name="T40" fmla="*/ 2 w 172"/>
                  <a:gd name="T41" fmla="*/ 2 h 185"/>
                  <a:gd name="T42" fmla="*/ 2 w 172"/>
                  <a:gd name="T43" fmla="*/ 2 h 185"/>
                  <a:gd name="T44" fmla="*/ 2 w 172"/>
                  <a:gd name="T45" fmla="*/ 1 h 185"/>
                  <a:gd name="T46" fmla="*/ 2 w 172"/>
                  <a:gd name="T47" fmla="*/ 1 h 185"/>
                  <a:gd name="T48" fmla="*/ 2 w 172"/>
                  <a:gd name="T49" fmla="*/ 1 h 185"/>
                  <a:gd name="T50" fmla="*/ 2 w 172"/>
                  <a:gd name="T51" fmla="*/ 1 h 185"/>
                  <a:gd name="T52" fmla="*/ 2 w 172"/>
                  <a:gd name="T53" fmla="*/ 1 h 185"/>
                  <a:gd name="T54" fmla="*/ 2 w 172"/>
                  <a:gd name="T55" fmla="*/ 1 h 185"/>
                  <a:gd name="T56" fmla="*/ 2 w 172"/>
                  <a:gd name="T57" fmla="*/ 1 h 185"/>
                  <a:gd name="T58" fmla="*/ 2 w 172"/>
                  <a:gd name="T59" fmla="*/ 0 h 185"/>
                  <a:gd name="T60" fmla="*/ 1 w 172"/>
                  <a:gd name="T61" fmla="*/ 0 h 185"/>
                  <a:gd name="T62" fmla="*/ 1 w 172"/>
                  <a:gd name="T63" fmla="*/ 0 h 185"/>
                  <a:gd name="T64" fmla="*/ 1 w 172"/>
                  <a:gd name="T65" fmla="*/ 0 h 185"/>
                  <a:gd name="T66" fmla="*/ 1 w 172"/>
                  <a:gd name="T67" fmla="*/ 0 h 185"/>
                  <a:gd name="T68" fmla="*/ 1 w 172"/>
                  <a:gd name="T69" fmla="*/ 0 h 185"/>
                  <a:gd name="T70" fmla="*/ 1 w 172"/>
                  <a:gd name="T71" fmla="*/ 0 h 185"/>
                  <a:gd name="T72" fmla="*/ 1 w 172"/>
                  <a:gd name="T73" fmla="*/ 0 h 185"/>
                  <a:gd name="T74" fmla="*/ 1 w 172"/>
                  <a:gd name="T75" fmla="*/ 0 h 18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2"/>
                  <a:gd name="T115" fmla="*/ 0 h 185"/>
                  <a:gd name="T116" fmla="*/ 172 w 172"/>
                  <a:gd name="T117" fmla="*/ 185 h 18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2" h="185">
                    <a:moveTo>
                      <a:pt x="102" y="0"/>
                    </a:moveTo>
                    <a:lnTo>
                      <a:pt x="87" y="8"/>
                    </a:lnTo>
                    <a:lnTo>
                      <a:pt x="87" y="32"/>
                    </a:lnTo>
                    <a:lnTo>
                      <a:pt x="58" y="47"/>
                    </a:lnTo>
                    <a:lnTo>
                      <a:pt x="52" y="47"/>
                    </a:lnTo>
                    <a:lnTo>
                      <a:pt x="45" y="39"/>
                    </a:lnTo>
                    <a:lnTo>
                      <a:pt x="37" y="39"/>
                    </a:lnTo>
                    <a:lnTo>
                      <a:pt x="45" y="54"/>
                    </a:lnTo>
                    <a:lnTo>
                      <a:pt x="30" y="62"/>
                    </a:lnTo>
                    <a:lnTo>
                      <a:pt x="30" y="54"/>
                    </a:lnTo>
                    <a:lnTo>
                      <a:pt x="0" y="62"/>
                    </a:lnTo>
                    <a:lnTo>
                      <a:pt x="0" y="76"/>
                    </a:lnTo>
                    <a:lnTo>
                      <a:pt x="37" y="84"/>
                    </a:lnTo>
                    <a:lnTo>
                      <a:pt x="52" y="106"/>
                    </a:lnTo>
                    <a:lnTo>
                      <a:pt x="45" y="168"/>
                    </a:lnTo>
                    <a:lnTo>
                      <a:pt x="58" y="178"/>
                    </a:lnTo>
                    <a:lnTo>
                      <a:pt x="102" y="185"/>
                    </a:lnTo>
                    <a:lnTo>
                      <a:pt x="102" y="178"/>
                    </a:lnTo>
                    <a:lnTo>
                      <a:pt x="124" y="168"/>
                    </a:lnTo>
                    <a:lnTo>
                      <a:pt x="150" y="178"/>
                    </a:lnTo>
                    <a:lnTo>
                      <a:pt x="161" y="178"/>
                    </a:lnTo>
                    <a:lnTo>
                      <a:pt x="166" y="160"/>
                    </a:lnTo>
                    <a:lnTo>
                      <a:pt x="161" y="138"/>
                    </a:lnTo>
                    <a:lnTo>
                      <a:pt x="161" y="101"/>
                    </a:lnTo>
                    <a:lnTo>
                      <a:pt x="150" y="106"/>
                    </a:lnTo>
                    <a:lnTo>
                      <a:pt x="150" y="101"/>
                    </a:lnTo>
                    <a:lnTo>
                      <a:pt x="161" y="84"/>
                    </a:lnTo>
                    <a:lnTo>
                      <a:pt x="166" y="84"/>
                    </a:lnTo>
                    <a:lnTo>
                      <a:pt x="172" y="54"/>
                    </a:lnTo>
                    <a:lnTo>
                      <a:pt x="150" y="39"/>
                    </a:lnTo>
                    <a:lnTo>
                      <a:pt x="130" y="39"/>
                    </a:lnTo>
                    <a:lnTo>
                      <a:pt x="130" y="32"/>
                    </a:lnTo>
                    <a:lnTo>
                      <a:pt x="124" y="32"/>
                    </a:lnTo>
                    <a:lnTo>
                      <a:pt x="124" y="15"/>
                    </a:lnTo>
                    <a:lnTo>
                      <a:pt x="102" y="8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93" name="Freeform 292"/>
              <p:cNvSpPr>
                <a:spLocks/>
              </p:cNvSpPr>
              <p:nvPr/>
            </p:nvSpPr>
            <p:spPr bwMode="auto">
              <a:xfrm>
                <a:off x="4576754" y="2495588"/>
                <a:ext cx="5" cy="8"/>
              </a:xfrm>
              <a:custGeom>
                <a:avLst/>
                <a:gdLst>
                  <a:gd name="T0" fmla="*/ 0 w 23"/>
                  <a:gd name="T1" fmla="*/ 0 h 38"/>
                  <a:gd name="T2" fmla="*/ 0 w 23"/>
                  <a:gd name="T3" fmla="*/ 0 h 38"/>
                  <a:gd name="T4" fmla="*/ 0 w 23"/>
                  <a:gd name="T5" fmla="*/ 0 h 38"/>
                  <a:gd name="T6" fmla="*/ 0 w 23"/>
                  <a:gd name="T7" fmla="*/ 0 h 38"/>
                  <a:gd name="T8" fmla="*/ 0 w 23"/>
                  <a:gd name="T9" fmla="*/ 0 h 38"/>
                  <a:gd name="T10" fmla="*/ 0 w 23"/>
                  <a:gd name="T11" fmla="*/ 0 h 38"/>
                  <a:gd name="T12" fmla="*/ 0 w 23"/>
                  <a:gd name="T13" fmla="*/ 0 h 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38"/>
                  <a:gd name="T23" fmla="*/ 23 w 23"/>
                  <a:gd name="T24" fmla="*/ 38 h 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38">
                    <a:moveTo>
                      <a:pt x="0" y="7"/>
                    </a:moveTo>
                    <a:lnTo>
                      <a:pt x="0" y="30"/>
                    </a:lnTo>
                    <a:lnTo>
                      <a:pt x="23" y="38"/>
                    </a:lnTo>
                    <a:lnTo>
                      <a:pt x="23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69" name="S_ITA"/>
            <p:cNvGrpSpPr>
              <a:grpSpLocks/>
            </p:cNvGrpSpPr>
            <p:nvPr/>
          </p:nvGrpSpPr>
          <p:grpSpPr bwMode="auto">
            <a:xfrm>
              <a:off x="4901129" y="2686050"/>
              <a:ext cx="332113" cy="438150"/>
              <a:chOff x="4901129" y="2686050"/>
              <a:chExt cx="35" cy="46"/>
            </a:xfrm>
            <a:solidFill>
              <a:schemeClr val="bg1">
                <a:lumMod val="75000"/>
              </a:schemeClr>
            </a:solidFill>
          </p:grpSpPr>
          <p:sp>
            <p:nvSpPr>
              <p:cNvPr id="289" name="Freeform 288"/>
              <p:cNvSpPr>
                <a:spLocks/>
              </p:cNvSpPr>
              <p:nvPr/>
            </p:nvSpPr>
            <p:spPr bwMode="auto">
              <a:xfrm>
                <a:off x="4901129" y="2686050"/>
                <a:ext cx="35" cy="41"/>
              </a:xfrm>
              <a:custGeom>
                <a:avLst/>
                <a:gdLst>
                  <a:gd name="T0" fmla="*/ 0 w 156"/>
                  <a:gd name="T1" fmla="*/ 1 h 188"/>
                  <a:gd name="T2" fmla="*/ 0 w 156"/>
                  <a:gd name="T3" fmla="*/ 1 h 188"/>
                  <a:gd name="T4" fmla="*/ 0 w 156"/>
                  <a:gd name="T5" fmla="*/ 1 h 188"/>
                  <a:gd name="T6" fmla="*/ 1 w 156"/>
                  <a:gd name="T7" fmla="*/ 1 h 188"/>
                  <a:gd name="T8" fmla="*/ 1 w 156"/>
                  <a:gd name="T9" fmla="*/ 1 h 188"/>
                  <a:gd name="T10" fmla="*/ 1 w 156"/>
                  <a:gd name="T11" fmla="*/ 1 h 188"/>
                  <a:gd name="T12" fmla="*/ 1 w 156"/>
                  <a:gd name="T13" fmla="*/ 1 h 188"/>
                  <a:gd name="T14" fmla="*/ 1 w 156"/>
                  <a:gd name="T15" fmla="*/ 2 h 188"/>
                  <a:gd name="T16" fmla="*/ 1 w 156"/>
                  <a:gd name="T17" fmla="*/ 2 h 188"/>
                  <a:gd name="T18" fmla="*/ 1 w 156"/>
                  <a:gd name="T19" fmla="*/ 2 h 188"/>
                  <a:gd name="T20" fmla="*/ 1 w 156"/>
                  <a:gd name="T21" fmla="*/ 2 h 188"/>
                  <a:gd name="T22" fmla="*/ 2 w 156"/>
                  <a:gd name="T23" fmla="*/ 2 h 188"/>
                  <a:gd name="T24" fmla="*/ 2 w 156"/>
                  <a:gd name="T25" fmla="*/ 2 h 188"/>
                  <a:gd name="T26" fmla="*/ 2 w 156"/>
                  <a:gd name="T27" fmla="*/ 1 h 188"/>
                  <a:gd name="T28" fmla="*/ 2 w 156"/>
                  <a:gd name="T29" fmla="*/ 2 h 188"/>
                  <a:gd name="T30" fmla="*/ 2 w 156"/>
                  <a:gd name="T31" fmla="*/ 2 h 188"/>
                  <a:gd name="T32" fmla="*/ 1 w 156"/>
                  <a:gd name="T33" fmla="*/ 1 h 188"/>
                  <a:gd name="T34" fmla="*/ 2 w 156"/>
                  <a:gd name="T35" fmla="*/ 1 h 188"/>
                  <a:gd name="T36" fmla="*/ 1 w 156"/>
                  <a:gd name="T37" fmla="*/ 1 h 188"/>
                  <a:gd name="T38" fmla="*/ 1 w 156"/>
                  <a:gd name="T39" fmla="*/ 1 h 188"/>
                  <a:gd name="T40" fmla="*/ 1 w 156"/>
                  <a:gd name="T41" fmla="*/ 1 h 188"/>
                  <a:gd name="T42" fmla="*/ 1 w 156"/>
                  <a:gd name="T43" fmla="*/ 1 h 188"/>
                  <a:gd name="T44" fmla="*/ 1 w 156"/>
                  <a:gd name="T45" fmla="*/ 0 h 188"/>
                  <a:gd name="T46" fmla="*/ 1 w 156"/>
                  <a:gd name="T47" fmla="*/ 0 h 188"/>
                  <a:gd name="T48" fmla="*/ 1 w 156"/>
                  <a:gd name="T49" fmla="*/ 0 h 188"/>
                  <a:gd name="T50" fmla="*/ 1 w 156"/>
                  <a:gd name="T51" fmla="*/ 0 h 188"/>
                  <a:gd name="T52" fmla="*/ 0 w 156"/>
                  <a:gd name="T53" fmla="*/ 0 h 188"/>
                  <a:gd name="T54" fmla="*/ 0 w 156"/>
                  <a:gd name="T55" fmla="*/ 0 h 188"/>
                  <a:gd name="T56" fmla="*/ 0 w 156"/>
                  <a:gd name="T57" fmla="*/ 0 h 188"/>
                  <a:gd name="T58" fmla="*/ 0 w 156"/>
                  <a:gd name="T59" fmla="*/ 0 h 188"/>
                  <a:gd name="T60" fmla="*/ 0 w 156"/>
                  <a:gd name="T61" fmla="*/ 0 h 188"/>
                  <a:gd name="T62" fmla="*/ 0 w 156"/>
                  <a:gd name="T63" fmla="*/ 0 h 188"/>
                  <a:gd name="T64" fmla="*/ 0 w 156"/>
                  <a:gd name="T65" fmla="*/ 0 h 188"/>
                  <a:gd name="T66" fmla="*/ 0 w 156"/>
                  <a:gd name="T67" fmla="*/ 0 h 188"/>
                  <a:gd name="T68" fmla="*/ 0 w 156"/>
                  <a:gd name="T69" fmla="*/ 1 h 188"/>
                  <a:gd name="T70" fmla="*/ 0 w 156"/>
                  <a:gd name="T71" fmla="*/ 1 h 188"/>
                  <a:gd name="T72" fmla="*/ 0 w 156"/>
                  <a:gd name="T73" fmla="*/ 1 h 18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6"/>
                  <a:gd name="T112" fmla="*/ 0 h 188"/>
                  <a:gd name="T113" fmla="*/ 156 w 156"/>
                  <a:gd name="T114" fmla="*/ 188 h 18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6" h="188">
                    <a:moveTo>
                      <a:pt x="7" y="69"/>
                    </a:moveTo>
                    <a:lnTo>
                      <a:pt x="22" y="59"/>
                    </a:lnTo>
                    <a:lnTo>
                      <a:pt x="43" y="69"/>
                    </a:lnTo>
                    <a:lnTo>
                      <a:pt x="57" y="91"/>
                    </a:lnTo>
                    <a:lnTo>
                      <a:pt x="65" y="91"/>
                    </a:lnTo>
                    <a:lnTo>
                      <a:pt x="77" y="112"/>
                    </a:lnTo>
                    <a:lnTo>
                      <a:pt x="92" y="122"/>
                    </a:lnTo>
                    <a:lnTo>
                      <a:pt x="107" y="144"/>
                    </a:lnTo>
                    <a:lnTo>
                      <a:pt x="122" y="144"/>
                    </a:lnTo>
                    <a:lnTo>
                      <a:pt x="120" y="165"/>
                    </a:lnTo>
                    <a:lnTo>
                      <a:pt x="111" y="188"/>
                    </a:lnTo>
                    <a:lnTo>
                      <a:pt x="129" y="181"/>
                    </a:lnTo>
                    <a:lnTo>
                      <a:pt x="136" y="166"/>
                    </a:lnTo>
                    <a:lnTo>
                      <a:pt x="136" y="129"/>
                    </a:lnTo>
                    <a:lnTo>
                      <a:pt x="147" y="151"/>
                    </a:lnTo>
                    <a:lnTo>
                      <a:pt x="156" y="144"/>
                    </a:lnTo>
                    <a:lnTo>
                      <a:pt x="122" y="112"/>
                    </a:lnTo>
                    <a:lnTo>
                      <a:pt x="129" y="106"/>
                    </a:lnTo>
                    <a:lnTo>
                      <a:pt x="122" y="106"/>
                    </a:lnTo>
                    <a:lnTo>
                      <a:pt x="99" y="91"/>
                    </a:lnTo>
                    <a:lnTo>
                      <a:pt x="92" y="77"/>
                    </a:lnTo>
                    <a:lnTo>
                      <a:pt x="77" y="59"/>
                    </a:lnTo>
                    <a:lnTo>
                      <a:pt x="77" y="30"/>
                    </a:lnTo>
                    <a:lnTo>
                      <a:pt x="92" y="30"/>
                    </a:lnTo>
                    <a:lnTo>
                      <a:pt x="92" y="8"/>
                    </a:lnTo>
                    <a:lnTo>
                      <a:pt x="77" y="0"/>
                    </a:lnTo>
                    <a:lnTo>
                      <a:pt x="50" y="0"/>
                    </a:lnTo>
                    <a:lnTo>
                      <a:pt x="43" y="15"/>
                    </a:lnTo>
                    <a:lnTo>
                      <a:pt x="35" y="8"/>
                    </a:lnTo>
                    <a:lnTo>
                      <a:pt x="35" y="15"/>
                    </a:lnTo>
                    <a:lnTo>
                      <a:pt x="22" y="15"/>
                    </a:lnTo>
                    <a:lnTo>
                      <a:pt x="7" y="30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7" y="6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90" name="Freeform 289"/>
              <p:cNvSpPr>
                <a:spLocks/>
              </p:cNvSpPr>
              <p:nvPr/>
            </p:nvSpPr>
            <p:spPr bwMode="auto">
              <a:xfrm>
                <a:off x="4901132" y="2686076"/>
                <a:ext cx="7" cy="10"/>
              </a:xfrm>
              <a:custGeom>
                <a:avLst/>
                <a:gdLst>
                  <a:gd name="T0" fmla="*/ 0 w 29"/>
                  <a:gd name="T1" fmla="*/ 0 h 44"/>
                  <a:gd name="T2" fmla="*/ 0 w 29"/>
                  <a:gd name="T3" fmla="*/ 0 h 44"/>
                  <a:gd name="T4" fmla="*/ 0 w 29"/>
                  <a:gd name="T5" fmla="*/ 0 h 44"/>
                  <a:gd name="T6" fmla="*/ 0 w 29"/>
                  <a:gd name="T7" fmla="*/ 0 h 44"/>
                  <a:gd name="T8" fmla="*/ 0 w 29"/>
                  <a:gd name="T9" fmla="*/ 0 h 44"/>
                  <a:gd name="T10" fmla="*/ 0 w 29"/>
                  <a:gd name="T11" fmla="*/ 0 h 44"/>
                  <a:gd name="T12" fmla="*/ 0 w 29"/>
                  <a:gd name="T13" fmla="*/ 0 h 44"/>
                  <a:gd name="T14" fmla="*/ 0 w 29"/>
                  <a:gd name="T15" fmla="*/ 0 h 44"/>
                  <a:gd name="T16" fmla="*/ 0 w 29"/>
                  <a:gd name="T17" fmla="*/ 0 h 4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44"/>
                  <a:gd name="T29" fmla="*/ 29 w 29"/>
                  <a:gd name="T30" fmla="*/ 44 h 4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44">
                    <a:moveTo>
                      <a:pt x="0" y="0"/>
                    </a:moveTo>
                    <a:lnTo>
                      <a:pt x="9" y="36"/>
                    </a:lnTo>
                    <a:lnTo>
                      <a:pt x="9" y="44"/>
                    </a:lnTo>
                    <a:lnTo>
                      <a:pt x="20" y="36"/>
                    </a:lnTo>
                    <a:lnTo>
                      <a:pt x="29" y="7"/>
                    </a:ln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91" name="Freeform 290"/>
              <p:cNvSpPr>
                <a:spLocks/>
              </p:cNvSpPr>
              <p:nvPr/>
            </p:nvSpPr>
            <p:spPr bwMode="auto">
              <a:xfrm>
                <a:off x="4901146" y="2686089"/>
                <a:ext cx="10" cy="7"/>
              </a:xfrm>
              <a:custGeom>
                <a:avLst/>
                <a:gdLst>
                  <a:gd name="T0" fmla="*/ 0 w 45"/>
                  <a:gd name="T1" fmla="*/ 0 h 29"/>
                  <a:gd name="T2" fmla="*/ 0 w 45"/>
                  <a:gd name="T3" fmla="*/ 0 h 29"/>
                  <a:gd name="T4" fmla="*/ 0 w 45"/>
                  <a:gd name="T5" fmla="*/ 0 h 29"/>
                  <a:gd name="T6" fmla="*/ 0 w 45"/>
                  <a:gd name="T7" fmla="*/ 0 h 29"/>
                  <a:gd name="T8" fmla="*/ 0 w 45"/>
                  <a:gd name="T9" fmla="*/ 0 h 29"/>
                  <a:gd name="T10" fmla="*/ 0 w 45"/>
                  <a:gd name="T11" fmla="*/ 0 h 29"/>
                  <a:gd name="T12" fmla="*/ 0 w 45"/>
                  <a:gd name="T13" fmla="*/ 0 h 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29"/>
                  <a:gd name="T23" fmla="*/ 45 w 45"/>
                  <a:gd name="T24" fmla="*/ 29 h 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29">
                    <a:moveTo>
                      <a:pt x="0" y="0"/>
                    </a:moveTo>
                    <a:lnTo>
                      <a:pt x="0" y="9"/>
                    </a:lnTo>
                    <a:lnTo>
                      <a:pt x="31" y="29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70" name="S_GRC"/>
            <p:cNvGrpSpPr>
              <a:grpSpLocks/>
            </p:cNvGrpSpPr>
            <p:nvPr/>
          </p:nvGrpSpPr>
          <p:grpSpPr bwMode="auto">
            <a:xfrm>
              <a:off x="5271198" y="2914650"/>
              <a:ext cx="185393" cy="209550"/>
              <a:chOff x="5271198" y="2914650"/>
              <a:chExt cx="19" cy="22"/>
            </a:xfrm>
            <a:solidFill>
              <a:schemeClr val="bg1">
                <a:lumMod val="75000"/>
              </a:schemeClr>
            </a:solidFill>
          </p:grpSpPr>
          <p:sp>
            <p:nvSpPr>
              <p:cNvPr id="287" name="Freeform 286"/>
              <p:cNvSpPr>
                <a:spLocks/>
              </p:cNvSpPr>
              <p:nvPr/>
            </p:nvSpPr>
            <p:spPr bwMode="auto">
              <a:xfrm>
                <a:off x="5271198" y="2914650"/>
                <a:ext cx="19" cy="16"/>
              </a:xfrm>
              <a:custGeom>
                <a:avLst/>
                <a:gdLst>
                  <a:gd name="T0" fmla="*/ 0 w 85"/>
                  <a:gd name="T1" fmla="*/ 0 h 74"/>
                  <a:gd name="T2" fmla="*/ 0 w 85"/>
                  <a:gd name="T3" fmla="*/ 0 h 74"/>
                  <a:gd name="T4" fmla="*/ 1 w 85"/>
                  <a:gd name="T5" fmla="*/ 0 h 74"/>
                  <a:gd name="T6" fmla="*/ 1 w 85"/>
                  <a:gd name="T7" fmla="*/ 0 h 74"/>
                  <a:gd name="T8" fmla="*/ 1 w 85"/>
                  <a:gd name="T9" fmla="*/ 0 h 74"/>
                  <a:gd name="T10" fmla="*/ 1 w 85"/>
                  <a:gd name="T11" fmla="*/ 0 h 74"/>
                  <a:gd name="T12" fmla="*/ 1 w 85"/>
                  <a:gd name="T13" fmla="*/ 0 h 74"/>
                  <a:gd name="T14" fmla="*/ 0 w 85"/>
                  <a:gd name="T15" fmla="*/ 0 h 74"/>
                  <a:gd name="T16" fmla="*/ 0 w 85"/>
                  <a:gd name="T17" fmla="*/ 0 h 74"/>
                  <a:gd name="T18" fmla="*/ 0 w 85"/>
                  <a:gd name="T19" fmla="*/ 0 h 74"/>
                  <a:gd name="T20" fmla="*/ 0 w 85"/>
                  <a:gd name="T21" fmla="*/ 0 h 74"/>
                  <a:gd name="T22" fmla="*/ 0 w 85"/>
                  <a:gd name="T23" fmla="*/ 0 h 74"/>
                  <a:gd name="T24" fmla="*/ 0 w 85"/>
                  <a:gd name="T25" fmla="*/ 0 h 74"/>
                  <a:gd name="T26" fmla="*/ 1 w 85"/>
                  <a:gd name="T27" fmla="*/ 1 h 74"/>
                  <a:gd name="T28" fmla="*/ 0 w 85"/>
                  <a:gd name="T29" fmla="*/ 1 h 74"/>
                  <a:gd name="T30" fmla="*/ 0 w 85"/>
                  <a:gd name="T31" fmla="*/ 1 h 74"/>
                  <a:gd name="T32" fmla="*/ 0 w 85"/>
                  <a:gd name="T33" fmla="*/ 1 h 74"/>
                  <a:gd name="T34" fmla="*/ 0 w 85"/>
                  <a:gd name="T35" fmla="*/ 1 h 74"/>
                  <a:gd name="T36" fmla="*/ 0 w 85"/>
                  <a:gd name="T37" fmla="*/ 0 h 74"/>
                  <a:gd name="T38" fmla="*/ 0 w 85"/>
                  <a:gd name="T39" fmla="*/ 0 h 74"/>
                  <a:gd name="T40" fmla="*/ 0 w 85"/>
                  <a:gd name="T41" fmla="*/ 0 h 74"/>
                  <a:gd name="T42" fmla="*/ 0 w 85"/>
                  <a:gd name="T43" fmla="*/ 0 h 74"/>
                  <a:gd name="T44" fmla="*/ 0 w 85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5"/>
                  <a:gd name="T70" fmla="*/ 0 h 74"/>
                  <a:gd name="T71" fmla="*/ 85 w 85"/>
                  <a:gd name="T72" fmla="*/ 74 h 7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5" h="74">
                    <a:moveTo>
                      <a:pt x="15" y="10"/>
                    </a:moveTo>
                    <a:lnTo>
                      <a:pt x="42" y="0"/>
                    </a:lnTo>
                    <a:lnTo>
                      <a:pt x="57" y="0"/>
                    </a:lnTo>
                    <a:lnTo>
                      <a:pt x="80" y="10"/>
                    </a:lnTo>
                    <a:lnTo>
                      <a:pt x="85" y="0"/>
                    </a:lnTo>
                    <a:lnTo>
                      <a:pt x="80" y="17"/>
                    </a:lnTo>
                    <a:lnTo>
                      <a:pt x="57" y="10"/>
                    </a:lnTo>
                    <a:lnTo>
                      <a:pt x="48" y="17"/>
                    </a:lnTo>
                    <a:lnTo>
                      <a:pt x="48" y="32"/>
                    </a:lnTo>
                    <a:lnTo>
                      <a:pt x="42" y="32"/>
                    </a:lnTo>
                    <a:lnTo>
                      <a:pt x="37" y="17"/>
                    </a:lnTo>
                    <a:lnTo>
                      <a:pt x="37" y="32"/>
                    </a:lnTo>
                    <a:lnTo>
                      <a:pt x="42" y="46"/>
                    </a:lnTo>
                    <a:lnTo>
                      <a:pt x="57" y="68"/>
                    </a:lnTo>
                    <a:lnTo>
                      <a:pt x="48" y="68"/>
                    </a:lnTo>
                    <a:lnTo>
                      <a:pt x="48" y="74"/>
                    </a:lnTo>
                    <a:lnTo>
                      <a:pt x="37" y="68"/>
                    </a:lnTo>
                    <a:lnTo>
                      <a:pt x="15" y="68"/>
                    </a:lnTo>
                    <a:lnTo>
                      <a:pt x="0" y="39"/>
                    </a:lnTo>
                    <a:lnTo>
                      <a:pt x="15" y="17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88" name="Freeform 287"/>
              <p:cNvSpPr>
                <a:spLocks/>
              </p:cNvSpPr>
              <p:nvPr/>
            </p:nvSpPr>
            <p:spPr bwMode="auto">
              <a:xfrm>
                <a:off x="5271201" y="2914665"/>
                <a:ext cx="7" cy="7"/>
              </a:xfrm>
              <a:custGeom>
                <a:avLst/>
                <a:gdLst>
                  <a:gd name="T0" fmla="*/ 0 w 30"/>
                  <a:gd name="T1" fmla="*/ 0 h 29"/>
                  <a:gd name="T2" fmla="*/ 0 w 30"/>
                  <a:gd name="T3" fmla="*/ 0 h 29"/>
                  <a:gd name="T4" fmla="*/ 0 w 30"/>
                  <a:gd name="T5" fmla="*/ 0 h 29"/>
                  <a:gd name="T6" fmla="*/ 0 w 30"/>
                  <a:gd name="T7" fmla="*/ 0 h 29"/>
                  <a:gd name="T8" fmla="*/ 0 w 30"/>
                  <a:gd name="T9" fmla="*/ 0 h 29"/>
                  <a:gd name="T10" fmla="*/ 0 w 30"/>
                  <a:gd name="T11" fmla="*/ 0 h 29"/>
                  <a:gd name="T12" fmla="*/ 0 w 30"/>
                  <a:gd name="T13" fmla="*/ 0 h 29"/>
                  <a:gd name="T14" fmla="*/ 0 w 30"/>
                  <a:gd name="T15" fmla="*/ 0 h 29"/>
                  <a:gd name="T16" fmla="*/ 0 w 30"/>
                  <a:gd name="T17" fmla="*/ 0 h 29"/>
                  <a:gd name="T18" fmla="*/ 0 w 30"/>
                  <a:gd name="T19" fmla="*/ 0 h 29"/>
                  <a:gd name="T20" fmla="*/ 0 w 30"/>
                  <a:gd name="T21" fmla="*/ 0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0"/>
                  <a:gd name="T34" fmla="*/ 0 h 29"/>
                  <a:gd name="T35" fmla="*/ 30 w 30"/>
                  <a:gd name="T36" fmla="*/ 29 h 2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0" h="29">
                    <a:moveTo>
                      <a:pt x="0" y="9"/>
                    </a:moveTo>
                    <a:lnTo>
                      <a:pt x="7" y="9"/>
                    </a:lnTo>
                    <a:lnTo>
                      <a:pt x="7" y="29"/>
                    </a:lnTo>
                    <a:lnTo>
                      <a:pt x="30" y="29"/>
                    </a:lnTo>
                    <a:lnTo>
                      <a:pt x="24" y="9"/>
                    </a:lnTo>
                    <a:lnTo>
                      <a:pt x="30" y="20"/>
                    </a:lnTo>
                    <a:lnTo>
                      <a:pt x="30" y="9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271" name="S_ESP"/>
            <p:cNvGrpSpPr>
              <a:grpSpLocks/>
            </p:cNvGrpSpPr>
            <p:nvPr/>
          </p:nvGrpSpPr>
          <p:grpSpPr bwMode="auto">
            <a:xfrm>
              <a:off x="4453359" y="2819400"/>
              <a:ext cx="365682" cy="304800"/>
              <a:chOff x="4453359" y="2819400"/>
              <a:chExt cx="38" cy="32"/>
            </a:xfrm>
            <a:solidFill>
              <a:schemeClr val="bg1">
                <a:lumMod val="75000"/>
              </a:schemeClr>
            </a:solidFill>
          </p:grpSpPr>
          <p:sp>
            <p:nvSpPr>
              <p:cNvPr id="285" name="Freeform 284"/>
              <p:cNvSpPr>
                <a:spLocks/>
              </p:cNvSpPr>
              <p:nvPr/>
            </p:nvSpPr>
            <p:spPr bwMode="auto">
              <a:xfrm>
                <a:off x="4453359" y="2819400"/>
                <a:ext cx="35" cy="32"/>
              </a:xfrm>
              <a:custGeom>
                <a:avLst/>
                <a:gdLst>
                  <a:gd name="T0" fmla="*/ 0 w 159"/>
                  <a:gd name="T1" fmla="*/ 0 h 149"/>
                  <a:gd name="T2" fmla="*/ 0 w 159"/>
                  <a:gd name="T3" fmla="*/ 0 h 149"/>
                  <a:gd name="T4" fmla="*/ 0 w 159"/>
                  <a:gd name="T5" fmla="*/ 0 h 149"/>
                  <a:gd name="T6" fmla="*/ 0 w 159"/>
                  <a:gd name="T7" fmla="*/ 1 h 149"/>
                  <a:gd name="T8" fmla="*/ 0 w 159"/>
                  <a:gd name="T9" fmla="*/ 1 h 149"/>
                  <a:gd name="T10" fmla="*/ 0 w 159"/>
                  <a:gd name="T11" fmla="*/ 1 h 149"/>
                  <a:gd name="T12" fmla="*/ 0 w 159"/>
                  <a:gd name="T13" fmla="*/ 1 h 149"/>
                  <a:gd name="T14" fmla="*/ 0 w 159"/>
                  <a:gd name="T15" fmla="*/ 1 h 149"/>
                  <a:gd name="T16" fmla="*/ 0 w 159"/>
                  <a:gd name="T17" fmla="*/ 2 h 149"/>
                  <a:gd name="T18" fmla="*/ 1 w 159"/>
                  <a:gd name="T19" fmla="*/ 1 h 149"/>
                  <a:gd name="T20" fmla="*/ 1 w 159"/>
                  <a:gd name="T21" fmla="*/ 1 h 149"/>
                  <a:gd name="T22" fmla="*/ 1 w 159"/>
                  <a:gd name="T23" fmla="*/ 1 h 149"/>
                  <a:gd name="T24" fmla="*/ 1 w 159"/>
                  <a:gd name="T25" fmla="*/ 1 h 149"/>
                  <a:gd name="T26" fmla="*/ 2 w 159"/>
                  <a:gd name="T27" fmla="*/ 1 h 149"/>
                  <a:gd name="T28" fmla="*/ 2 w 159"/>
                  <a:gd name="T29" fmla="*/ 0 h 149"/>
                  <a:gd name="T30" fmla="*/ 2 w 159"/>
                  <a:gd name="T31" fmla="*/ 0 h 149"/>
                  <a:gd name="T32" fmla="*/ 1 w 159"/>
                  <a:gd name="T33" fmla="*/ 0 h 149"/>
                  <a:gd name="T34" fmla="*/ 1 w 159"/>
                  <a:gd name="T35" fmla="*/ 0 h 149"/>
                  <a:gd name="T36" fmla="*/ 0 w 159"/>
                  <a:gd name="T37" fmla="*/ 0 h 149"/>
                  <a:gd name="T38" fmla="*/ 0 w 159"/>
                  <a:gd name="T39" fmla="*/ 0 h 149"/>
                  <a:gd name="T40" fmla="*/ 0 w 159"/>
                  <a:gd name="T41" fmla="*/ 0 h 149"/>
                  <a:gd name="T42" fmla="*/ 0 w 159"/>
                  <a:gd name="T43" fmla="*/ 0 h 149"/>
                  <a:gd name="T44" fmla="*/ 0 w 159"/>
                  <a:gd name="T45" fmla="*/ 0 h 149"/>
                  <a:gd name="T46" fmla="*/ 0 w 159"/>
                  <a:gd name="T47" fmla="*/ 0 h 149"/>
                  <a:gd name="T48" fmla="*/ 0 w 159"/>
                  <a:gd name="T49" fmla="*/ 0 h 14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9"/>
                  <a:gd name="T76" fmla="*/ 0 h 149"/>
                  <a:gd name="T77" fmla="*/ 159 w 159"/>
                  <a:gd name="T78" fmla="*/ 149 h 14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9" h="149">
                    <a:moveTo>
                      <a:pt x="8" y="42"/>
                    </a:moveTo>
                    <a:lnTo>
                      <a:pt x="43" y="42"/>
                    </a:lnTo>
                    <a:lnTo>
                      <a:pt x="43" y="48"/>
                    </a:lnTo>
                    <a:lnTo>
                      <a:pt x="30" y="57"/>
                    </a:lnTo>
                    <a:lnTo>
                      <a:pt x="30" y="79"/>
                    </a:lnTo>
                    <a:lnTo>
                      <a:pt x="23" y="87"/>
                    </a:lnTo>
                    <a:lnTo>
                      <a:pt x="30" y="117"/>
                    </a:lnTo>
                    <a:lnTo>
                      <a:pt x="23" y="136"/>
                    </a:lnTo>
                    <a:lnTo>
                      <a:pt x="52" y="149"/>
                    </a:lnTo>
                    <a:lnTo>
                      <a:pt x="57" y="141"/>
                    </a:lnTo>
                    <a:lnTo>
                      <a:pt x="94" y="141"/>
                    </a:lnTo>
                    <a:lnTo>
                      <a:pt x="129" y="102"/>
                    </a:lnTo>
                    <a:lnTo>
                      <a:pt x="115" y="87"/>
                    </a:lnTo>
                    <a:lnTo>
                      <a:pt x="135" y="57"/>
                    </a:lnTo>
                    <a:lnTo>
                      <a:pt x="159" y="42"/>
                    </a:lnTo>
                    <a:lnTo>
                      <a:pt x="159" y="25"/>
                    </a:lnTo>
                    <a:lnTo>
                      <a:pt x="115" y="18"/>
                    </a:lnTo>
                    <a:lnTo>
                      <a:pt x="100" y="10"/>
                    </a:lnTo>
                    <a:lnTo>
                      <a:pt x="15" y="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86" name="Freeform 285"/>
              <p:cNvSpPr>
                <a:spLocks/>
              </p:cNvSpPr>
              <p:nvPr/>
            </p:nvSpPr>
            <p:spPr bwMode="auto">
              <a:xfrm>
                <a:off x="4453392" y="2819417"/>
                <a:ext cx="5" cy="6"/>
              </a:xfrm>
              <a:custGeom>
                <a:avLst/>
                <a:gdLst>
                  <a:gd name="T0" fmla="*/ 0 w 21"/>
                  <a:gd name="T1" fmla="*/ 0 h 27"/>
                  <a:gd name="T2" fmla="*/ 0 w 21"/>
                  <a:gd name="T3" fmla="*/ 0 h 27"/>
                  <a:gd name="T4" fmla="*/ 0 w 21"/>
                  <a:gd name="T5" fmla="*/ 0 h 27"/>
                  <a:gd name="T6" fmla="*/ 0 w 21"/>
                  <a:gd name="T7" fmla="*/ 0 h 27"/>
                  <a:gd name="T8" fmla="*/ 0 w 21"/>
                  <a:gd name="T9" fmla="*/ 0 h 27"/>
                  <a:gd name="T10" fmla="*/ 0 w 21"/>
                  <a:gd name="T11" fmla="*/ 0 h 27"/>
                  <a:gd name="T12" fmla="*/ 0 w 21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"/>
                  <a:gd name="T22" fmla="*/ 0 h 27"/>
                  <a:gd name="T23" fmla="*/ 21 w 21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" h="27">
                    <a:moveTo>
                      <a:pt x="0" y="14"/>
                    </a:moveTo>
                    <a:lnTo>
                      <a:pt x="8" y="27"/>
                    </a:lnTo>
                    <a:lnTo>
                      <a:pt x="21" y="14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E6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36576" tIns="32004" rIns="0" bIns="0" anchor="t" upright="1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  <a:p>
                <a:pPr algn="l" rtl="0">
                  <a:defRPr sz="1000"/>
                </a:pPr>
                <a:endParaRPr lang="nl-NL" sz="1600" b="0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72" name="S_ALB"/>
            <p:cNvSpPr>
              <a:spLocks/>
            </p:cNvSpPr>
            <p:nvPr/>
          </p:nvSpPr>
          <p:spPr bwMode="auto">
            <a:xfrm>
              <a:off x="5261709" y="2876550"/>
              <a:ext cx="56934" cy="123825"/>
            </a:xfrm>
            <a:custGeom>
              <a:avLst/>
              <a:gdLst>
                <a:gd name="T0" fmla="*/ 0 w 27"/>
                <a:gd name="T1" fmla="*/ 0 h 57"/>
                <a:gd name="T2" fmla="*/ 35841523 w 27"/>
                <a:gd name="T3" fmla="*/ 0 h 57"/>
                <a:gd name="T4" fmla="*/ 76164028 w 27"/>
                <a:gd name="T5" fmla="*/ 61349857 h 57"/>
                <a:gd name="T6" fmla="*/ 76164028 w 27"/>
                <a:gd name="T7" fmla="*/ 103821838 h 57"/>
                <a:gd name="T8" fmla="*/ 120967499 w 27"/>
                <a:gd name="T9" fmla="*/ 141575418 h 57"/>
                <a:gd name="T10" fmla="*/ 120967499 w 27"/>
                <a:gd name="T11" fmla="*/ 165171712 h 57"/>
                <a:gd name="T12" fmla="*/ 35841523 w 27"/>
                <a:gd name="T13" fmla="*/ 268993516 h 57"/>
                <a:gd name="T14" fmla="*/ 0 w 27"/>
                <a:gd name="T15" fmla="*/ 235958318 h 57"/>
                <a:gd name="T16" fmla="*/ 0 w 27"/>
                <a:gd name="T17" fmla="*/ 0 h 57"/>
                <a:gd name="T18" fmla="*/ 0 w 27"/>
                <a:gd name="T19" fmla="*/ 0 h 57"/>
                <a:gd name="T20" fmla="*/ 0 w 2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57"/>
                <a:gd name="T35" fmla="*/ 27 w 2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57">
                  <a:moveTo>
                    <a:pt x="0" y="0"/>
                  </a:moveTo>
                  <a:lnTo>
                    <a:pt x="8" y="0"/>
                  </a:lnTo>
                  <a:lnTo>
                    <a:pt x="17" y="13"/>
                  </a:lnTo>
                  <a:lnTo>
                    <a:pt x="17" y="22"/>
                  </a:lnTo>
                  <a:lnTo>
                    <a:pt x="27" y="30"/>
                  </a:lnTo>
                  <a:lnTo>
                    <a:pt x="27" y="35"/>
                  </a:lnTo>
                  <a:lnTo>
                    <a:pt x="8" y="57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3" name="S_BGR"/>
            <p:cNvSpPr>
              <a:spLocks/>
            </p:cNvSpPr>
            <p:nvPr/>
          </p:nvSpPr>
          <p:spPr bwMode="auto">
            <a:xfrm>
              <a:off x="5347109" y="2809875"/>
              <a:ext cx="163102" cy="123825"/>
            </a:xfrm>
            <a:custGeom>
              <a:avLst/>
              <a:gdLst>
                <a:gd name="T0" fmla="*/ 2147483647 w 78"/>
                <a:gd name="T1" fmla="*/ 2147483647 h 62"/>
                <a:gd name="T2" fmla="*/ 2147483647 w 78"/>
                <a:gd name="T3" fmla="*/ 2147483647 h 62"/>
                <a:gd name="T4" fmla="*/ 2147483647 w 78"/>
                <a:gd name="T5" fmla="*/ 2147483647 h 62"/>
                <a:gd name="T6" fmla="*/ 2147483647 w 78"/>
                <a:gd name="T7" fmla="*/ 2147483647 h 62"/>
                <a:gd name="T8" fmla="*/ 2147483647 w 78"/>
                <a:gd name="T9" fmla="*/ 2147483647 h 62"/>
                <a:gd name="T10" fmla="*/ 2147483647 w 78"/>
                <a:gd name="T11" fmla="*/ 2147483647 h 62"/>
                <a:gd name="T12" fmla="*/ 2147483647 w 78"/>
                <a:gd name="T13" fmla="*/ 2147483647 h 62"/>
                <a:gd name="T14" fmla="*/ 2147483647 w 78"/>
                <a:gd name="T15" fmla="*/ 2147483647 h 62"/>
                <a:gd name="T16" fmla="*/ 2147483647 w 78"/>
                <a:gd name="T17" fmla="*/ 2147483647 h 62"/>
                <a:gd name="T18" fmla="*/ 2147483647 w 78"/>
                <a:gd name="T19" fmla="*/ 2147483647 h 62"/>
                <a:gd name="T20" fmla="*/ 0 w 78"/>
                <a:gd name="T21" fmla="*/ 2147483647 h 62"/>
                <a:gd name="T22" fmla="*/ 2147483647 w 78"/>
                <a:gd name="T23" fmla="*/ 2147483647 h 62"/>
                <a:gd name="T24" fmla="*/ 0 w 78"/>
                <a:gd name="T25" fmla="*/ 2147483647 h 62"/>
                <a:gd name="T26" fmla="*/ 0 w 78"/>
                <a:gd name="T27" fmla="*/ 0 h 62"/>
                <a:gd name="T28" fmla="*/ 2147483647 w 78"/>
                <a:gd name="T29" fmla="*/ 2147483647 h 62"/>
                <a:gd name="T30" fmla="*/ 2147483647 w 78"/>
                <a:gd name="T31" fmla="*/ 2147483647 h 62"/>
                <a:gd name="T32" fmla="*/ 2147483647 w 78"/>
                <a:gd name="T33" fmla="*/ 2147483647 h 62"/>
                <a:gd name="T34" fmla="*/ 2147483647 w 78"/>
                <a:gd name="T35" fmla="*/ 0 h 62"/>
                <a:gd name="T36" fmla="*/ 2147483647 w 78"/>
                <a:gd name="T37" fmla="*/ 2147483647 h 62"/>
                <a:gd name="T38" fmla="*/ 2147483647 w 78"/>
                <a:gd name="T39" fmla="*/ 2147483647 h 62"/>
                <a:gd name="T40" fmla="*/ 2147483647 w 78"/>
                <a:gd name="T41" fmla="*/ 2147483647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8"/>
                <a:gd name="T64" fmla="*/ 0 h 62"/>
                <a:gd name="T65" fmla="*/ 78 w 78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8" h="62">
                  <a:moveTo>
                    <a:pt x="78" y="9"/>
                  </a:moveTo>
                  <a:lnTo>
                    <a:pt x="78" y="17"/>
                  </a:lnTo>
                  <a:lnTo>
                    <a:pt x="72" y="17"/>
                  </a:lnTo>
                  <a:lnTo>
                    <a:pt x="67" y="32"/>
                  </a:lnTo>
                  <a:lnTo>
                    <a:pt x="72" y="47"/>
                  </a:lnTo>
                  <a:lnTo>
                    <a:pt x="57" y="47"/>
                  </a:lnTo>
                  <a:lnTo>
                    <a:pt x="45" y="62"/>
                  </a:lnTo>
                  <a:lnTo>
                    <a:pt x="21" y="56"/>
                  </a:lnTo>
                  <a:lnTo>
                    <a:pt x="6" y="56"/>
                  </a:lnTo>
                  <a:lnTo>
                    <a:pt x="6" y="47"/>
                  </a:lnTo>
                  <a:lnTo>
                    <a:pt x="0" y="32"/>
                  </a:lnTo>
                  <a:lnTo>
                    <a:pt x="6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6" y="9"/>
                  </a:lnTo>
                  <a:lnTo>
                    <a:pt x="13" y="9"/>
                  </a:lnTo>
                  <a:lnTo>
                    <a:pt x="45" y="17"/>
                  </a:lnTo>
                  <a:lnTo>
                    <a:pt x="57" y="0"/>
                  </a:lnTo>
                  <a:lnTo>
                    <a:pt x="78" y="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4" name="S_HUN"/>
            <p:cNvSpPr>
              <a:spLocks/>
            </p:cNvSpPr>
            <p:nvPr/>
          </p:nvSpPr>
          <p:spPr bwMode="auto">
            <a:xfrm>
              <a:off x="5166819" y="2600325"/>
              <a:ext cx="180290" cy="152400"/>
            </a:xfrm>
            <a:custGeom>
              <a:avLst/>
              <a:gdLst>
                <a:gd name="T0" fmla="*/ 2147483647 w 86"/>
                <a:gd name="T1" fmla="*/ 2147483647 h 69"/>
                <a:gd name="T2" fmla="*/ 2147483647 w 86"/>
                <a:gd name="T3" fmla="*/ 2147483647 h 69"/>
                <a:gd name="T4" fmla="*/ 2147483647 w 86"/>
                <a:gd name="T5" fmla="*/ 2147483647 h 69"/>
                <a:gd name="T6" fmla="*/ 2147483647 w 86"/>
                <a:gd name="T7" fmla="*/ 2147483647 h 69"/>
                <a:gd name="T8" fmla="*/ 2147483647 w 86"/>
                <a:gd name="T9" fmla="*/ 2147483647 h 69"/>
                <a:gd name="T10" fmla="*/ 2147483647 w 86"/>
                <a:gd name="T11" fmla="*/ 2147483647 h 69"/>
                <a:gd name="T12" fmla="*/ 2147483647 w 86"/>
                <a:gd name="T13" fmla="*/ 0 h 69"/>
                <a:gd name="T14" fmla="*/ 2147483647 w 86"/>
                <a:gd name="T15" fmla="*/ 2147483647 h 69"/>
                <a:gd name="T16" fmla="*/ 2147483647 w 86"/>
                <a:gd name="T17" fmla="*/ 2147483647 h 69"/>
                <a:gd name="T18" fmla="*/ 0 w 86"/>
                <a:gd name="T19" fmla="*/ 2147483647 h 69"/>
                <a:gd name="T20" fmla="*/ 0 w 86"/>
                <a:gd name="T21" fmla="*/ 2147483647 h 69"/>
                <a:gd name="T22" fmla="*/ 2147483647 w 86"/>
                <a:gd name="T23" fmla="*/ 2147483647 h 69"/>
                <a:gd name="T24" fmla="*/ 2147483647 w 86"/>
                <a:gd name="T25" fmla="*/ 2147483647 h 69"/>
                <a:gd name="T26" fmla="*/ 2147483647 w 86"/>
                <a:gd name="T27" fmla="*/ 2147483647 h 6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6"/>
                <a:gd name="T43" fmla="*/ 0 h 69"/>
                <a:gd name="T44" fmla="*/ 86 w 86"/>
                <a:gd name="T45" fmla="*/ 69 h 6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6" h="69">
                  <a:moveTo>
                    <a:pt x="29" y="69"/>
                  </a:moveTo>
                  <a:lnTo>
                    <a:pt x="49" y="52"/>
                  </a:lnTo>
                  <a:lnTo>
                    <a:pt x="64" y="52"/>
                  </a:lnTo>
                  <a:lnTo>
                    <a:pt x="71" y="22"/>
                  </a:lnTo>
                  <a:lnTo>
                    <a:pt x="86" y="22"/>
                  </a:lnTo>
                  <a:lnTo>
                    <a:pt x="71" y="6"/>
                  </a:lnTo>
                  <a:lnTo>
                    <a:pt x="55" y="0"/>
                  </a:lnTo>
                  <a:lnTo>
                    <a:pt x="20" y="22"/>
                  </a:lnTo>
                  <a:lnTo>
                    <a:pt x="7" y="22"/>
                  </a:lnTo>
                  <a:lnTo>
                    <a:pt x="0" y="37"/>
                  </a:lnTo>
                  <a:lnTo>
                    <a:pt x="0" y="45"/>
                  </a:lnTo>
                  <a:lnTo>
                    <a:pt x="20" y="69"/>
                  </a:lnTo>
                  <a:lnTo>
                    <a:pt x="29" y="69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5" name="S_HRV"/>
            <p:cNvSpPr>
              <a:spLocks/>
            </p:cNvSpPr>
            <p:nvPr/>
          </p:nvSpPr>
          <p:spPr bwMode="auto">
            <a:xfrm>
              <a:off x="5090908" y="2705100"/>
              <a:ext cx="170801" cy="171450"/>
            </a:xfrm>
            <a:custGeom>
              <a:avLst/>
              <a:gdLst>
                <a:gd name="T0" fmla="*/ 174533957 w 80"/>
                <a:gd name="T1" fmla="*/ 0 h 84"/>
                <a:gd name="T2" fmla="*/ 266392546 w 80"/>
                <a:gd name="T3" fmla="*/ 95818095 h 84"/>
                <a:gd name="T4" fmla="*/ 307729192 w 80"/>
                <a:gd name="T5" fmla="*/ 95818095 h 84"/>
                <a:gd name="T6" fmla="*/ 367438775 w 80"/>
                <a:gd name="T7" fmla="*/ 124978872 h 84"/>
                <a:gd name="T8" fmla="*/ 367438775 w 80"/>
                <a:gd name="T9" fmla="*/ 158307547 h 84"/>
                <a:gd name="T10" fmla="*/ 307729192 w 80"/>
                <a:gd name="T11" fmla="*/ 158307547 h 84"/>
                <a:gd name="T12" fmla="*/ 307729192 w 80"/>
                <a:gd name="T13" fmla="*/ 124978872 h 84"/>
                <a:gd name="T14" fmla="*/ 206685106 w 80"/>
                <a:gd name="T15" fmla="*/ 95818095 h 84"/>
                <a:gd name="T16" fmla="*/ 174533957 w 80"/>
                <a:gd name="T17" fmla="*/ 124978872 h 84"/>
                <a:gd name="T18" fmla="*/ 174533957 w 80"/>
                <a:gd name="T19" fmla="*/ 95818095 h 84"/>
                <a:gd name="T20" fmla="*/ 137790060 w 80"/>
                <a:gd name="T21" fmla="*/ 124978872 h 84"/>
                <a:gd name="T22" fmla="*/ 174533957 w 80"/>
                <a:gd name="T23" fmla="*/ 158307547 h 84"/>
                <a:gd name="T24" fmla="*/ 238834112 w 80"/>
                <a:gd name="T25" fmla="*/ 287452277 h 84"/>
                <a:gd name="T26" fmla="*/ 266392546 w 80"/>
                <a:gd name="T27" fmla="*/ 320780920 h 84"/>
                <a:gd name="T28" fmla="*/ 266392546 w 80"/>
                <a:gd name="T29" fmla="*/ 349941697 h 84"/>
                <a:gd name="T30" fmla="*/ 206685106 w 80"/>
                <a:gd name="T31" fmla="*/ 287452277 h 84"/>
                <a:gd name="T32" fmla="*/ 174533957 w 80"/>
                <a:gd name="T33" fmla="*/ 287452277 h 84"/>
                <a:gd name="T34" fmla="*/ 73487762 w 80"/>
                <a:gd name="T35" fmla="*/ 216631142 h 84"/>
                <a:gd name="T36" fmla="*/ 73487762 w 80"/>
                <a:gd name="T37" fmla="*/ 124978872 h 84"/>
                <a:gd name="T38" fmla="*/ 36743881 w 80"/>
                <a:gd name="T39" fmla="*/ 124978872 h 84"/>
                <a:gd name="T40" fmla="*/ 0 w 80"/>
                <a:gd name="T41" fmla="*/ 158307547 h 84"/>
                <a:gd name="T42" fmla="*/ 0 w 80"/>
                <a:gd name="T43" fmla="*/ 95818095 h 84"/>
                <a:gd name="T44" fmla="*/ 73487762 w 80"/>
                <a:gd name="T45" fmla="*/ 95818095 h 84"/>
                <a:gd name="T46" fmla="*/ 137790060 w 80"/>
                <a:gd name="T47" fmla="*/ 0 h 84"/>
                <a:gd name="T48" fmla="*/ 174533957 w 80"/>
                <a:gd name="T49" fmla="*/ 0 h 84"/>
                <a:gd name="T50" fmla="*/ 174533957 w 80"/>
                <a:gd name="T51" fmla="*/ 0 h 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0"/>
                <a:gd name="T79" fmla="*/ 0 h 84"/>
                <a:gd name="T80" fmla="*/ 80 w 80"/>
                <a:gd name="T81" fmla="*/ 84 h 8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0" h="84">
                  <a:moveTo>
                    <a:pt x="38" y="0"/>
                  </a:moveTo>
                  <a:lnTo>
                    <a:pt x="58" y="23"/>
                  </a:lnTo>
                  <a:lnTo>
                    <a:pt x="67" y="23"/>
                  </a:lnTo>
                  <a:lnTo>
                    <a:pt x="80" y="30"/>
                  </a:lnTo>
                  <a:lnTo>
                    <a:pt x="80" y="38"/>
                  </a:lnTo>
                  <a:lnTo>
                    <a:pt x="67" y="38"/>
                  </a:lnTo>
                  <a:lnTo>
                    <a:pt x="67" y="30"/>
                  </a:lnTo>
                  <a:lnTo>
                    <a:pt x="45" y="23"/>
                  </a:lnTo>
                  <a:lnTo>
                    <a:pt x="38" y="30"/>
                  </a:lnTo>
                  <a:lnTo>
                    <a:pt x="38" y="23"/>
                  </a:lnTo>
                  <a:lnTo>
                    <a:pt x="30" y="30"/>
                  </a:lnTo>
                  <a:lnTo>
                    <a:pt x="38" y="38"/>
                  </a:lnTo>
                  <a:lnTo>
                    <a:pt x="52" y="69"/>
                  </a:lnTo>
                  <a:lnTo>
                    <a:pt x="58" y="77"/>
                  </a:lnTo>
                  <a:lnTo>
                    <a:pt x="58" y="84"/>
                  </a:lnTo>
                  <a:lnTo>
                    <a:pt x="45" y="69"/>
                  </a:lnTo>
                  <a:lnTo>
                    <a:pt x="38" y="69"/>
                  </a:lnTo>
                  <a:lnTo>
                    <a:pt x="16" y="52"/>
                  </a:lnTo>
                  <a:lnTo>
                    <a:pt x="16" y="30"/>
                  </a:lnTo>
                  <a:lnTo>
                    <a:pt x="8" y="30"/>
                  </a:lnTo>
                  <a:lnTo>
                    <a:pt x="0" y="38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30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6" name="S_SR"/>
            <p:cNvSpPr>
              <a:spLocks/>
            </p:cNvSpPr>
            <p:nvPr/>
          </p:nvSpPr>
          <p:spPr bwMode="auto">
            <a:xfrm>
              <a:off x="5233242" y="2714625"/>
              <a:ext cx="132845" cy="190500"/>
            </a:xfrm>
            <a:custGeom>
              <a:avLst/>
              <a:gdLst>
                <a:gd name="T0" fmla="*/ 58244319 w 63"/>
                <a:gd name="T1" fmla="*/ 138889336 h 90"/>
                <a:gd name="T2" fmla="*/ 58244319 w 63"/>
                <a:gd name="T3" fmla="*/ 94085835 h 90"/>
                <a:gd name="T4" fmla="*/ 0 w 63"/>
                <a:gd name="T5" fmla="*/ 67204160 h 90"/>
                <a:gd name="T6" fmla="*/ 89604861 w 63"/>
                <a:gd name="T7" fmla="*/ 0 h 90"/>
                <a:gd name="T8" fmla="*/ 156809045 w 63"/>
                <a:gd name="T9" fmla="*/ 138889336 h 90"/>
                <a:gd name="T10" fmla="*/ 255375838 w 63"/>
                <a:gd name="T11" fmla="*/ 138889336 h 90"/>
                <a:gd name="T12" fmla="*/ 255375838 w 63"/>
                <a:gd name="T13" fmla="*/ 232975137 h 90"/>
                <a:gd name="T14" fmla="*/ 282257564 w 63"/>
                <a:gd name="T15" fmla="*/ 300179347 h 90"/>
                <a:gd name="T16" fmla="*/ 255375838 w 63"/>
                <a:gd name="T17" fmla="*/ 336020852 h 90"/>
                <a:gd name="T18" fmla="*/ 156809045 w 63"/>
                <a:gd name="T19" fmla="*/ 336020852 h 90"/>
                <a:gd name="T20" fmla="*/ 116486522 w 63"/>
                <a:gd name="T21" fmla="*/ 403224996 h 90"/>
                <a:gd name="T22" fmla="*/ 89604861 w 63"/>
                <a:gd name="T23" fmla="*/ 336020852 h 90"/>
                <a:gd name="T24" fmla="*/ 89604861 w 63"/>
                <a:gd name="T25" fmla="*/ 300179347 h 90"/>
                <a:gd name="T26" fmla="*/ 58244319 w 63"/>
                <a:gd name="T27" fmla="*/ 268816642 h 90"/>
                <a:gd name="T28" fmla="*/ 58244319 w 63"/>
                <a:gd name="T29" fmla="*/ 138889336 h 90"/>
                <a:gd name="T30" fmla="*/ 58244319 w 63"/>
                <a:gd name="T31" fmla="*/ 138889336 h 90"/>
                <a:gd name="T32" fmla="*/ 58244319 w 63"/>
                <a:gd name="T33" fmla="*/ 138889336 h 9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3"/>
                <a:gd name="T52" fmla="*/ 0 h 90"/>
                <a:gd name="T53" fmla="*/ 63 w 63"/>
                <a:gd name="T54" fmla="*/ 90 h 9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3" h="90">
                  <a:moveTo>
                    <a:pt x="13" y="31"/>
                  </a:moveTo>
                  <a:lnTo>
                    <a:pt x="13" y="21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35" y="31"/>
                  </a:lnTo>
                  <a:lnTo>
                    <a:pt x="57" y="31"/>
                  </a:lnTo>
                  <a:lnTo>
                    <a:pt x="57" y="52"/>
                  </a:lnTo>
                  <a:lnTo>
                    <a:pt x="63" y="67"/>
                  </a:lnTo>
                  <a:lnTo>
                    <a:pt x="57" y="75"/>
                  </a:lnTo>
                  <a:lnTo>
                    <a:pt x="35" y="75"/>
                  </a:lnTo>
                  <a:lnTo>
                    <a:pt x="26" y="90"/>
                  </a:lnTo>
                  <a:lnTo>
                    <a:pt x="20" y="75"/>
                  </a:lnTo>
                  <a:lnTo>
                    <a:pt x="20" y="67"/>
                  </a:lnTo>
                  <a:lnTo>
                    <a:pt x="13" y="60"/>
                  </a:lnTo>
                  <a:lnTo>
                    <a:pt x="13" y="31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7" name="S_MKD"/>
            <p:cNvSpPr>
              <a:spLocks/>
            </p:cNvSpPr>
            <p:nvPr/>
          </p:nvSpPr>
          <p:spPr bwMode="auto">
            <a:xfrm>
              <a:off x="5290176" y="2876550"/>
              <a:ext cx="75912" cy="57150"/>
            </a:xfrm>
            <a:custGeom>
              <a:avLst/>
              <a:gdLst>
                <a:gd name="T0" fmla="*/ 42658936 w 35"/>
                <a:gd name="T1" fmla="*/ 116647232 h 28"/>
                <a:gd name="T2" fmla="*/ 0 w 35"/>
                <a:gd name="T3" fmla="*/ 83318586 h 28"/>
                <a:gd name="T4" fmla="*/ 0 w 35"/>
                <a:gd name="T5" fmla="*/ 54157790 h 28"/>
                <a:gd name="T6" fmla="*/ 42658936 w 35"/>
                <a:gd name="T7" fmla="*/ 0 h 28"/>
                <a:gd name="T8" fmla="*/ 142197881 w 35"/>
                <a:gd name="T9" fmla="*/ 0 h 28"/>
                <a:gd name="T10" fmla="*/ 165898281 w 35"/>
                <a:gd name="T11" fmla="*/ 54157790 h 28"/>
                <a:gd name="T12" fmla="*/ 165898281 w 35"/>
                <a:gd name="T13" fmla="*/ 83318586 h 28"/>
                <a:gd name="T14" fmla="*/ 42658936 w 35"/>
                <a:gd name="T15" fmla="*/ 116647232 h 28"/>
                <a:gd name="T16" fmla="*/ 42658936 w 35"/>
                <a:gd name="T17" fmla="*/ 116647232 h 28"/>
                <a:gd name="T18" fmla="*/ 42658936 w 35"/>
                <a:gd name="T19" fmla="*/ 116647232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28"/>
                <a:gd name="T32" fmla="*/ 35 w 35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28">
                  <a:moveTo>
                    <a:pt x="9" y="28"/>
                  </a:moveTo>
                  <a:lnTo>
                    <a:pt x="0" y="20"/>
                  </a:lnTo>
                  <a:lnTo>
                    <a:pt x="0" y="13"/>
                  </a:lnTo>
                  <a:lnTo>
                    <a:pt x="9" y="0"/>
                  </a:lnTo>
                  <a:lnTo>
                    <a:pt x="30" y="0"/>
                  </a:lnTo>
                  <a:lnTo>
                    <a:pt x="35" y="13"/>
                  </a:lnTo>
                  <a:lnTo>
                    <a:pt x="35" y="20"/>
                  </a:lnTo>
                  <a:lnTo>
                    <a:pt x="9" y="28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8" name="S_BIH"/>
            <p:cNvSpPr>
              <a:spLocks/>
            </p:cNvSpPr>
            <p:nvPr/>
          </p:nvSpPr>
          <p:spPr bwMode="auto">
            <a:xfrm>
              <a:off x="5157330" y="2743200"/>
              <a:ext cx="104379" cy="114300"/>
            </a:xfrm>
            <a:custGeom>
              <a:avLst/>
              <a:gdLst>
                <a:gd name="T0" fmla="*/ 43911205 w 50"/>
                <a:gd name="T1" fmla="*/ 82135551 h 52"/>
                <a:gd name="T2" fmla="*/ 96604649 w 50"/>
                <a:gd name="T3" fmla="*/ 217418388 h 52"/>
                <a:gd name="T4" fmla="*/ 122951362 w 50"/>
                <a:gd name="T5" fmla="*/ 251240187 h 52"/>
                <a:gd name="T6" fmla="*/ 162472513 w 50"/>
                <a:gd name="T7" fmla="*/ 217418388 h 52"/>
                <a:gd name="T8" fmla="*/ 219556011 w 50"/>
                <a:gd name="T9" fmla="*/ 217418388 h 52"/>
                <a:gd name="T10" fmla="*/ 219556011 w 50"/>
                <a:gd name="T11" fmla="*/ 82135551 h 52"/>
                <a:gd name="T12" fmla="*/ 162472513 w 50"/>
                <a:gd name="T13" fmla="*/ 82135551 h 52"/>
                <a:gd name="T14" fmla="*/ 162472513 w 50"/>
                <a:gd name="T15" fmla="*/ 38653189 h 52"/>
                <a:gd name="T16" fmla="*/ 65865752 w 50"/>
                <a:gd name="T17" fmla="*/ 0 h 52"/>
                <a:gd name="T18" fmla="*/ 43911205 w 50"/>
                <a:gd name="T19" fmla="*/ 38653189 h 52"/>
                <a:gd name="T20" fmla="*/ 43911205 w 50"/>
                <a:gd name="T21" fmla="*/ 0 h 52"/>
                <a:gd name="T22" fmla="*/ 0 w 50"/>
                <a:gd name="T23" fmla="*/ 38653189 h 52"/>
                <a:gd name="T24" fmla="*/ 43911205 w 50"/>
                <a:gd name="T25" fmla="*/ 82135551 h 52"/>
                <a:gd name="T26" fmla="*/ 43911205 w 50"/>
                <a:gd name="T27" fmla="*/ 82135551 h 52"/>
                <a:gd name="T28" fmla="*/ 43911205 w 50"/>
                <a:gd name="T29" fmla="*/ 82135551 h 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"/>
                <a:gd name="T46" fmla="*/ 0 h 52"/>
                <a:gd name="T47" fmla="*/ 50 w 50"/>
                <a:gd name="T48" fmla="*/ 52 h 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" h="52">
                  <a:moveTo>
                    <a:pt x="10" y="17"/>
                  </a:moveTo>
                  <a:lnTo>
                    <a:pt x="22" y="45"/>
                  </a:lnTo>
                  <a:lnTo>
                    <a:pt x="28" y="52"/>
                  </a:lnTo>
                  <a:lnTo>
                    <a:pt x="37" y="45"/>
                  </a:lnTo>
                  <a:lnTo>
                    <a:pt x="50" y="45"/>
                  </a:lnTo>
                  <a:lnTo>
                    <a:pt x="50" y="17"/>
                  </a:lnTo>
                  <a:lnTo>
                    <a:pt x="37" y="17"/>
                  </a:lnTo>
                  <a:lnTo>
                    <a:pt x="37" y="8"/>
                  </a:lnTo>
                  <a:lnTo>
                    <a:pt x="15" y="0"/>
                  </a:lnTo>
                  <a:lnTo>
                    <a:pt x="10" y="8"/>
                  </a:lnTo>
                  <a:lnTo>
                    <a:pt x="10" y="0"/>
                  </a:lnTo>
                  <a:lnTo>
                    <a:pt x="0" y="8"/>
                  </a:lnTo>
                  <a:lnTo>
                    <a:pt x="10" y="1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9" name="S_CZE"/>
            <p:cNvSpPr>
              <a:spLocks/>
            </p:cNvSpPr>
            <p:nvPr/>
          </p:nvSpPr>
          <p:spPr bwMode="auto">
            <a:xfrm>
              <a:off x="5043463" y="2495550"/>
              <a:ext cx="189779" cy="104775"/>
            </a:xfrm>
            <a:custGeom>
              <a:avLst/>
              <a:gdLst>
                <a:gd name="T0" fmla="*/ 2147483647 w 89"/>
                <a:gd name="T1" fmla="*/ 2147483647 h 52"/>
                <a:gd name="T2" fmla="*/ 2147483647 w 89"/>
                <a:gd name="T3" fmla="*/ 2147483647 h 52"/>
                <a:gd name="T4" fmla="*/ 2147483647 w 89"/>
                <a:gd name="T5" fmla="*/ 2147483647 h 52"/>
                <a:gd name="T6" fmla="*/ 2147483647 w 89"/>
                <a:gd name="T7" fmla="*/ 0 h 52"/>
                <a:gd name="T8" fmla="*/ 2147483647 w 89"/>
                <a:gd name="T9" fmla="*/ 0 h 52"/>
                <a:gd name="T10" fmla="*/ 2147483647 w 89"/>
                <a:gd name="T11" fmla="*/ 2147483647 h 52"/>
                <a:gd name="T12" fmla="*/ 0 w 89"/>
                <a:gd name="T13" fmla="*/ 2147483647 h 52"/>
                <a:gd name="T14" fmla="*/ 2147483647 w 89"/>
                <a:gd name="T15" fmla="*/ 2147483647 h 52"/>
                <a:gd name="T16" fmla="*/ 2147483647 w 89"/>
                <a:gd name="T17" fmla="*/ 2147483647 h 52"/>
                <a:gd name="T18" fmla="*/ 2147483647 w 89"/>
                <a:gd name="T19" fmla="*/ 2147483647 h 52"/>
                <a:gd name="T20" fmla="*/ 2147483647 w 89"/>
                <a:gd name="T21" fmla="*/ 2147483647 h 52"/>
                <a:gd name="T22" fmla="*/ 2147483647 w 89"/>
                <a:gd name="T23" fmla="*/ 2147483647 h 52"/>
                <a:gd name="T24" fmla="*/ 2147483647 w 89"/>
                <a:gd name="T25" fmla="*/ 2147483647 h 52"/>
                <a:gd name="T26" fmla="*/ 2147483647 w 89"/>
                <a:gd name="T27" fmla="*/ 2147483647 h 52"/>
                <a:gd name="T28" fmla="*/ 2147483647 w 89"/>
                <a:gd name="T29" fmla="*/ 2147483647 h 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9"/>
                <a:gd name="T46" fmla="*/ 0 h 52"/>
                <a:gd name="T47" fmla="*/ 89 w 89"/>
                <a:gd name="T48" fmla="*/ 52 h 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9" h="52">
                  <a:moveTo>
                    <a:pt x="89" y="37"/>
                  </a:moveTo>
                  <a:lnTo>
                    <a:pt x="75" y="15"/>
                  </a:lnTo>
                  <a:lnTo>
                    <a:pt x="69" y="15"/>
                  </a:lnTo>
                  <a:lnTo>
                    <a:pt x="42" y="0"/>
                  </a:lnTo>
                  <a:lnTo>
                    <a:pt x="32" y="0"/>
                  </a:lnTo>
                  <a:lnTo>
                    <a:pt x="20" y="8"/>
                  </a:lnTo>
                  <a:lnTo>
                    <a:pt x="0" y="15"/>
                  </a:lnTo>
                  <a:lnTo>
                    <a:pt x="12" y="37"/>
                  </a:lnTo>
                  <a:lnTo>
                    <a:pt x="27" y="52"/>
                  </a:lnTo>
                  <a:lnTo>
                    <a:pt x="42" y="52"/>
                  </a:lnTo>
                  <a:lnTo>
                    <a:pt x="42" y="45"/>
                  </a:lnTo>
                  <a:lnTo>
                    <a:pt x="69" y="52"/>
                  </a:lnTo>
                  <a:lnTo>
                    <a:pt x="89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0" name="S_SVK"/>
            <p:cNvSpPr>
              <a:spLocks/>
            </p:cNvSpPr>
            <p:nvPr/>
          </p:nvSpPr>
          <p:spPr bwMode="auto">
            <a:xfrm>
              <a:off x="5185797" y="2571750"/>
              <a:ext cx="161312" cy="76200"/>
            </a:xfrm>
            <a:custGeom>
              <a:avLst/>
              <a:gdLst>
                <a:gd name="T0" fmla="*/ 2147483647 w 79"/>
                <a:gd name="T1" fmla="*/ 2147483647 h 40"/>
                <a:gd name="T2" fmla="*/ 2147483647 w 79"/>
                <a:gd name="T3" fmla="*/ 0 h 40"/>
                <a:gd name="T4" fmla="*/ 2147483647 w 79"/>
                <a:gd name="T5" fmla="*/ 2147483647 h 40"/>
                <a:gd name="T6" fmla="*/ 2147483647 w 79"/>
                <a:gd name="T7" fmla="*/ 0 h 40"/>
                <a:gd name="T8" fmla="*/ 2147483647 w 79"/>
                <a:gd name="T9" fmla="*/ 0 h 40"/>
                <a:gd name="T10" fmla="*/ 0 w 79"/>
                <a:gd name="T11" fmla="*/ 2147483647 h 40"/>
                <a:gd name="T12" fmla="*/ 0 w 79"/>
                <a:gd name="T13" fmla="*/ 2147483647 h 40"/>
                <a:gd name="T14" fmla="*/ 2147483647 w 79"/>
                <a:gd name="T15" fmla="*/ 2147483647 h 40"/>
                <a:gd name="T16" fmla="*/ 2147483647 w 79"/>
                <a:gd name="T17" fmla="*/ 2147483647 h 40"/>
                <a:gd name="T18" fmla="*/ 2147483647 w 79"/>
                <a:gd name="T19" fmla="*/ 2147483647 h 40"/>
                <a:gd name="T20" fmla="*/ 2147483647 w 79"/>
                <a:gd name="T21" fmla="*/ 2147483647 h 40"/>
                <a:gd name="T22" fmla="*/ 2147483647 w 79"/>
                <a:gd name="T23" fmla="*/ 2147483647 h 40"/>
                <a:gd name="T24" fmla="*/ 2147483647 w 79"/>
                <a:gd name="T25" fmla="*/ 2147483647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9"/>
                <a:gd name="T40" fmla="*/ 0 h 40"/>
                <a:gd name="T41" fmla="*/ 79 w 79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9" h="40">
                  <a:moveTo>
                    <a:pt x="79" y="10"/>
                  </a:moveTo>
                  <a:lnTo>
                    <a:pt x="57" y="0"/>
                  </a:lnTo>
                  <a:lnTo>
                    <a:pt x="42" y="10"/>
                  </a:lnTo>
                  <a:lnTo>
                    <a:pt x="35" y="0"/>
                  </a:lnTo>
                  <a:lnTo>
                    <a:pt x="22" y="0"/>
                  </a:lnTo>
                  <a:lnTo>
                    <a:pt x="0" y="18"/>
                  </a:lnTo>
                  <a:lnTo>
                    <a:pt x="0" y="40"/>
                  </a:lnTo>
                  <a:lnTo>
                    <a:pt x="13" y="40"/>
                  </a:lnTo>
                  <a:lnTo>
                    <a:pt x="48" y="18"/>
                  </a:lnTo>
                  <a:lnTo>
                    <a:pt x="64" y="25"/>
                  </a:lnTo>
                  <a:lnTo>
                    <a:pt x="79" y="1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1" name="S_CHE"/>
            <p:cNvSpPr>
              <a:spLocks/>
            </p:cNvSpPr>
            <p:nvPr/>
          </p:nvSpPr>
          <p:spPr bwMode="auto">
            <a:xfrm>
              <a:off x="4891640" y="2667000"/>
              <a:ext cx="113867" cy="85725"/>
            </a:xfrm>
            <a:custGeom>
              <a:avLst/>
              <a:gdLst>
                <a:gd name="T0" fmla="*/ 2147483647 w 57"/>
                <a:gd name="T1" fmla="*/ 2147483647 h 37"/>
                <a:gd name="T2" fmla="*/ 2147483647 w 57"/>
                <a:gd name="T3" fmla="*/ 2147483647 h 37"/>
                <a:gd name="T4" fmla="*/ 2147483647 w 57"/>
                <a:gd name="T5" fmla="*/ 2147483647 h 37"/>
                <a:gd name="T6" fmla="*/ 2147483647 w 57"/>
                <a:gd name="T7" fmla="*/ 2147483647 h 37"/>
                <a:gd name="T8" fmla="*/ 2147483647 w 57"/>
                <a:gd name="T9" fmla="*/ 2147483647 h 37"/>
                <a:gd name="T10" fmla="*/ 2147483647 w 57"/>
                <a:gd name="T11" fmla="*/ 2147483647 h 37"/>
                <a:gd name="T12" fmla="*/ 2147483647 w 57"/>
                <a:gd name="T13" fmla="*/ 2147483647 h 37"/>
                <a:gd name="T14" fmla="*/ 2147483647 w 57"/>
                <a:gd name="T15" fmla="*/ 0 h 37"/>
                <a:gd name="T16" fmla="*/ 2147483647 w 57"/>
                <a:gd name="T17" fmla="*/ 0 h 37"/>
                <a:gd name="T18" fmla="*/ 0 w 57"/>
                <a:gd name="T19" fmla="*/ 2147483647 h 37"/>
                <a:gd name="T20" fmla="*/ 0 w 57"/>
                <a:gd name="T21" fmla="*/ 2147483647 h 37"/>
                <a:gd name="T22" fmla="*/ 2147483647 w 57"/>
                <a:gd name="T23" fmla="*/ 2147483647 h 37"/>
                <a:gd name="T24" fmla="*/ 2147483647 w 57"/>
                <a:gd name="T25" fmla="*/ 2147483647 h 37"/>
                <a:gd name="T26" fmla="*/ 2147483647 w 57"/>
                <a:gd name="T27" fmla="*/ 2147483647 h 37"/>
                <a:gd name="T28" fmla="*/ 2147483647 w 57"/>
                <a:gd name="T29" fmla="*/ 2147483647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7"/>
                <a:gd name="T46" fmla="*/ 0 h 37"/>
                <a:gd name="T47" fmla="*/ 57 w 57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7" h="37">
                  <a:moveTo>
                    <a:pt x="14" y="37"/>
                  </a:moveTo>
                  <a:lnTo>
                    <a:pt x="29" y="20"/>
                  </a:lnTo>
                  <a:lnTo>
                    <a:pt x="42" y="20"/>
                  </a:lnTo>
                  <a:lnTo>
                    <a:pt x="42" y="15"/>
                  </a:lnTo>
                  <a:lnTo>
                    <a:pt x="50" y="20"/>
                  </a:lnTo>
                  <a:lnTo>
                    <a:pt x="57" y="6"/>
                  </a:lnTo>
                  <a:lnTo>
                    <a:pt x="50" y="6"/>
                  </a:lnTo>
                  <a:lnTo>
                    <a:pt x="42" y="0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9" y="15"/>
                  </a:lnTo>
                  <a:lnTo>
                    <a:pt x="9" y="37"/>
                  </a:lnTo>
                  <a:lnTo>
                    <a:pt x="14" y="37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2" name="S_SVN"/>
            <p:cNvSpPr>
              <a:spLocks/>
            </p:cNvSpPr>
            <p:nvPr/>
          </p:nvSpPr>
          <p:spPr bwMode="auto">
            <a:xfrm>
              <a:off x="5090908" y="2676525"/>
              <a:ext cx="75912" cy="66675"/>
            </a:xfrm>
            <a:custGeom>
              <a:avLst/>
              <a:gdLst>
                <a:gd name="T0" fmla="*/ 152801054 w 38"/>
                <a:gd name="T1" fmla="*/ 43413755 h 32"/>
                <a:gd name="T2" fmla="*/ 120632604 w 38"/>
                <a:gd name="T3" fmla="*/ 43413755 h 32"/>
                <a:gd name="T4" fmla="*/ 60316302 w 38"/>
                <a:gd name="T5" fmla="*/ 138923612 h 32"/>
                <a:gd name="T6" fmla="*/ 0 w 38"/>
                <a:gd name="T7" fmla="*/ 138923612 h 32"/>
                <a:gd name="T8" fmla="*/ 0 w 38"/>
                <a:gd name="T9" fmla="*/ 43413755 h 32"/>
                <a:gd name="T10" fmla="*/ 152801054 w 38"/>
                <a:gd name="T11" fmla="*/ 0 h 32"/>
                <a:gd name="T12" fmla="*/ 152801054 w 38"/>
                <a:gd name="T13" fmla="*/ 43413755 h 32"/>
                <a:gd name="T14" fmla="*/ 152801054 w 38"/>
                <a:gd name="T15" fmla="*/ 43413755 h 32"/>
                <a:gd name="T16" fmla="*/ 152801054 w 38"/>
                <a:gd name="T17" fmla="*/ 43413755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32"/>
                <a:gd name="T29" fmla="*/ 38 w 38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32">
                  <a:moveTo>
                    <a:pt x="38" y="10"/>
                  </a:moveTo>
                  <a:lnTo>
                    <a:pt x="30" y="10"/>
                  </a:lnTo>
                  <a:lnTo>
                    <a:pt x="15" y="32"/>
                  </a:lnTo>
                  <a:lnTo>
                    <a:pt x="0" y="32"/>
                  </a:lnTo>
                  <a:lnTo>
                    <a:pt x="0" y="10"/>
                  </a:lnTo>
                  <a:lnTo>
                    <a:pt x="38" y="0"/>
                  </a:lnTo>
                  <a:lnTo>
                    <a:pt x="38" y="10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3" name="S_CG"/>
            <p:cNvSpPr>
              <a:spLocks/>
            </p:cNvSpPr>
            <p:nvPr/>
          </p:nvSpPr>
          <p:spPr bwMode="auto">
            <a:xfrm>
              <a:off x="5204775" y="2847975"/>
              <a:ext cx="66423" cy="57150"/>
            </a:xfrm>
            <a:custGeom>
              <a:avLst/>
              <a:gdLst>
                <a:gd name="T0" fmla="*/ 0 w 30"/>
                <a:gd name="T1" fmla="*/ 54157790 h 28"/>
                <a:gd name="T2" fmla="*/ 103730751 w 30"/>
                <a:gd name="T3" fmla="*/ 116647232 h 28"/>
                <a:gd name="T4" fmla="*/ 103730751 w 30"/>
                <a:gd name="T5" fmla="*/ 54157790 h 28"/>
                <a:gd name="T6" fmla="*/ 148185219 w 30"/>
                <a:gd name="T7" fmla="*/ 54157790 h 28"/>
                <a:gd name="T8" fmla="*/ 148185219 w 30"/>
                <a:gd name="T9" fmla="*/ 24994962 h 28"/>
                <a:gd name="T10" fmla="*/ 103730751 w 30"/>
                <a:gd name="T11" fmla="*/ 0 h 28"/>
                <a:gd name="T12" fmla="*/ 39516057 w 30"/>
                <a:gd name="T13" fmla="*/ 0 h 28"/>
                <a:gd name="T14" fmla="*/ 0 w 30"/>
                <a:gd name="T15" fmla="*/ 24994962 h 28"/>
                <a:gd name="T16" fmla="*/ 0 w 30"/>
                <a:gd name="T17" fmla="*/ 54157790 h 28"/>
                <a:gd name="T18" fmla="*/ 0 w 30"/>
                <a:gd name="T19" fmla="*/ 54157790 h 28"/>
                <a:gd name="T20" fmla="*/ 0 w 30"/>
                <a:gd name="T21" fmla="*/ 54157790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28"/>
                <a:gd name="T35" fmla="*/ 30 w 30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28">
                  <a:moveTo>
                    <a:pt x="0" y="13"/>
                  </a:moveTo>
                  <a:lnTo>
                    <a:pt x="21" y="28"/>
                  </a:lnTo>
                  <a:lnTo>
                    <a:pt x="21" y="13"/>
                  </a:lnTo>
                  <a:lnTo>
                    <a:pt x="30" y="13"/>
                  </a:lnTo>
                  <a:lnTo>
                    <a:pt x="30" y="6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6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E6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576" tIns="32004" rIns="0" bIns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l" rtl="0">
                <a:defRPr sz="1000"/>
              </a:pPr>
              <a:endParaRPr lang="nl-NL" sz="1600" b="0" i="0" u="none" strike="noStrike" baseline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4" name="S_TAI"/>
            <p:cNvSpPr>
              <a:spLocks/>
            </p:cNvSpPr>
            <p:nvPr/>
          </p:nvSpPr>
          <p:spPr bwMode="auto">
            <a:xfrm>
              <a:off x="8079387" y="3476625"/>
              <a:ext cx="28467" cy="95250"/>
            </a:xfrm>
            <a:custGeom>
              <a:avLst/>
              <a:gdLst>
                <a:gd name="T0" fmla="*/ 0 w 16"/>
                <a:gd name="T1" fmla="*/ 2147483647 h 48"/>
                <a:gd name="T2" fmla="*/ 0 w 16"/>
                <a:gd name="T3" fmla="*/ 2147483647 h 48"/>
                <a:gd name="T4" fmla="*/ 2147483647 w 16"/>
                <a:gd name="T5" fmla="*/ 0 h 48"/>
                <a:gd name="T6" fmla="*/ 2147483647 w 16"/>
                <a:gd name="T7" fmla="*/ 2147483647 h 48"/>
                <a:gd name="T8" fmla="*/ 2147483647 w 16"/>
                <a:gd name="T9" fmla="*/ 2147483647 h 48"/>
                <a:gd name="T10" fmla="*/ 0 w 16"/>
                <a:gd name="T11" fmla="*/ 2147483647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48"/>
                <a:gd name="T20" fmla="*/ 16 w 1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48">
                  <a:moveTo>
                    <a:pt x="0" y="32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8" y="4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E6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</p:grpSp>
      <p:sp>
        <p:nvSpPr>
          <p:cNvPr id="92" name="Title 6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tr-TR" sz="2400" dirty="0">
                <a:latin typeface="EYInterstate Light" panose="02000506000000020004" pitchFamily="2" charset="0"/>
              </a:rPr>
              <a:t>EY, kendisi de büyük bir Robot Kullanıcısı olarak Global ve Yerel RSO ekipleri ile birlikte yüksek bilgi birikimine ve tecrübeye sahiptir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894187" y="1734987"/>
            <a:ext cx="2637363" cy="1631216"/>
            <a:chOff x="894187" y="1734987"/>
            <a:chExt cx="2637363" cy="1631216"/>
          </a:xfrm>
        </p:grpSpPr>
        <p:sp>
          <p:nvSpPr>
            <p:cNvPr id="77" name="TextBox 76"/>
            <p:cNvSpPr txBox="1"/>
            <p:nvPr/>
          </p:nvSpPr>
          <p:spPr>
            <a:xfrm>
              <a:off x="1904454" y="1734987"/>
              <a:ext cx="1627096" cy="1631216"/>
            </a:xfrm>
            <a:prstGeom prst="rect">
              <a:avLst/>
            </a:prstGeom>
            <a:solidFill>
              <a:srgbClr val="FFFFFF"/>
            </a:solidFill>
            <a:ln w="38100">
              <a:solidFill>
                <a:schemeClr val="accent6"/>
              </a:solidFill>
            </a:ln>
          </p:spPr>
          <p:txBody>
            <a:bodyPr wrap="square" rtlCol="0" anchor="t">
              <a:spAutoFit/>
            </a:bodyPr>
            <a:lstStyle>
              <a:defPPr>
                <a:defRPr lang="en-GB"/>
              </a:defPPr>
              <a:lvl1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defRPr>
              </a:lvl1pPr>
            </a:lstStyle>
            <a:p>
              <a:pPr marL="171450" indent="-171450" algn="l">
                <a:buFont typeface="Wingdings" panose="05000000000000000000" pitchFamily="2" charset="2"/>
                <a:buChar char="§"/>
              </a:pPr>
              <a:r>
                <a:rPr lang="tr-TR" sz="1000" dirty="0"/>
                <a:t>6 müşteride üretim / pilot düzeyinde 20+ proje</a:t>
              </a:r>
            </a:p>
            <a:p>
              <a:pPr marL="171450" indent="-171450" algn="l">
                <a:buFont typeface="Wingdings" panose="05000000000000000000" pitchFamily="2" charset="2"/>
                <a:buChar char="§"/>
              </a:pPr>
              <a:r>
                <a:rPr lang="tr-TR" sz="1000" dirty="0"/>
                <a:t>İki küresel sigorta şirketi, İki küresel banka, bir küresel varlık yönetimi firması ve bir küresel kredi kartı firması ile RSO yaygınlaştırması</a:t>
              </a:r>
            </a:p>
          </p:txBody>
        </p:sp>
        <p:sp>
          <p:nvSpPr>
            <p:cNvPr id="78" name="Rectangle 17"/>
            <p:cNvSpPr/>
            <p:nvPr/>
          </p:nvSpPr>
          <p:spPr>
            <a:xfrm>
              <a:off x="894187" y="1734987"/>
              <a:ext cx="946767" cy="1147289"/>
            </a:xfrm>
            <a:custGeom>
              <a:avLst/>
              <a:gdLst>
                <a:gd name="connsiteX0" fmla="*/ 0 w 841572"/>
                <a:gd name="connsiteY0" fmla="*/ 0 h 1168012"/>
                <a:gd name="connsiteX1" fmla="*/ 841572 w 841572"/>
                <a:gd name="connsiteY1" fmla="*/ 0 h 1168012"/>
                <a:gd name="connsiteX2" fmla="*/ 841572 w 841572"/>
                <a:gd name="connsiteY2" fmla="*/ 1168012 h 1168012"/>
                <a:gd name="connsiteX3" fmla="*/ 0 w 841572"/>
                <a:gd name="connsiteY3" fmla="*/ 1168012 h 1168012"/>
                <a:gd name="connsiteX4" fmla="*/ 0 w 841572"/>
                <a:gd name="connsiteY4" fmla="*/ 0 h 1168012"/>
                <a:gd name="connsiteX0" fmla="*/ 0 w 841572"/>
                <a:gd name="connsiteY0" fmla="*/ 0 h 1168012"/>
                <a:gd name="connsiteX1" fmla="*/ 841572 w 841572"/>
                <a:gd name="connsiteY1" fmla="*/ 0 h 1168012"/>
                <a:gd name="connsiteX2" fmla="*/ 841572 w 841572"/>
                <a:gd name="connsiteY2" fmla="*/ 981895 h 1168012"/>
                <a:gd name="connsiteX3" fmla="*/ 0 w 841572"/>
                <a:gd name="connsiteY3" fmla="*/ 1168012 h 1168012"/>
                <a:gd name="connsiteX4" fmla="*/ 0 w 841572"/>
                <a:gd name="connsiteY4" fmla="*/ 0 h 116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1572" h="1168012">
                  <a:moveTo>
                    <a:pt x="0" y="0"/>
                  </a:moveTo>
                  <a:lnTo>
                    <a:pt x="841572" y="0"/>
                  </a:lnTo>
                  <a:lnTo>
                    <a:pt x="841572" y="981895"/>
                  </a:lnTo>
                  <a:lnTo>
                    <a:pt x="0" y="1168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38100">
              <a:solidFill>
                <a:schemeClr val="accent6"/>
              </a:solidFill>
            </a:ln>
          </p:spPr>
          <p:txBody>
            <a:bodyPr wrap="square" rtlCol="0" anchor="t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250+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9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uzma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9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Amerika</a:t>
              </a:r>
              <a:endParaRPr kumimoji="0" lang="tr-TR" sz="14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</p:grpSp>
      <p:sp>
        <p:nvSpPr>
          <p:cNvPr id="79" name="Rectangle 17"/>
          <p:cNvSpPr/>
          <p:nvPr/>
        </p:nvSpPr>
        <p:spPr>
          <a:xfrm>
            <a:off x="4093077" y="1734987"/>
            <a:ext cx="946767" cy="1148400"/>
          </a:xfrm>
          <a:custGeom>
            <a:avLst/>
            <a:gdLst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1168012 h 1168012"/>
              <a:gd name="connsiteX3" fmla="*/ 0 w 841572"/>
              <a:gd name="connsiteY3" fmla="*/ 1168012 h 1168012"/>
              <a:gd name="connsiteX4" fmla="*/ 0 w 841572"/>
              <a:gd name="connsiteY4" fmla="*/ 0 h 1168012"/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981895 h 1168012"/>
              <a:gd name="connsiteX3" fmla="*/ 0 w 841572"/>
              <a:gd name="connsiteY3" fmla="*/ 1168012 h 1168012"/>
              <a:gd name="connsiteX4" fmla="*/ 0 w 841572"/>
              <a:gd name="connsiteY4" fmla="*/ 0 h 11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572" h="1168012">
                <a:moveTo>
                  <a:pt x="0" y="0"/>
                </a:moveTo>
                <a:lnTo>
                  <a:pt x="841572" y="0"/>
                </a:lnTo>
                <a:lnTo>
                  <a:pt x="841572" y="981895"/>
                </a:lnTo>
                <a:lnTo>
                  <a:pt x="0" y="11680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480+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9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uzman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tr-TR" sz="9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Avrupa</a:t>
            </a:r>
          </a:p>
        </p:txBody>
      </p:sp>
      <p:sp>
        <p:nvSpPr>
          <p:cNvPr id="86" name="Title 5"/>
          <p:cNvSpPr txBox="1">
            <a:spLocks/>
          </p:cNvSpPr>
          <p:nvPr/>
        </p:nvSpPr>
        <p:spPr>
          <a:xfrm>
            <a:off x="672149" y="1050359"/>
            <a:ext cx="12098655" cy="246221"/>
          </a:xfrm>
          <a:prstGeom prst="rect">
            <a:avLst/>
          </a:pr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 smtClean="0"/>
              <a:t>Dünya </a:t>
            </a:r>
            <a:r>
              <a:rPr lang="tr-TR" dirty="0" err="1" smtClean="0"/>
              <a:t>çapındak</a:t>
            </a:r>
            <a:r>
              <a:rPr lang="tr-TR" dirty="0" smtClean="0"/>
              <a:t> yaklaşık </a:t>
            </a:r>
            <a:r>
              <a:rPr lang="tr-TR" dirty="0"/>
              <a:t>1.000 RSO çalışanımız ile, 25 ülkedeki 70 müşterimiz için beş platform üzerinde 100'den fazla proje geliştirdik ve </a:t>
            </a:r>
            <a:r>
              <a:rPr lang="tr-TR" dirty="0" smtClean="0"/>
              <a:t>%</a:t>
            </a:r>
            <a:r>
              <a:rPr lang="tr-TR" dirty="0"/>
              <a:t>30'a varan maliyet </a:t>
            </a:r>
            <a:r>
              <a:rPr lang="tr-TR" dirty="0" smtClean="0"/>
              <a:t>tasarrufuna olanak sağladık</a:t>
            </a:r>
            <a:endParaRPr lang="tr-TR" dirty="0"/>
          </a:p>
        </p:txBody>
      </p:sp>
      <p:sp>
        <p:nvSpPr>
          <p:cNvPr id="107" name="TextBox 106"/>
          <p:cNvSpPr txBox="1"/>
          <p:nvPr/>
        </p:nvSpPr>
        <p:spPr>
          <a:xfrm>
            <a:off x="5103344" y="1734987"/>
            <a:ext cx="1987171" cy="1477328"/>
          </a:xfrm>
          <a:prstGeom prst="rect">
            <a:avLst/>
          </a:pr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/>
              <a:t>22 müşteride üretim / pilot düzeyinde 70+ proje</a:t>
            </a:r>
          </a:p>
          <a:p>
            <a:r>
              <a:rPr lang="tr-TR" dirty="0"/>
              <a:t>İki küresel sigorta şirketinde RSO yaygınlaştırması</a:t>
            </a:r>
          </a:p>
          <a:p>
            <a:r>
              <a:rPr lang="tr-TR" dirty="0"/>
              <a:t>İki küresel Avrupalı sigorta şirketinde ve bir küresel bankada RSO yaygınlaştırması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709843" y="4213332"/>
            <a:ext cx="2914293" cy="1015663"/>
          </a:xfrm>
          <a:prstGeom prst="rect">
            <a:avLst/>
          </a:pr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/>
              <a:t>5 müşteride üretim / pilot düzeyinde 10+ proje</a:t>
            </a:r>
          </a:p>
          <a:p>
            <a:r>
              <a:rPr lang="tr-TR" dirty="0"/>
              <a:t>Üç küresel finans kurumuna RSO yaygınlaştırma desteği</a:t>
            </a:r>
          </a:p>
          <a:p>
            <a:r>
              <a:rPr lang="tr-TR" dirty="0"/>
              <a:t>EY bünyesinde arka büro operasyonlarını desteklemek için RSO yaygınlaştırması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6091175" y="4213332"/>
            <a:ext cx="1375973" cy="553998"/>
          </a:xfrm>
          <a:prstGeom prst="rect">
            <a:avLst/>
          </a:prstGeom>
          <a:solidFill>
            <a:srgbClr val="FFFFFF"/>
          </a:solidFill>
          <a:ln w="38100">
            <a:solidFill>
              <a:srgbClr val="FF0000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/>
              <a:t>20 </a:t>
            </a:r>
            <a:r>
              <a:rPr lang="tr-TR" dirty="0" err="1"/>
              <a:t>PoC</a:t>
            </a:r>
            <a:r>
              <a:rPr lang="tr-TR" dirty="0"/>
              <a:t> </a:t>
            </a:r>
          </a:p>
          <a:p>
            <a:r>
              <a:rPr lang="tr-TR" dirty="0"/>
              <a:t>5 pilot</a:t>
            </a:r>
          </a:p>
          <a:p>
            <a:r>
              <a:rPr lang="tr-TR" dirty="0"/>
              <a:t>2 yaygınlaştırma</a:t>
            </a:r>
          </a:p>
        </p:txBody>
      </p:sp>
      <p:sp>
        <p:nvSpPr>
          <p:cNvPr id="383" name="Rectangle 17"/>
          <p:cNvSpPr/>
          <p:nvPr/>
        </p:nvSpPr>
        <p:spPr>
          <a:xfrm>
            <a:off x="5035887" y="4213332"/>
            <a:ext cx="991788" cy="1148400"/>
          </a:xfrm>
          <a:custGeom>
            <a:avLst/>
            <a:gdLst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1168012 h 1168012"/>
              <a:gd name="connsiteX3" fmla="*/ 0 w 841572"/>
              <a:gd name="connsiteY3" fmla="*/ 1168012 h 1168012"/>
              <a:gd name="connsiteX4" fmla="*/ 0 w 841572"/>
              <a:gd name="connsiteY4" fmla="*/ 0 h 1168012"/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981895 h 1168012"/>
              <a:gd name="connsiteX3" fmla="*/ 0 w 841572"/>
              <a:gd name="connsiteY3" fmla="*/ 1168012 h 1168012"/>
              <a:gd name="connsiteX4" fmla="*/ 0 w 841572"/>
              <a:gd name="connsiteY4" fmla="*/ 0 h 11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572" h="1168012">
                <a:moveTo>
                  <a:pt x="0" y="0"/>
                </a:moveTo>
                <a:lnTo>
                  <a:pt x="841572" y="0"/>
                </a:lnTo>
                <a:lnTo>
                  <a:pt x="841572" y="981895"/>
                </a:lnTo>
                <a:lnTo>
                  <a:pt x="0" y="11680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8100">
            <a:solidFill>
              <a:srgbClr val="FF0000"/>
            </a:solidFill>
          </a:ln>
        </p:spPr>
        <p:txBody>
          <a:bodyPr wrap="square" rtlCol="0" anchor="t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15</a:t>
            </a:r>
            <a:r>
              <a:rPr lang="tr-TR" sz="2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↑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9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uzman</a:t>
            </a:r>
            <a:endParaRPr lang="tr-TR" sz="9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tr-TR" sz="9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Türkiye</a:t>
            </a:r>
            <a:endParaRPr lang="tr-TR" sz="14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894187" y="4213332"/>
            <a:ext cx="2856280" cy="2371740"/>
            <a:chOff x="913904" y="4213332"/>
            <a:chExt cx="2856280" cy="2371740"/>
          </a:xfrm>
        </p:grpSpPr>
        <p:sp>
          <p:nvSpPr>
            <p:cNvPr id="80" name="Rectangle 17"/>
            <p:cNvSpPr/>
            <p:nvPr/>
          </p:nvSpPr>
          <p:spPr>
            <a:xfrm>
              <a:off x="913904" y="4213332"/>
              <a:ext cx="991788" cy="1148400"/>
            </a:xfrm>
            <a:custGeom>
              <a:avLst/>
              <a:gdLst>
                <a:gd name="connsiteX0" fmla="*/ 0 w 841572"/>
                <a:gd name="connsiteY0" fmla="*/ 0 h 1168012"/>
                <a:gd name="connsiteX1" fmla="*/ 841572 w 841572"/>
                <a:gd name="connsiteY1" fmla="*/ 0 h 1168012"/>
                <a:gd name="connsiteX2" fmla="*/ 841572 w 841572"/>
                <a:gd name="connsiteY2" fmla="*/ 1168012 h 1168012"/>
                <a:gd name="connsiteX3" fmla="*/ 0 w 841572"/>
                <a:gd name="connsiteY3" fmla="*/ 1168012 h 1168012"/>
                <a:gd name="connsiteX4" fmla="*/ 0 w 841572"/>
                <a:gd name="connsiteY4" fmla="*/ 0 h 1168012"/>
                <a:gd name="connsiteX0" fmla="*/ 0 w 841572"/>
                <a:gd name="connsiteY0" fmla="*/ 0 h 1168012"/>
                <a:gd name="connsiteX1" fmla="*/ 841572 w 841572"/>
                <a:gd name="connsiteY1" fmla="*/ 0 h 1168012"/>
                <a:gd name="connsiteX2" fmla="*/ 841572 w 841572"/>
                <a:gd name="connsiteY2" fmla="*/ 981895 h 1168012"/>
                <a:gd name="connsiteX3" fmla="*/ 0 w 841572"/>
                <a:gd name="connsiteY3" fmla="*/ 1168012 h 1168012"/>
                <a:gd name="connsiteX4" fmla="*/ 0 w 841572"/>
                <a:gd name="connsiteY4" fmla="*/ 0 h 116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1572" h="1168012">
                  <a:moveTo>
                    <a:pt x="0" y="0"/>
                  </a:moveTo>
                  <a:lnTo>
                    <a:pt x="841572" y="0"/>
                  </a:lnTo>
                  <a:lnTo>
                    <a:pt x="841572" y="981895"/>
                  </a:lnTo>
                  <a:lnTo>
                    <a:pt x="0" y="1168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38100">
              <a:solidFill>
                <a:schemeClr val="accent6"/>
              </a:solidFill>
            </a:ln>
          </p:spPr>
          <p:txBody>
            <a:bodyPr wrap="square" rtlCol="0" anchor="t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5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9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Lider platform tecrübesi</a:t>
              </a:r>
              <a:endParaRPr kumimoji="0" lang="tr-TR" sz="8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1969192" y="4213332"/>
              <a:ext cx="1800992" cy="2371740"/>
              <a:chOff x="1937442" y="4213332"/>
              <a:chExt cx="1800992" cy="2371740"/>
            </a:xfrm>
          </p:grpSpPr>
          <p:sp>
            <p:nvSpPr>
              <p:cNvPr id="381" name="TextBox 380"/>
              <p:cNvSpPr txBox="1"/>
              <p:nvPr/>
            </p:nvSpPr>
            <p:spPr>
              <a:xfrm>
                <a:off x="1937442" y="4213332"/>
                <a:ext cx="1800992" cy="2371740"/>
              </a:xfrm>
              <a:prstGeom prst="rect">
                <a:avLst/>
              </a:prstGeom>
              <a:solidFill>
                <a:srgbClr val="FFFFFF"/>
              </a:solidFill>
              <a:ln w="38100">
                <a:solidFill>
                  <a:schemeClr val="accent6"/>
                </a:solidFill>
              </a:ln>
            </p:spPr>
            <p:txBody>
              <a:bodyPr wrap="square" rtlCol="0" anchor="t">
                <a:noAutofit/>
              </a:bodyPr>
              <a:lstStyle>
                <a:defPPr>
                  <a:defRPr lang="en-GB"/>
                </a:defPPr>
                <a:lvl1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400" b="1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YInterstate Light" panose="02000506000000020004" pitchFamily="2" charset="0"/>
                  </a:defRPr>
                </a:lvl1pPr>
              </a:lstStyle>
              <a:p>
                <a:pPr algn="l"/>
                <a:endParaRPr lang="tr-TR" sz="800" dirty="0"/>
              </a:p>
            </p:txBody>
          </p:sp>
          <p:pic>
            <p:nvPicPr>
              <p:cNvPr id="81" name="Picture 3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69015" y="5122094"/>
                <a:ext cx="1131928" cy="430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Picture 4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97938" y="4657363"/>
                <a:ext cx="722111" cy="3206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Picture 82"/>
              <p:cNvPicPr>
                <a:picLocks noChangeAspect="1"/>
              </p:cNvPicPr>
              <p:nvPr/>
            </p:nvPicPr>
            <p:blipFill>
              <a:blip r:embed="rId9">
                <a:clrChange>
                  <a:clrFrom>
                    <a:srgbClr val="FAFFFB"/>
                  </a:clrFrom>
                  <a:clrTo>
                    <a:srgbClr val="FAFFFB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3662" y="4378908"/>
                <a:ext cx="934706" cy="207713"/>
              </a:xfrm>
              <a:prstGeom prst="rect">
                <a:avLst/>
              </a:prstGeom>
            </p:spPr>
          </p:pic>
          <p:pic>
            <p:nvPicPr>
              <p:cNvPr id="84" name="Picture 6"/>
              <p:cNvPicPr>
                <a:picLocks noChangeAspect="1" noChangeArrowheads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74688" y="5591554"/>
                <a:ext cx="1405463" cy="3206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85" name="Group 84"/>
              <p:cNvGrpSpPr/>
              <p:nvPr/>
            </p:nvGrpSpPr>
            <p:grpSpPr>
              <a:xfrm>
                <a:off x="2094313" y="5954245"/>
                <a:ext cx="1056724" cy="407687"/>
                <a:chOff x="1679575" y="4549516"/>
                <a:chExt cx="1322831" cy="559990"/>
              </a:xfrm>
            </p:grpSpPr>
            <p:pic>
              <p:nvPicPr>
                <p:cNvPr id="87" name="Picture 2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clrChange>
                    <a:clrFrom>
                      <a:srgbClr val="FFFFFD"/>
                    </a:clrFrom>
                    <a:clrTo>
                      <a:srgbClr val="FFFFFD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08192" y="4659323"/>
                  <a:ext cx="762000" cy="3619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8" name="Picture 3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70192" y="4577292"/>
                  <a:ext cx="532214" cy="5322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9" name="Rectangle 88"/>
                <p:cNvSpPr/>
                <p:nvPr/>
              </p:nvSpPr>
              <p:spPr>
                <a:xfrm>
                  <a:off x="1679575" y="4549516"/>
                  <a:ext cx="1322831" cy="559990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808080"/>
                  </a:solidFill>
                  <a:prstDash val="solid"/>
                </a:ln>
                <a:effectLst/>
              </p:spPr>
              <p:txBody>
                <a:bodyPr rtlCol="0" anchor="t" anchorCtr="0"/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200" b="0" i="0" u="none" strike="noStrike" kern="0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EYInterstate Light" panose="02000506000000020004" pitchFamily="2" charset="0"/>
                  </a:endParaRPr>
                </a:p>
              </p:txBody>
            </p:sp>
          </p:grpSp>
        </p:grpSp>
      </p:grpSp>
      <p:sp>
        <p:nvSpPr>
          <p:cNvPr id="382" name="Rectangle 17"/>
          <p:cNvSpPr/>
          <p:nvPr/>
        </p:nvSpPr>
        <p:spPr>
          <a:xfrm>
            <a:off x="7699577" y="4213332"/>
            <a:ext cx="946767" cy="1148400"/>
          </a:xfrm>
          <a:custGeom>
            <a:avLst/>
            <a:gdLst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1168012 h 1168012"/>
              <a:gd name="connsiteX3" fmla="*/ 0 w 841572"/>
              <a:gd name="connsiteY3" fmla="*/ 1168012 h 1168012"/>
              <a:gd name="connsiteX4" fmla="*/ 0 w 841572"/>
              <a:gd name="connsiteY4" fmla="*/ 0 h 1168012"/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981895 h 1168012"/>
              <a:gd name="connsiteX3" fmla="*/ 0 w 841572"/>
              <a:gd name="connsiteY3" fmla="*/ 1168012 h 1168012"/>
              <a:gd name="connsiteX4" fmla="*/ 0 w 841572"/>
              <a:gd name="connsiteY4" fmla="*/ 0 h 11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572" h="1168012">
                <a:moveTo>
                  <a:pt x="0" y="0"/>
                </a:moveTo>
                <a:lnTo>
                  <a:pt x="841572" y="0"/>
                </a:lnTo>
                <a:lnTo>
                  <a:pt x="841572" y="981895"/>
                </a:lnTo>
                <a:lnTo>
                  <a:pt x="0" y="11680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120</a:t>
            </a:r>
            <a:r>
              <a:rPr lang="tr-TR" sz="2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+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9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uzman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tr-TR" sz="9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35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Hindistan</a:t>
            </a:r>
            <a:endParaRPr lang="tr-TR" sz="135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384" name="TextBox 383"/>
          <p:cNvSpPr txBox="1"/>
          <p:nvPr/>
        </p:nvSpPr>
        <p:spPr>
          <a:xfrm>
            <a:off x="10679661" y="5519056"/>
            <a:ext cx="1823141" cy="553998"/>
          </a:xfrm>
          <a:prstGeom prst="rect">
            <a:avLst/>
          </a:pr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/>
              <a:t>Avustralyalı çokuluslu bankada RSO yaygınlaştırması</a:t>
            </a:r>
          </a:p>
        </p:txBody>
      </p:sp>
      <p:sp>
        <p:nvSpPr>
          <p:cNvPr id="385" name="Rectangle 17"/>
          <p:cNvSpPr/>
          <p:nvPr/>
        </p:nvSpPr>
        <p:spPr>
          <a:xfrm>
            <a:off x="9669395" y="5519056"/>
            <a:ext cx="946767" cy="1148400"/>
          </a:xfrm>
          <a:custGeom>
            <a:avLst/>
            <a:gdLst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1168012 h 1168012"/>
              <a:gd name="connsiteX3" fmla="*/ 0 w 841572"/>
              <a:gd name="connsiteY3" fmla="*/ 1168012 h 1168012"/>
              <a:gd name="connsiteX4" fmla="*/ 0 w 841572"/>
              <a:gd name="connsiteY4" fmla="*/ 0 h 1168012"/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981895 h 1168012"/>
              <a:gd name="connsiteX3" fmla="*/ 0 w 841572"/>
              <a:gd name="connsiteY3" fmla="*/ 1168012 h 1168012"/>
              <a:gd name="connsiteX4" fmla="*/ 0 w 841572"/>
              <a:gd name="connsiteY4" fmla="*/ 0 h 11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572" h="1168012">
                <a:moveTo>
                  <a:pt x="0" y="0"/>
                </a:moveTo>
                <a:lnTo>
                  <a:pt x="841572" y="0"/>
                </a:lnTo>
                <a:lnTo>
                  <a:pt x="841572" y="981895"/>
                </a:lnTo>
                <a:lnTo>
                  <a:pt x="0" y="11680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6</a:t>
            </a:r>
            <a:r>
              <a:rPr lang="tr-TR" sz="2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0</a:t>
            </a:r>
            <a:r>
              <a:rPr lang="tr-TR" sz="24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+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900" b="1" kern="0" dirty="0">
                <a:solidFill>
                  <a:srgbClr val="000000"/>
                </a:solidFill>
                <a:latin typeface="EYInterstate Light" panose="02000506000000020004" pitchFamily="2" charset="0"/>
              </a:rPr>
              <a:t>uzman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tr-TR" sz="9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15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Avustralya</a:t>
            </a:r>
            <a:endParaRPr lang="tr-TR" sz="115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386" name="TextBox 385"/>
          <p:cNvSpPr txBox="1"/>
          <p:nvPr/>
        </p:nvSpPr>
        <p:spPr>
          <a:xfrm>
            <a:off x="11023290" y="2963091"/>
            <a:ext cx="1823141" cy="861774"/>
          </a:xfrm>
          <a:prstGeom prst="rect">
            <a:avLst/>
          </a:pr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spAutoFit/>
          </a:bodyPr>
          <a:lstStyle>
            <a:defPPr>
              <a:defRPr lang="en-GB"/>
            </a:defPPr>
            <a:lvl1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tr-TR" dirty="0"/>
              <a:t>Üç müşteride üretim / pilot düzeyinde üç proje</a:t>
            </a:r>
          </a:p>
          <a:p>
            <a:r>
              <a:rPr lang="tr-TR" dirty="0"/>
              <a:t>Büyük bir Japon bankası için RSO yaygınlaştırması</a:t>
            </a:r>
          </a:p>
        </p:txBody>
      </p:sp>
      <p:sp>
        <p:nvSpPr>
          <p:cNvPr id="387" name="Rectangle 17"/>
          <p:cNvSpPr/>
          <p:nvPr/>
        </p:nvSpPr>
        <p:spPr>
          <a:xfrm>
            <a:off x="10013024" y="2963091"/>
            <a:ext cx="946767" cy="1148400"/>
          </a:xfrm>
          <a:custGeom>
            <a:avLst/>
            <a:gdLst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1168012 h 1168012"/>
              <a:gd name="connsiteX3" fmla="*/ 0 w 841572"/>
              <a:gd name="connsiteY3" fmla="*/ 1168012 h 1168012"/>
              <a:gd name="connsiteX4" fmla="*/ 0 w 841572"/>
              <a:gd name="connsiteY4" fmla="*/ 0 h 1168012"/>
              <a:gd name="connsiteX0" fmla="*/ 0 w 841572"/>
              <a:gd name="connsiteY0" fmla="*/ 0 h 1168012"/>
              <a:gd name="connsiteX1" fmla="*/ 841572 w 841572"/>
              <a:gd name="connsiteY1" fmla="*/ 0 h 1168012"/>
              <a:gd name="connsiteX2" fmla="*/ 841572 w 841572"/>
              <a:gd name="connsiteY2" fmla="*/ 981895 h 1168012"/>
              <a:gd name="connsiteX3" fmla="*/ 0 w 841572"/>
              <a:gd name="connsiteY3" fmla="*/ 1168012 h 1168012"/>
              <a:gd name="connsiteX4" fmla="*/ 0 w 841572"/>
              <a:gd name="connsiteY4" fmla="*/ 0 h 11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572" h="1168012">
                <a:moveTo>
                  <a:pt x="0" y="0"/>
                </a:moveTo>
                <a:lnTo>
                  <a:pt x="841572" y="0"/>
                </a:lnTo>
                <a:lnTo>
                  <a:pt x="841572" y="981895"/>
                </a:lnTo>
                <a:lnTo>
                  <a:pt x="0" y="11680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8100">
            <a:solidFill>
              <a:schemeClr val="accent6"/>
            </a:solidFill>
          </a:ln>
        </p:spPr>
        <p:txBody>
          <a:bodyPr wrap="square" rtlCol="0" anchor="t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60+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9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uzman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tr-TR" sz="900" b="1" kern="0" dirty="0" smtClean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1400" b="1" kern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Japonya</a:t>
            </a:r>
            <a:endParaRPr lang="tr-TR" sz="1400" b="1" kern="0" dirty="0">
              <a:solidFill>
                <a:srgbClr val="000000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428357" y="932649"/>
            <a:ext cx="6222082" cy="6222082"/>
            <a:chOff x="3428357" y="932649"/>
            <a:chExt cx="6222082" cy="6222082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1609" y="1316524"/>
              <a:ext cx="5455573" cy="5454330"/>
            </a:xfrm>
            <a:prstGeom prst="ellipse">
              <a:avLst/>
            </a:prstGeom>
          </p:spPr>
        </p:pic>
        <p:sp>
          <p:nvSpPr>
            <p:cNvPr id="115" name="Rectangle 114"/>
            <p:cNvSpPr/>
            <p:nvPr/>
          </p:nvSpPr>
          <p:spPr>
            <a:xfrm>
              <a:off x="3524190" y="4557565"/>
              <a:ext cx="6030415" cy="1650339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algn="l" defTabSz="91395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tr-TR" sz="1000" kern="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3811622" y="4604164"/>
              <a:ext cx="5455562" cy="1329578"/>
            </a:xfrm>
            <a:prstGeom prst="rect">
              <a:avLst/>
            </a:prstGeom>
            <a:noFill/>
          </p:spPr>
          <p:txBody>
            <a:bodyPr wrap="square" lIns="0" tIns="36559" rIns="0" bIns="0" rtlCol="0">
              <a:spAutoFit/>
            </a:bodyPr>
            <a:lstStyle/>
            <a:p>
              <a:pPr defTabSz="91395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70000"/>
                <a:defRPr/>
              </a:pPr>
              <a:r>
                <a:rPr lang="tr-TR" sz="2800" b="1" kern="0" dirty="0" smtClean="0">
                  <a:solidFill>
                    <a:schemeClr val="accent2"/>
                  </a:solidFill>
                  <a:latin typeface="EYInterstate Light" panose="02000506000000020004" pitchFamily="2" charset="0"/>
                </a:rPr>
                <a:t>EY Robotik Süreç Otomasyonu (RSO)</a:t>
              </a:r>
            </a:p>
            <a:p>
              <a:pPr defTabSz="91395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70000"/>
                <a:defRPr/>
              </a:pPr>
              <a:r>
                <a:rPr lang="tr-TR" sz="2800" b="1" kern="0" dirty="0" smtClean="0">
                  <a:solidFill>
                    <a:schemeClr val="bg1"/>
                  </a:solidFill>
                  <a:latin typeface="EYInterstate Light" panose="02000506000000020004" pitchFamily="2" charset="0"/>
                </a:rPr>
                <a:t>çözümünde market lideridir</a:t>
              </a:r>
              <a:endParaRPr lang="tr-TR" sz="2800" b="1" kern="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3428357" y="932649"/>
              <a:ext cx="6222082" cy="6222082"/>
            </a:xfrm>
            <a:prstGeom prst="ellipse">
              <a:avLst/>
            </a:prstGeom>
            <a:noFill/>
            <a:ln w="9525" cap="flat" cmpd="sng" algn="ctr">
              <a:solidFill>
                <a:srgbClr val="808080"/>
              </a:solidFill>
              <a:prstDash val="lgDash"/>
            </a:ln>
            <a:effectLst/>
          </p:spPr>
          <p:txBody>
            <a:bodyPr rtlCol="0" anchor="t" anchorCtr="0"/>
            <a:lstStyle/>
            <a:p>
              <a:pPr algn="l" defTabSz="91395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tr-TR" sz="1000" kern="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03604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66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85000"/>
              </a:lnSpc>
            </a:pPr>
            <a:endParaRPr lang="tr-TR" sz="2400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>
                <a:latin typeface="EYInterstate Light" panose="02000506000000020004" pitchFamily="2" charset="0"/>
              </a:rPr>
              <a:t>Ayrıca «Düşünce Liderliği» çalışmalarımızla bilgilerimizi sizinle paylaşıyoruz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527883" y="1352375"/>
            <a:ext cx="12387187" cy="4856512"/>
            <a:chOff x="527883" y="1352375"/>
            <a:chExt cx="12387187" cy="4856512"/>
          </a:xfrm>
        </p:grpSpPr>
        <p:sp>
          <p:nvSpPr>
            <p:cNvPr id="43" name="Rectangle 42"/>
            <p:cNvSpPr/>
            <p:nvPr/>
          </p:nvSpPr>
          <p:spPr>
            <a:xfrm>
              <a:off x="8997744" y="1382278"/>
              <a:ext cx="3917326" cy="2321050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0885206" y="2093587"/>
              <a:ext cx="1933375" cy="683247"/>
            </a:xfrm>
            <a:prstGeom prst="rect">
              <a:avLst/>
            </a:prstGeom>
            <a:noFill/>
          </p:spPr>
          <p:txBody>
            <a:bodyPr wrap="square" lIns="0" tIns="36559" rIns="0" bIns="0" rtlCol="0">
              <a:spAutoFit/>
            </a:bodyPr>
            <a:lstStyle/>
            <a:p>
              <a:pPr algn="l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70000"/>
              </a:pPr>
              <a:r>
                <a:rPr lang="tr-TR" sz="1400" b="1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Akıllı Otomasyon: Geleceğin İş Modelini Yeniden Şekillendirmek</a:t>
              </a:r>
              <a:endParaRPr lang="en-US" sz="1400" b="1" dirty="0">
                <a:solidFill>
                  <a:srgbClr val="FFFFFF"/>
                </a:solidFill>
                <a:latin typeface="EYInterstate Light" panose="02000506000000020004" pitchFamily="2" charset="0"/>
                <a:cs typeface="Arial" panose="020B0604020202020204" pitchFamily="34" charset="0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9216407" y="1487780"/>
              <a:ext cx="1614330" cy="2110046"/>
              <a:chOff x="792420" y="1699961"/>
              <a:chExt cx="1615086" cy="2111034"/>
            </a:xfrm>
          </p:grpSpPr>
          <p:pic>
            <p:nvPicPr>
              <p:cNvPr id="109" name="Picture 108" descr="Screen Clippi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2420" y="1763778"/>
                <a:ext cx="1474243" cy="1983400"/>
              </a:xfrm>
              <a:prstGeom prst="rect">
                <a:avLst/>
              </a:prstGeom>
              <a:ln>
                <a:solidFill>
                  <a:srgbClr val="808080"/>
                </a:solidFill>
              </a:ln>
            </p:spPr>
          </p:pic>
          <p:cxnSp>
            <p:nvCxnSpPr>
              <p:cNvPr id="110" name="Straight Connector 109"/>
              <p:cNvCxnSpPr/>
              <p:nvPr/>
            </p:nvCxnSpPr>
            <p:spPr>
              <a:xfrm flipV="1">
                <a:off x="2407506" y="1699961"/>
                <a:ext cx="0" cy="2111034"/>
              </a:xfrm>
              <a:prstGeom prst="line">
                <a:avLst/>
              </a:prstGeom>
              <a:ln w="6350">
                <a:solidFill>
                  <a:srgbClr val="FFFFFF"/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6" name="TextBox 45"/>
            <p:cNvSpPr txBox="1"/>
            <p:nvPr/>
          </p:nvSpPr>
          <p:spPr>
            <a:xfrm>
              <a:off x="12273401" y="1487780"/>
              <a:ext cx="627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7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746502" y="3887837"/>
              <a:ext cx="3917326" cy="232105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pic>
          <p:nvPicPr>
            <p:cNvPr id="48" name="Picture 47" descr="Screen Clippi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8800" y="4027528"/>
              <a:ext cx="2395496" cy="1449294"/>
            </a:xfrm>
            <a:prstGeom prst="rect">
              <a:avLst/>
            </a:prstGeom>
            <a:ln>
              <a:solidFill>
                <a:srgbClr val="808080"/>
              </a:solidFill>
            </a:ln>
          </p:spPr>
        </p:pic>
        <p:sp>
          <p:nvSpPr>
            <p:cNvPr id="49" name="TextBox 48"/>
            <p:cNvSpPr txBox="1"/>
            <p:nvPr/>
          </p:nvSpPr>
          <p:spPr>
            <a:xfrm>
              <a:off x="4868013" y="5602424"/>
              <a:ext cx="3674304" cy="252360"/>
            </a:xfrm>
            <a:prstGeom prst="rect">
              <a:avLst/>
            </a:prstGeom>
            <a:noFill/>
          </p:spPr>
          <p:txBody>
            <a:bodyPr wrap="square" lIns="0" tIns="36559" rIns="0" bIns="0" rtlCol="0">
              <a:spAutoFit/>
            </a:bodyPr>
            <a:lstStyle/>
            <a:p>
              <a:pPr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70000"/>
              </a:pPr>
              <a:r>
                <a:rPr lang="tr-TR" sz="1400" b="1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Teknoloji İnsanlardan Önce mi Geliyor?</a:t>
              </a:r>
              <a:endParaRPr lang="en-US" sz="1400" b="1" dirty="0">
                <a:solidFill>
                  <a:srgbClr val="FFFFFF"/>
                </a:solidFill>
                <a:latin typeface="EYInterstate Light" panose="02000506000000020004" pitchFamily="2" charset="0"/>
                <a:cs typeface="Arial" panose="020B0604020202020204" pitchFamily="34" charset="0"/>
              </a:endParaRPr>
            </a:p>
          </p:txBody>
        </p:sp>
        <p:cxnSp>
          <p:nvCxnSpPr>
            <p:cNvPr id="50" name="Straight Connector 49"/>
            <p:cNvCxnSpPr/>
            <p:nvPr/>
          </p:nvCxnSpPr>
          <p:spPr>
            <a:xfrm flipH="1">
              <a:off x="4746501" y="5539622"/>
              <a:ext cx="3917326" cy="0"/>
            </a:xfrm>
            <a:prstGeom prst="line">
              <a:avLst/>
            </a:prstGeom>
            <a:ln w="6350">
              <a:solidFill>
                <a:srgbClr val="FFFFFF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7878971" y="3993339"/>
              <a:ext cx="627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6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527883" y="1382278"/>
              <a:ext cx="3917326" cy="232105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456430" y="2201277"/>
              <a:ext cx="1979013" cy="683247"/>
            </a:xfrm>
            <a:prstGeom prst="rect">
              <a:avLst/>
            </a:prstGeom>
            <a:noFill/>
          </p:spPr>
          <p:txBody>
            <a:bodyPr wrap="square" lIns="0" tIns="36559" rIns="0" bIns="0" rtlCol="0">
              <a:spAutoFit/>
            </a:bodyPr>
            <a:lstStyle/>
            <a:p>
              <a:pPr algn="l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70000"/>
              </a:pPr>
              <a:r>
                <a:rPr lang="tr-TR" sz="1400" b="1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RSO Uygulamalarında Risk Ve Kontrol Hususları</a:t>
              </a:r>
              <a:endParaRPr lang="en-US" sz="1400" b="1" dirty="0">
                <a:solidFill>
                  <a:srgbClr val="FFFFFF"/>
                </a:solidFill>
                <a:latin typeface="EYInterstate Light" panose="02000506000000020004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8390" y="1551467"/>
              <a:ext cx="1531801" cy="1982671"/>
            </a:xfrm>
            <a:prstGeom prst="rect">
              <a:avLst/>
            </a:prstGeom>
          </p:spPr>
        </p:pic>
        <p:cxnSp>
          <p:nvCxnSpPr>
            <p:cNvPr id="66" name="Straight Connector 65"/>
            <p:cNvCxnSpPr/>
            <p:nvPr/>
          </p:nvCxnSpPr>
          <p:spPr>
            <a:xfrm flipV="1">
              <a:off x="2415381" y="1487780"/>
              <a:ext cx="0" cy="2110046"/>
            </a:xfrm>
            <a:prstGeom prst="line">
              <a:avLst/>
            </a:prstGeom>
            <a:ln w="6350">
              <a:solidFill>
                <a:srgbClr val="FFFFFF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/>
            <p:cNvSpPr txBox="1"/>
            <p:nvPr/>
          </p:nvSpPr>
          <p:spPr>
            <a:xfrm>
              <a:off x="3802232" y="1469977"/>
              <a:ext cx="627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8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8997744" y="3887837"/>
              <a:ext cx="3917326" cy="2321050"/>
            </a:xfrm>
            <a:prstGeom prst="rect">
              <a:avLst/>
            </a:prstGeom>
            <a:solidFill>
              <a:srgbClr val="C0C0C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216727" y="3993339"/>
              <a:ext cx="3560294" cy="2110046"/>
              <a:chOff x="6777025" y="4210877"/>
              <a:chExt cx="3561962" cy="2111034"/>
            </a:xfrm>
            <a:solidFill>
              <a:srgbClr val="C0C0C0"/>
            </a:solidFill>
          </p:grpSpPr>
          <p:pic>
            <p:nvPicPr>
              <p:cNvPr id="98" name="Picture 97"/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777025" y="4274594"/>
                <a:ext cx="1499195" cy="1983600"/>
              </a:xfrm>
              <a:prstGeom prst="rect">
                <a:avLst/>
              </a:prstGeom>
              <a:grpFill/>
              <a:ln>
                <a:solidFill>
                  <a:srgbClr val="808080"/>
                </a:solidFill>
              </a:ln>
            </p:spPr>
          </p:pic>
          <p:sp>
            <p:nvSpPr>
              <p:cNvPr id="99" name="TextBox 98"/>
              <p:cNvSpPr txBox="1"/>
              <p:nvPr/>
            </p:nvSpPr>
            <p:spPr>
              <a:xfrm>
                <a:off x="8477302" y="5032448"/>
                <a:ext cx="1861685" cy="468022"/>
              </a:xfrm>
              <a:prstGeom prst="rect">
                <a:avLst/>
              </a:prstGeom>
              <a:grpFill/>
            </p:spPr>
            <p:txBody>
              <a:bodyPr wrap="square" lIns="0" tIns="36559" rIns="0" bIns="0" rtlCol="0">
                <a:spAutoFit/>
              </a:bodyPr>
              <a:lstStyle>
                <a:defPPr>
                  <a:defRPr lang="en-GB"/>
                </a:defPPr>
                <a:lvl1pPr algn="l" eaLnBrk="0" hangingPunct="0">
                  <a:lnSpc>
                    <a:spcPct val="100000"/>
                  </a:lnSpc>
                  <a:spcAft>
                    <a:spcPts val="0"/>
                  </a:spcAft>
                  <a:buClr>
                    <a:srgbClr val="FFE600"/>
                  </a:buClr>
                  <a:buSzPct val="70000"/>
                  <a:defRPr sz="1400" b="1">
                    <a:solidFill>
                      <a:schemeClr val="bg1"/>
                    </a:solidFill>
                    <a:latin typeface="EYInterstate" panose="02000503020000020004" pitchFamily="2" charset="0"/>
                    <a:cs typeface="Arial" panose="020B0604020202020204" pitchFamily="34" charset="0"/>
                  </a:defRPr>
                </a:lvl1pPr>
              </a:lstStyle>
              <a:p>
                <a:pPr fontAlgn="auto">
                  <a:spcBef>
                    <a:spcPts val="0"/>
                  </a:spcBef>
                </a:pPr>
                <a:r>
                  <a:rPr lang="tr-TR" dirty="0">
                    <a:solidFill>
                      <a:srgbClr val="FFFFFF"/>
                    </a:solidFill>
                    <a:latin typeface="EYInterstate Light" panose="02000506000000020004" pitchFamily="2" charset="0"/>
                  </a:rPr>
                  <a:t>Robotlar İçin Hazır</a:t>
                </a:r>
              </a:p>
              <a:p>
                <a:pPr fontAlgn="auto">
                  <a:spcBef>
                    <a:spcPts val="0"/>
                  </a:spcBef>
                </a:pPr>
                <a:r>
                  <a:rPr lang="tr-TR" dirty="0">
                    <a:solidFill>
                      <a:srgbClr val="FFFFFF"/>
                    </a:solidFill>
                    <a:latin typeface="EYInterstate Light" panose="02000506000000020004" pitchFamily="2" charset="0"/>
                  </a:rPr>
                  <a:t>Olun</a:t>
                </a:r>
                <a:endParaRPr lang="en-US" dirty="0">
                  <a:solidFill>
                    <a:srgbClr val="FFFFFF"/>
                  </a:solidFill>
                  <a:latin typeface="EYInterstate Light" panose="02000506000000020004" pitchFamily="2" charset="0"/>
                </a:endParaRPr>
              </a:p>
            </p:txBody>
          </p:sp>
          <p:cxnSp>
            <p:nvCxnSpPr>
              <p:cNvPr id="108" name="Straight Connector 107"/>
              <p:cNvCxnSpPr/>
              <p:nvPr/>
            </p:nvCxnSpPr>
            <p:spPr>
              <a:xfrm flipV="1">
                <a:off x="8377234" y="4210877"/>
                <a:ext cx="0" cy="211103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TextBox 79"/>
            <p:cNvSpPr txBox="1"/>
            <p:nvPr/>
          </p:nvSpPr>
          <p:spPr>
            <a:xfrm>
              <a:off x="12149925" y="3975536"/>
              <a:ext cx="627095" cy="307777"/>
            </a:xfrm>
            <a:prstGeom prst="rect">
              <a:avLst/>
            </a:prstGeom>
            <a:solidFill>
              <a:srgbClr val="C0C0C0"/>
            </a:solidFill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6</a:t>
              </a: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527883" y="3887837"/>
              <a:ext cx="3917326" cy="2321050"/>
            </a:xfrm>
            <a:prstGeom prst="rect">
              <a:avLst/>
            </a:prstGeom>
            <a:solidFill>
              <a:srgbClr val="C0C0C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2385156" y="3993339"/>
              <a:ext cx="2060053" cy="2110046"/>
              <a:chOff x="6456502" y="1636144"/>
              <a:chExt cx="2061018" cy="2111034"/>
            </a:xfrm>
          </p:grpSpPr>
          <p:sp>
            <p:nvSpPr>
              <p:cNvPr id="96" name="TextBox 95"/>
              <p:cNvSpPr txBox="1"/>
              <p:nvPr/>
            </p:nvSpPr>
            <p:spPr>
              <a:xfrm>
                <a:off x="6535727" y="2466084"/>
                <a:ext cx="1981793" cy="468022"/>
              </a:xfrm>
              <a:prstGeom prst="rect">
                <a:avLst/>
              </a:prstGeom>
              <a:noFill/>
            </p:spPr>
            <p:txBody>
              <a:bodyPr wrap="square" lIns="0" tIns="36559" rIns="0" bIns="0" rtlCol="0">
                <a:spAutoFit/>
              </a:bodyPr>
              <a:lstStyle/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Finansal Sektörlerde </a:t>
                </a:r>
              </a:p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RSO</a:t>
                </a:r>
                <a:endParaRPr lang="en-US" sz="1199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EYInterstate Light" panose="02000506000000020004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 flipV="1">
                <a:off x="6456502" y="1636144"/>
                <a:ext cx="0" cy="2111034"/>
              </a:xfrm>
              <a:prstGeom prst="line">
                <a:avLst/>
              </a:prstGeom>
              <a:ln w="6350">
                <a:solidFill>
                  <a:srgbClr val="FFFFFF"/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TextBox 86"/>
            <p:cNvSpPr txBox="1"/>
            <p:nvPr/>
          </p:nvSpPr>
          <p:spPr>
            <a:xfrm>
              <a:off x="3660354" y="3993339"/>
              <a:ext cx="627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6</a:t>
              </a:r>
            </a:p>
          </p:txBody>
        </p: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0539" y="4065391"/>
              <a:ext cx="1408658" cy="1982671"/>
            </a:xfrm>
            <a:prstGeom prst="rect">
              <a:avLst/>
            </a:prstGeom>
          </p:spPr>
        </p:pic>
        <p:sp>
          <p:nvSpPr>
            <p:cNvPr id="90" name="Rectangle 89"/>
            <p:cNvSpPr/>
            <p:nvPr/>
          </p:nvSpPr>
          <p:spPr>
            <a:xfrm>
              <a:off x="4746501" y="1352375"/>
              <a:ext cx="3917326" cy="2321050"/>
            </a:xfrm>
            <a:prstGeom prst="rect">
              <a:avLst/>
            </a:prstGeom>
            <a:solidFill>
              <a:srgbClr val="C0C0C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199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6603774" y="1457877"/>
              <a:ext cx="2060053" cy="2110046"/>
              <a:chOff x="6456502" y="1636144"/>
              <a:chExt cx="2061018" cy="2111034"/>
            </a:xfrm>
          </p:grpSpPr>
          <p:sp>
            <p:nvSpPr>
              <p:cNvPr id="94" name="TextBox 93"/>
              <p:cNvSpPr txBox="1"/>
              <p:nvPr/>
            </p:nvSpPr>
            <p:spPr>
              <a:xfrm>
                <a:off x="6535727" y="2466085"/>
                <a:ext cx="1981793" cy="899111"/>
              </a:xfrm>
              <a:prstGeom prst="rect">
                <a:avLst/>
              </a:prstGeom>
              <a:noFill/>
            </p:spPr>
            <p:txBody>
              <a:bodyPr wrap="square" lIns="0" tIns="36559" rIns="0" bIns="0" rtlCol="0">
                <a:spAutoFit/>
              </a:bodyPr>
              <a:lstStyle/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Robotlar işimizi mi</a:t>
                </a:r>
              </a:p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kolaylaştıracak,</a:t>
                </a:r>
              </a:p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tamamen elimizden</a:t>
                </a:r>
              </a:p>
              <a:p>
                <a:pPr algn="l" eaLnBrk="0" fontAlgn="auto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E600"/>
                  </a:buClr>
                  <a:buSzPct val="70000"/>
                </a:pPr>
                <a:r>
                  <a:rPr lang="tr-TR" sz="1400" b="1" dirty="0">
                    <a:solidFill>
                      <a:srgbClr val="FFFFFF"/>
                    </a:solidFill>
                    <a:latin typeface="EYInterstate Light" panose="02000506000000020004" pitchFamily="2" charset="0"/>
                    <a:cs typeface="Arial" panose="020B0604020202020204" pitchFamily="34" charset="0"/>
                  </a:rPr>
                  <a:t>mi alacak?</a:t>
                </a:r>
                <a:endParaRPr lang="en-US" sz="1199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EYInterstate Light" panose="02000506000000020004" pitchFamily="2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5" name="Straight Connector 94"/>
              <p:cNvCxnSpPr/>
              <p:nvPr/>
            </p:nvCxnSpPr>
            <p:spPr>
              <a:xfrm flipV="1">
                <a:off x="6456502" y="1636144"/>
                <a:ext cx="0" cy="2111034"/>
              </a:xfrm>
              <a:prstGeom prst="line">
                <a:avLst/>
              </a:prstGeom>
              <a:ln w="6350">
                <a:solidFill>
                  <a:srgbClr val="FFFFFF"/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2" name="TextBox 91"/>
            <p:cNvSpPr txBox="1"/>
            <p:nvPr/>
          </p:nvSpPr>
          <p:spPr>
            <a:xfrm>
              <a:off x="7878972" y="1457877"/>
              <a:ext cx="627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201</a:t>
              </a:r>
              <a:r>
                <a:rPr lang="tr-TR" sz="1400" b="1" dirty="0" smtClean="0">
                  <a:solidFill>
                    <a:srgbClr val="FFFFFF"/>
                  </a:solidFill>
                  <a:latin typeface="EYInterstate Light" panose="02000506000000020004" pitchFamily="2" charset="0"/>
                </a:rPr>
                <a:t>8</a:t>
              </a:r>
              <a:endParaRPr lang="en-US" sz="1400" b="1" dirty="0">
                <a:solidFill>
                  <a:srgbClr val="FFFFFF"/>
                </a:solidFill>
                <a:latin typeface="EYInterstate Light" panose="02000506000000020004" pitchFamily="2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7095" y="1529465"/>
              <a:ext cx="1532782" cy="198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22847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542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763368" y="1721866"/>
            <a:ext cx="862937" cy="228125"/>
          </a:xfrm>
          <a:prstGeom prst="rect">
            <a:avLst/>
          </a:prstGeom>
          <a:noFill/>
        </p:spPr>
        <p:txBody>
          <a:bodyPr wrap="square" lIns="0" tIns="40308" rIns="0" bIns="0" rtlCol="0">
            <a:spAutoFit/>
          </a:bodyPr>
          <a:lstStyle/>
          <a:p>
            <a:pPr marL="194187" indent="-194187">
              <a:lnSpc>
                <a:spcPct val="85000"/>
              </a:lnSpc>
              <a:spcBef>
                <a:spcPts val="661"/>
              </a:spcBef>
              <a:spcAft>
                <a:spcPts val="661"/>
              </a:spcAft>
              <a:buClr>
                <a:schemeClr val="bg1"/>
              </a:buClr>
              <a:buSzPct val="125000"/>
              <a:buFontTx/>
              <a:buChar char="•"/>
            </a:pPr>
            <a:endParaRPr lang="en-US" sz="1433" dirty="0">
              <a:solidFill>
                <a:schemeClr val="bg1">
                  <a:lumMod val="60000"/>
                  <a:lumOff val="40000"/>
                </a:schemeClr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1811001" y="6489097"/>
            <a:ext cx="788456" cy="920462"/>
            <a:chOff x="11660818" y="5886537"/>
            <a:chExt cx="1088821" cy="1271115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1051"/>
            <a:stretch/>
          </p:blipFill>
          <p:spPr>
            <a:xfrm>
              <a:off x="11661327" y="5886537"/>
              <a:ext cx="1088312" cy="369277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415"/>
            <a:stretch/>
          </p:blipFill>
          <p:spPr>
            <a:xfrm>
              <a:off x="11660818" y="6270026"/>
              <a:ext cx="1088312" cy="887626"/>
            </a:xfrm>
            <a:prstGeom prst="rect">
              <a:avLst/>
            </a:prstGeom>
          </p:spPr>
        </p:pic>
      </p:grpSp>
      <p:sp>
        <p:nvSpPr>
          <p:cNvPr id="20" name="Title 1"/>
          <p:cNvSpPr txBox="1">
            <a:spLocks/>
          </p:cNvSpPr>
          <p:nvPr/>
        </p:nvSpPr>
        <p:spPr>
          <a:xfrm>
            <a:off x="-3605598" y="6692817"/>
            <a:ext cx="7960802" cy="9486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66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06" b="1" kern="120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r" defTabSz="100766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eşekkürler</a:t>
            </a: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pic>
        <p:nvPicPr>
          <p:cNvPr id="25" name="Picture 1645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99" y="-1213757"/>
            <a:ext cx="13439451" cy="7557762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144188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PGjP0rTeO_snfiHlx1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VU6i5lRQyLnIYLOkwP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yhgvkOR4eg.W1RMiZg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0ejZ7.RqWymwD5xWYv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XcSJI6SzGOR6uIGlhN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eqxByJSdKPZwE3GIey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QBz9JMSdyZhrTDRgKk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c2LZTR7mQ4NskhtpQ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00z2lRsuoP8z_A3cp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Ij30BgRvypT_3kEy2Z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cq73.Rkiz.Mw3n4QH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zqmB.S8mJly3zWOcj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1H7e9NT_u94NdiLvEH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1H7e9NT_u94NdiLvEH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1H7e9NT_u94NdiLvEH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1H7e9NT_u94NdiLvEH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1H7e9NT_u94NdiLvEH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4TP3VBTLSLjGdTW0rE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FFE600"/>
      </a:accent2>
      <a:accent3>
        <a:srgbClr val="A5A5A5"/>
      </a:accent3>
      <a:accent4>
        <a:srgbClr val="FFE6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EY dark print">
  <a:themeElements>
    <a:clrScheme name="Custom 2">
      <a:dk1>
        <a:srgbClr val="FFFFFF"/>
      </a:dk1>
      <a:lt1>
        <a:srgbClr val="FFFFFF"/>
      </a:lt1>
      <a:dk2>
        <a:srgbClr val="333333"/>
      </a:dk2>
      <a:lt2>
        <a:srgbClr val="FFE60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4_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FDC204"/>
      </a:dk2>
      <a:lt2>
        <a:srgbClr val="FFFFFF"/>
      </a:lt2>
      <a:accent1>
        <a:srgbClr val="F00000"/>
      </a:accent1>
      <a:accent2>
        <a:srgbClr val="00B511"/>
      </a:accent2>
      <a:accent3>
        <a:srgbClr val="FFFFFF"/>
      </a:accent3>
      <a:accent4>
        <a:srgbClr val="000000"/>
      </a:accent4>
      <a:accent5>
        <a:srgbClr val="F6AAAA"/>
      </a:accent5>
      <a:accent6>
        <a:srgbClr val="00A40E"/>
      </a:accent6>
      <a:hlink>
        <a:srgbClr val="F66708"/>
      </a:hlink>
      <a:folHlink>
        <a:srgbClr val="0097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Extensions</vt:lpwstr>
  </property>
  <property fmtid="{D5CDD505-2E9C-101B-9397-08002B2CF9AE}" pid="3" name="SizeBefore">
    <vt:lpwstr>4615552</vt:lpwstr>
  </property>
  <property fmtid="{D5CDD505-2E9C-101B-9397-08002B2CF9AE}" pid="4" name="OptimizationTime">
    <vt:lpwstr>20181004_1632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217</TotalTime>
  <Words>967</Words>
  <Application>Microsoft Office PowerPoint</Application>
  <PresentationFormat>Custom</PresentationFormat>
  <Paragraphs>278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Dotum</vt:lpstr>
      <vt:lpstr>Arial</vt:lpstr>
      <vt:lpstr>Calibri</vt:lpstr>
      <vt:lpstr>Calibri Light</vt:lpstr>
      <vt:lpstr>EYInterstate</vt:lpstr>
      <vt:lpstr>EYInterstate Light</vt:lpstr>
      <vt:lpstr>EYInterstate Regular</vt:lpstr>
      <vt:lpstr>Gill Sans</vt:lpstr>
      <vt:lpstr>Helvetica Neue Thin</vt:lpstr>
      <vt:lpstr>Segoe UI</vt:lpstr>
      <vt:lpstr>Wingdings</vt:lpstr>
      <vt:lpstr>3_Office Theme</vt:lpstr>
      <vt:lpstr>3_EY dark print</vt:lpstr>
      <vt:lpstr>4_EY widescreen presentation 2015 v1</vt:lpstr>
      <vt:lpstr>think-cell Slide</vt:lpstr>
      <vt:lpstr>Robotik Süreç Otomasyonu 20. Türkiye Muhasebe Kongresi   </vt:lpstr>
      <vt:lpstr>Robotik Süreç Otomasyonu (RSO), maliyetleri düşürerek, gelirleri arttırarak ve riskleri kontrol ederek kurumsal değeri artırır</vt:lpstr>
      <vt:lpstr>RSO ile süreçleri otomatize etmek, sistem verimsizliklerini ortadan kaldırmak ve süreçlerin kalite ve hızını iyileştirmek mümkündür</vt:lpstr>
      <vt:lpstr>RSO farklı sektörlerde geniş bir uygulama alanına sahiptir</vt:lpstr>
      <vt:lpstr>Muhasebe ve Finans alanında RSO uygulanabilecek çok sayıda süreç bulunmaktadır</vt:lpstr>
      <vt:lpstr>EY, kendisi de büyük bir Robot Kullanıcısı olarak Global ve Yerel RSO ekipleri ile birlikte yüksek bilgi birikimine ve tecrübeye sahiptir</vt:lpstr>
      <vt:lpstr>Ayrıca «Düşünce Liderliği» çalışmalarımızla bilgilerimizi sizinle paylaşıyoruz</vt:lpstr>
      <vt:lpstr>PowerPoint Presentation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al title</dc:title>
  <dc:creator>Eren Soyler</dc:creator>
  <cp:lastModifiedBy>Baran Guvenal</cp:lastModifiedBy>
  <cp:revision>2681</cp:revision>
  <cp:lastPrinted>2018-10-03T06:30:37Z</cp:lastPrinted>
  <dcterms:created xsi:type="dcterms:W3CDTF">2015-07-04T18:50:48Z</dcterms:created>
  <dcterms:modified xsi:type="dcterms:W3CDTF">2018-10-04T13:31:53Z</dcterms:modified>
</cp:coreProperties>
</file>